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56" r:id="rId2"/>
    <p:sldId id="257" r:id="rId3"/>
    <p:sldId id="258" r:id="rId4"/>
    <p:sldId id="259" r:id="rId5"/>
    <p:sldId id="282" r:id="rId6"/>
    <p:sldId id="283" r:id="rId7"/>
    <p:sldId id="260" r:id="rId8"/>
    <p:sldId id="284" r:id="rId9"/>
    <p:sldId id="261" r:id="rId10"/>
    <p:sldId id="281" r:id="rId11"/>
    <p:sldId id="278" r:id="rId12"/>
    <p:sldId id="262" r:id="rId13"/>
    <p:sldId id="280" r:id="rId14"/>
    <p:sldId id="289" r:id="rId15"/>
    <p:sldId id="263" r:id="rId16"/>
    <p:sldId id="265" r:id="rId17"/>
    <p:sldId id="285" r:id="rId18"/>
    <p:sldId id="286" r:id="rId19"/>
    <p:sldId id="287" r:id="rId20"/>
    <p:sldId id="288" r:id="rId21"/>
    <p:sldId id="277" r:id="rId22"/>
    <p:sldId id="279" r:id="rId23"/>
    <p:sldId id="273" r:id="rId24"/>
    <p:sldId id="274" r:id="rId25"/>
    <p:sldId id="275" r:id="rId26"/>
    <p:sldId id="276" r:id="rId27"/>
    <p:sldId id="264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hn, Thomas" initials="H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290" autoAdjust="0"/>
  </p:normalViewPr>
  <p:slideViewPr>
    <p:cSldViewPr>
      <p:cViewPr varScale="1">
        <p:scale>
          <a:sx n="119" d="100"/>
          <a:sy n="119" d="100"/>
        </p:scale>
        <p:origin x="-390" y="-102"/>
      </p:cViewPr>
      <p:guideLst>
        <p:guide orient="horz" pos="2614"/>
        <p:guide orient="horz" pos="3249"/>
        <p:guide orient="horz" pos="1979"/>
        <p:guide pos="2880"/>
        <p:guide pos="590"/>
      </p:guideLst>
    </p:cSldViewPr>
  </p:slideViewPr>
  <p:notesTextViewPr>
    <p:cViewPr>
      <p:scale>
        <a:sx n="1" d="1"/>
        <a:sy n="1" d="1"/>
      </p:scale>
      <p:origin x="0" y="144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1">
    <p:pos x="1526" y="370"/>
    <p:text>Neuen besseren Screenshot machen!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12-13T10:12:47.674" idx="2">
    <p:pos x="1526" y="370"/>
    <p:text>Neuen besseren Screenshot machen!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E7669-35EF-4578-9B77-6678D24BB3D6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de-DE"/>
        </a:p>
      </dgm:t>
    </dgm:pt>
    <dgm:pt modelId="{D0048248-0E5D-46DA-BF77-D757314725A4}">
      <dgm:prSet custT="1"/>
      <dgm:spPr/>
      <dgm:t>
        <a:bodyPr/>
        <a:lstStyle/>
        <a:p>
          <a:pPr rtl="0"/>
          <a:r>
            <a:rPr lang="de-DE" sz="2400" dirty="0" smtClean="0"/>
            <a:t>Umfeld</a:t>
          </a:r>
          <a:endParaRPr lang="de-DE" sz="2700" dirty="0"/>
        </a:p>
      </dgm:t>
    </dgm:pt>
    <dgm:pt modelId="{683A5747-3E9F-449E-B43B-343D7FFB5BE8}" type="parTrans" cxnId="{F337B551-8B20-4DD4-B21E-C27263B199DE}">
      <dgm:prSet/>
      <dgm:spPr/>
      <dgm:t>
        <a:bodyPr/>
        <a:lstStyle/>
        <a:p>
          <a:endParaRPr lang="de-DE"/>
        </a:p>
      </dgm:t>
    </dgm:pt>
    <dgm:pt modelId="{39B1E332-71C1-44DA-B4CC-F002E2D77DD3}" type="sibTrans" cxnId="{F337B551-8B20-4DD4-B21E-C27263B199DE}">
      <dgm:prSet/>
      <dgm:spPr/>
      <dgm:t>
        <a:bodyPr/>
        <a:lstStyle/>
        <a:p>
          <a:endParaRPr lang="de-DE"/>
        </a:p>
      </dgm:t>
    </dgm:pt>
    <dgm:pt modelId="{83127BF4-FD77-4115-9D0A-D4DFB06C199A}">
      <dgm:prSet custT="1"/>
      <dgm:spPr/>
      <dgm:t>
        <a:bodyPr/>
        <a:lstStyle/>
        <a:p>
          <a:pPr rtl="0"/>
          <a:r>
            <a:rPr lang="de-DE" sz="2400" dirty="0" smtClean="0"/>
            <a:t>Anforderungen</a:t>
          </a:r>
          <a:endParaRPr lang="de-DE" sz="2700" dirty="0"/>
        </a:p>
      </dgm:t>
    </dgm:pt>
    <dgm:pt modelId="{0155C000-9FAA-4F56-8A4B-011990F8E8DC}" type="parTrans" cxnId="{3491537F-74C0-411B-97FF-3C0C9112D315}">
      <dgm:prSet/>
      <dgm:spPr/>
      <dgm:t>
        <a:bodyPr/>
        <a:lstStyle/>
        <a:p>
          <a:endParaRPr lang="de-DE"/>
        </a:p>
      </dgm:t>
    </dgm:pt>
    <dgm:pt modelId="{81F0D5F3-9E5C-4D16-8CAB-4167F03698AF}" type="sibTrans" cxnId="{3491537F-74C0-411B-97FF-3C0C9112D315}">
      <dgm:prSet/>
      <dgm:spPr/>
      <dgm:t>
        <a:bodyPr/>
        <a:lstStyle/>
        <a:p>
          <a:endParaRPr lang="de-DE"/>
        </a:p>
      </dgm:t>
    </dgm:pt>
    <dgm:pt modelId="{FF1B66A5-1DE4-467D-9B43-4219E40AFC62}">
      <dgm:prSet custT="1"/>
      <dgm:spPr/>
      <dgm:t>
        <a:bodyPr/>
        <a:lstStyle/>
        <a:p>
          <a:pPr rtl="0"/>
          <a:r>
            <a:rPr lang="de-DE" sz="2400" dirty="0" smtClean="0"/>
            <a:t>Konzept</a:t>
          </a:r>
          <a:endParaRPr lang="de-DE" sz="2700" dirty="0"/>
        </a:p>
      </dgm:t>
    </dgm:pt>
    <dgm:pt modelId="{870A7540-C2C4-43BE-A25A-AF239212345E}" type="parTrans" cxnId="{242BEDD6-9CB6-48D2-8064-88E218D5DB00}">
      <dgm:prSet/>
      <dgm:spPr/>
      <dgm:t>
        <a:bodyPr/>
        <a:lstStyle/>
        <a:p>
          <a:endParaRPr lang="de-DE"/>
        </a:p>
      </dgm:t>
    </dgm:pt>
    <dgm:pt modelId="{4565B03D-2D6D-492C-B679-FCDB49CB3852}" type="sibTrans" cxnId="{242BEDD6-9CB6-48D2-8064-88E218D5DB00}">
      <dgm:prSet/>
      <dgm:spPr/>
      <dgm:t>
        <a:bodyPr/>
        <a:lstStyle/>
        <a:p>
          <a:endParaRPr lang="de-DE"/>
        </a:p>
      </dgm:t>
    </dgm:pt>
    <dgm:pt modelId="{0B0906AD-7017-4AFC-9A3D-455C65093F26}">
      <dgm:prSet custT="1"/>
      <dgm:spPr/>
      <dgm:t>
        <a:bodyPr/>
        <a:lstStyle/>
        <a:p>
          <a:pPr rtl="0"/>
          <a:r>
            <a:rPr lang="de-DE" sz="2400" dirty="0" smtClean="0"/>
            <a:t>Umsetzung</a:t>
          </a:r>
          <a:endParaRPr lang="de-DE" sz="2700" dirty="0"/>
        </a:p>
      </dgm:t>
    </dgm:pt>
    <dgm:pt modelId="{0109442F-D835-4B59-A4F0-363697B719D5}" type="parTrans" cxnId="{39031CB4-5906-4EFB-B71C-4E5EB01B62BB}">
      <dgm:prSet/>
      <dgm:spPr/>
      <dgm:t>
        <a:bodyPr/>
        <a:lstStyle/>
        <a:p>
          <a:endParaRPr lang="de-DE"/>
        </a:p>
      </dgm:t>
    </dgm:pt>
    <dgm:pt modelId="{F887B7F9-F2F2-4651-A8F8-98173507B34E}" type="sibTrans" cxnId="{39031CB4-5906-4EFB-B71C-4E5EB01B62BB}">
      <dgm:prSet/>
      <dgm:spPr/>
      <dgm:t>
        <a:bodyPr/>
        <a:lstStyle/>
        <a:p>
          <a:endParaRPr lang="de-DE"/>
        </a:p>
      </dgm:t>
    </dgm:pt>
    <dgm:pt modelId="{A5742A23-1BBA-413B-ABFB-5F8BFB14001F}">
      <dgm:prSet custT="1"/>
      <dgm:spPr/>
      <dgm:t>
        <a:bodyPr/>
        <a:lstStyle/>
        <a:p>
          <a:pPr rtl="0"/>
          <a:r>
            <a:rPr lang="de-DE" sz="2400" dirty="0" smtClean="0"/>
            <a:t>Fazit</a:t>
          </a:r>
          <a:endParaRPr lang="de-DE" sz="2700" dirty="0"/>
        </a:p>
      </dgm:t>
    </dgm:pt>
    <dgm:pt modelId="{12F6A036-194C-4325-9294-A3711CAB5DE7}" type="parTrans" cxnId="{4EFD4B97-7C9F-467E-BFD1-EA4552381A30}">
      <dgm:prSet/>
      <dgm:spPr/>
      <dgm:t>
        <a:bodyPr/>
        <a:lstStyle/>
        <a:p>
          <a:endParaRPr lang="de-DE"/>
        </a:p>
      </dgm:t>
    </dgm:pt>
    <dgm:pt modelId="{4DD88671-B474-46D2-8D8F-2DBA89DBBCCB}" type="sibTrans" cxnId="{4EFD4B97-7C9F-467E-BFD1-EA4552381A30}">
      <dgm:prSet/>
      <dgm:spPr/>
      <dgm:t>
        <a:bodyPr/>
        <a:lstStyle/>
        <a:p>
          <a:endParaRPr lang="de-DE"/>
        </a:p>
      </dgm:t>
    </dgm:pt>
    <dgm:pt modelId="{1AFC76DE-EEF1-45EE-8B3D-4856097394CB}" type="pres">
      <dgm:prSet presAssocID="{1E2E7669-35EF-4578-9B77-6678D24BB3D6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de-DE"/>
        </a:p>
      </dgm:t>
    </dgm:pt>
    <dgm:pt modelId="{733963DD-1F83-4286-BDCD-9058C7493EBB}" type="pres">
      <dgm:prSet presAssocID="{1E2E7669-35EF-4578-9B77-6678D24BB3D6}" presName="arrowNode" presStyleLbl="node1" presStyleIdx="0" presStyleCnt="1"/>
      <dgm:spPr/>
    </dgm:pt>
    <dgm:pt modelId="{E7949F53-850A-43DE-9F03-07E22429256F}" type="pres">
      <dgm:prSet presAssocID="{D0048248-0E5D-46DA-BF77-D757314725A4}" presName="txNode1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5416446-7A70-4FD0-A9D1-7BEFD61F0CF5}" type="pres">
      <dgm:prSet presAssocID="{83127BF4-FD77-4115-9D0A-D4DFB06C199A}" presName="txNode2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78A9461-7A79-4CF1-B4D5-2AFC5E54543F}" type="pres">
      <dgm:prSet presAssocID="{81F0D5F3-9E5C-4D16-8CAB-4167F03698AF}" presName="dotNode2" presStyleCnt="0"/>
      <dgm:spPr/>
    </dgm:pt>
    <dgm:pt modelId="{AB2D2883-A378-4E88-844F-215B8F603978}" type="pres">
      <dgm:prSet presAssocID="{81F0D5F3-9E5C-4D16-8CAB-4167F03698AF}" presName="dotRepeatNode" presStyleLbl="fgShp" presStyleIdx="0" presStyleCnt="3"/>
      <dgm:spPr/>
      <dgm:t>
        <a:bodyPr/>
        <a:lstStyle/>
        <a:p>
          <a:endParaRPr lang="de-DE"/>
        </a:p>
      </dgm:t>
    </dgm:pt>
    <dgm:pt modelId="{221CCDFC-B375-4F1B-9BF2-8E59CA31AA80}" type="pres">
      <dgm:prSet presAssocID="{FF1B66A5-1DE4-467D-9B43-4219E40AFC62}" presName="txNode3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2B86CF1-B256-478C-973A-AB059E13D202}" type="pres">
      <dgm:prSet presAssocID="{4565B03D-2D6D-492C-B679-FCDB49CB3852}" presName="dotNode3" presStyleCnt="0"/>
      <dgm:spPr/>
    </dgm:pt>
    <dgm:pt modelId="{A4165224-5150-4BB8-9BBB-10D653AF69D6}" type="pres">
      <dgm:prSet presAssocID="{4565B03D-2D6D-492C-B679-FCDB49CB3852}" presName="dotRepeatNode" presStyleLbl="fgShp" presStyleIdx="1" presStyleCnt="3"/>
      <dgm:spPr/>
      <dgm:t>
        <a:bodyPr/>
        <a:lstStyle/>
        <a:p>
          <a:endParaRPr lang="de-DE"/>
        </a:p>
      </dgm:t>
    </dgm:pt>
    <dgm:pt modelId="{9DC9B255-84EE-4513-9F8A-A038FBACD530}" type="pres">
      <dgm:prSet presAssocID="{0B0906AD-7017-4AFC-9A3D-455C65093F26}" presName="txNode4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87FE0A7-7F51-499E-BB79-5D38BCDD0D25}" type="pres">
      <dgm:prSet presAssocID="{F887B7F9-F2F2-4651-A8F8-98173507B34E}" presName="dotNode4" presStyleCnt="0"/>
      <dgm:spPr/>
    </dgm:pt>
    <dgm:pt modelId="{14F229A4-1A53-4EA6-B67C-92F9824F9A1A}" type="pres">
      <dgm:prSet presAssocID="{F887B7F9-F2F2-4651-A8F8-98173507B34E}" presName="dotRepeatNode" presStyleLbl="fgShp" presStyleIdx="2" presStyleCnt="3"/>
      <dgm:spPr/>
      <dgm:t>
        <a:bodyPr/>
        <a:lstStyle/>
        <a:p>
          <a:endParaRPr lang="de-DE"/>
        </a:p>
      </dgm:t>
    </dgm:pt>
    <dgm:pt modelId="{F907F0BC-79CC-428F-8460-ACDB764EDA70}" type="pres">
      <dgm:prSet presAssocID="{A5742A23-1BBA-413B-ABFB-5F8BFB14001F}" presName="txNode5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EFD4B97-7C9F-467E-BFD1-EA4552381A30}" srcId="{1E2E7669-35EF-4578-9B77-6678D24BB3D6}" destId="{A5742A23-1BBA-413B-ABFB-5F8BFB14001F}" srcOrd="4" destOrd="0" parTransId="{12F6A036-194C-4325-9294-A3711CAB5DE7}" sibTransId="{4DD88671-B474-46D2-8D8F-2DBA89DBBCCB}"/>
    <dgm:cxn modelId="{BD6FEE54-344D-4ED0-A971-07256E21F4CE}" type="presOf" srcId="{F887B7F9-F2F2-4651-A8F8-98173507B34E}" destId="{14F229A4-1A53-4EA6-B67C-92F9824F9A1A}" srcOrd="0" destOrd="0" presId="urn:microsoft.com/office/officeart/2009/3/layout/DescendingProcess"/>
    <dgm:cxn modelId="{176EE6F9-B7FF-4572-8E41-EAB0629526FA}" type="presOf" srcId="{4565B03D-2D6D-492C-B679-FCDB49CB3852}" destId="{A4165224-5150-4BB8-9BBB-10D653AF69D6}" srcOrd="0" destOrd="0" presId="urn:microsoft.com/office/officeart/2009/3/layout/DescendingProcess"/>
    <dgm:cxn modelId="{04C644F2-8424-42CC-A497-3EDB1BA2FA3A}" type="presOf" srcId="{83127BF4-FD77-4115-9D0A-D4DFB06C199A}" destId="{55416446-7A70-4FD0-A9D1-7BEFD61F0CF5}" srcOrd="0" destOrd="0" presId="urn:microsoft.com/office/officeart/2009/3/layout/DescendingProcess"/>
    <dgm:cxn modelId="{6EBC4CA1-531C-40E9-A591-C623856A4C14}" type="presOf" srcId="{81F0D5F3-9E5C-4D16-8CAB-4167F03698AF}" destId="{AB2D2883-A378-4E88-844F-215B8F603978}" srcOrd="0" destOrd="0" presId="urn:microsoft.com/office/officeart/2009/3/layout/DescendingProcess"/>
    <dgm:cxn modelId="{242BEDD6-9CB6-48D2-8064-88E218D5DB00}" srcId="{1E2E7669-35EF-4578-9B77-6678D24BB3D6}" destId="{FF1B66A5-1DE4-467D-9B43-4219E40AFC62}" srcOrd="2" destOrd="0" parTransId="{870A7540-C2C4-43BE-A25A-AF239212345E}" sibTransId="{4565B03D-2D6D-492C-B679-FCDB49CB3852}"/>
    <dgm:cxn modelId="{C5EED143-AF4B-470A-A577-A4F6A4EB73D9}" type="presOf" srcId="{1E2E7669-35EF-4578-9B77-6678D24BB3D6}" destId="{1AFC76DE-EEF1-45EE-8B3D-4856097394CB}" srcOrd="0" destOrd="0" presId="urn:microsoft.com/office/officeart/2009/3/layout/DescendingProcess"/>
    <dgm:cxn modelId="{F337B551-8B20-4DD4-B21E-C27263B199DE}" srcId="{1E2E7669-35EF-4578-9B77-6678D24BB3D6}" destId="{D0048248-0E5D-46DA-BF77-D757314725A4}" srcOrd="0" destOrd="0" parTransId="{683A5747-3E9F-449E-B43B-343D7FFB5BE8}" sibTransId="{39B1E332-71C1-44DA-B4CC-F002E2D77DD3}"/>
    <dgm:cxn modelId="{39031CB4-5906-4EFB-B71C-4E5EB01B62BB}" srcId="{1E2E7669-35EF-4578-9B77-6678D24BB3D6}" destId="{0B0906AD-7017-4AFC-9A3D-455C65093F26}" srcOrd="3" destOrd="0" parTransId="{0109442F-D835-4B59-A4F0-363697B719D5}" sibTransId="{F887B7F9-F2F2-4651-A8F8-98173507B34E}"/>
    <dgm:cxn modelId="{E3A6EA67-EA11-4959-A1D6-53C83FDAF4AA}" type="presOf" srcId="{0B0906AD-7017-4AFC-9A3D-455C65093F26}" destId="{9DC9B255-84EE-4513-9F8A-A038FBACD530}" srcOrd="0" destOrd="0" presId="urn:microsoft.com/office/officeart/2009/3/layout/DescendingProcess"/>
    <dgm:cxn modelId="{42B3782E-5898-4961-931C-DE3C40BB0582}" type="presOf" srcId="{A5742A23-1BBA-413B-ABFB-5F8BFB14001F}" destId="{F907F0BC-79CC-428F-8460-ACDB764EDA70}" srcOrd="0" destOrd="0" presId="urn:microsoft.com/office/officeart/2009/3/layout/DescendingProcess"/>
    <dgm:cxn modelId="{F9AD0B1A-7117-4DA6-82AB-DCA76E0944D0}" type="presOf" srcId="{D0048248-0E5D-46DA-BF77-D757314725A4}" destId="{E7949F53-850A-43DE-9F03-07E22429256F}" srcOrd="0" destOrd="0" presId="urn:microsoft.com/office/officeart/2009/3/layout/DescendingProcess"/>
    <dgm:cxn modelId="{3491537F-74C0-411B-97FF-3C0C9112D315}" srcId="{1E2E7669-35EF-4578-9B77-6678D24BB3D6}" destId="{83127BF4-FD77-4115-9D0A-D4DFB06C199A}" srcOrd="1" destOrd="0" parTransId="{0155C000-9FAA-4F56-8A4B-011990F8E8DC}" sibTransId="{81F0D5F3-9E5C-4D16-8CAB-4167F03698AF}"/>
    <dgm:cxn modelId="{FCAE7153-B6F5-46F3-9580-23A03ECCE055}" type="presOf" srcId="{FF1B66A5-1DE4-467D-9B43-4219E40AFC62}" destId="{221CCDFC-B375-4F1B-9BF2-8E59CA31AA80}" srcOrd="0" destOrd="0" presId="urn:microsoft.com/office/officeart/2009/3/layout/DescendingProcess"/>
    <dgm:cxn modelId="{4CBC5F07-D0FB-416E-826A-C1A93B3876D0}" type="presParOf" srcId="{1AFC76DE-EEF1-45EE-8B3D-4856097394CB}" destId="{733963DD-1F83-4286-BDCD-9058C7493EBB}" srcOrd="0" destOrd="0" presId="urn:microsoft.com/office/officeart/2009/3/layout/DescendingProcess"/>
    <dgm:cxn modelId="{FA6109AC-D751-4817-B768-ECD0F5DA8371}" type="presParOf" srcId="{1AFC76DE-EEF1-45EE-8B3D-4856097394CB}" destId="{E7949F53-850A-43DE-9F03-07E22429256F}" srcOrd="1" destOrd="0" presId="urn:microsoft.com/office/officeart/2009/3/layout/DescendingProcess"/>
    <dgm:cxn modelId="{8D33BA91-2AF7-4187-B736-895D7643B02E}" type="presParOf" srcId="{1AFC76DE-EEF1-45EE-8B3D-4856097394CB}" destId="{55416446-7A70-4FD0-A9D1-7BEFD61F0CF5}" srcOrd="2" destOrd="0" presId="urn:microsoft.com/office/officeart/2009/3/layout/DescendingProcess"/>
    <dgm:cxn modelId="{6012F1B9-9A94-49EB-9B76-942D4F92A1EC}" type="presParOf" srcId="{1AFC76DE-EEF1-45EE-8B3D-4856097394CB}" destId="{A78A9461-7A79-4CF1-B4D5-2AFC5E54543F}" srcOrd="3" destOrd="0" presId="urn:microsoft.com/office/officeart/2009/3/layout/DescendingProcess"/>
    <dgm:cxn modelId="{3CB3EFD2-16AE-4411-8EB6-870A5E5A2F7B}" type="presParOf" srcId="{A78A9461-7A79-4CF1-B4D5-2AFC5E54543F}" destId="{AB2D2883-A378-4E88-844F-215B8F603978}" srcOrd="0" destOrd="0" presId="urn:microsoft.com/office/officeart/2009/3/layout/DescendingProcess"/>
    <dgm:cxn modelId="{6607E916-1897-4CB7-990E-F781518E7F98}" type="presParOf" srcId="{1AFC76DE-EEF1-45EE-8B3D-4856097394CB}" destId="{221CCDFC-B375-4F1B-9BF2-8E59CA31AA80}" srcOrd="4" destOrd="0" presId="urn:microsoft.com/office/officeart/2009/3/layout/DescendingProcess"/>
    <dgm:cxn modelId="{69652802-F2B9-4BCF-B0F2-5CA6E0FDB141}" type="presParOf" srcId="{1AFC76DE-EEF1-45EE-8B3D-4856097394CB}" destId="{12B86CF1-B256-478C-973A-AB059E13D202}" srcOrd="5" destOrd="0" presId="urn:microsoft.com/office/officeart/2009/3/layout/DescendingProcess"/>
    <dgm:cxn modelId="{89158296-5FBA-45DA-92E5-98302D9CC17F}" type="presParOf" srcId="{12B86CF1-B256-478C-973A-AB059E13D202}" destId="{A4165224-5150-4BB8-9BBB-10D653AF69D6}" srcOrd="0" destOrd="0" presId="urn:microsoft.com/office/officeart/2009/3/layout/DescendingProcess"/>
    <dgm:cxn modelId="{DFB0B4ED-79BA-433A-8D32-EA553C27611A}" type="presParOf" srcId="{1AFC76DE-EEF1-45EE-8B3D-4856097394CB}" destId="{9DC9B255-84EE-4513-9F8A-A038FBACD530}" srcOrd="6" destOrd="0" presId="urn:microsoft.com/office/officeart/2009/3/layout/DescendingProcess"/>
    <dgm:cxn modelId="{79CEC190-3029-4387-8208-37124CB3F4B7}" type="presParOf" srcId="{1AFC76DE-EEF1-45EE-8B3D-4856097394CB}" destId="{D87FE0A7-7F51-499E-BB79-5D38BCDD0D25}" srcOrd="7" destOrd="0" presId="urn:microsoft.com/office/officeart/2009/3/layout/DescendingProcess"/>
    <dgm:cxn modelId="{FE87561C-FB2A-4D7D-A557-3257D87E4D73}" type="presParOf" srcId="{D87FE0A7-7F51-499E-BB79-5D38BCDD0D25}" destId="{14F229A4-1A53-4EA6-B67C-92F9824F9A1A}" srcOrd="0" destOrd="0" presId="urn:microsoft.com/office/officeart/2009/3/layout/DescendingProcess"/>
    <dgm:cxn modelId="{53232516-3E3B-45EA-8001-1F276516C171}" type="presParOf" srcId="{1AFC76DE-EEF1-45EE-8B3D-4856097394CB}" destId="{F907F0BC-79CC-428F-8460-ACDB764EDA70}" srcOrd="8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614F15-45B6-4A19-AAE7-A8BA6C143615}" type="doc">
      <dgm:prSet loTypeId="urn:microsoft.com/office/officeart/2005/8/layout/v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7F78D13-D3B9-43C6-ADAC-285FDF696E51}">
      <dgm:prSet phldrT="[Text]"/>
      <dgm:spPr/>
      <dgm:t>
        <a:bodyPr/>
        <a:lstStyle/>
        <a:p>
          <a:r>
            <a:rPr lang="en-US" smtClean="0"/>
            <a:t>1. Definitionphase</a:t>
          </a:r>
          <a:endParaRPr lang="en-US"/>
        </a:p>
      </dgm:t>
    </dgm:pt>
    <dgm:pt modelId="{0EFA7A27-FC0C-4A09-B947-1C5AD33FCFF9}" type="parTrans" cxnId="{B03454A5-177E-45B8-B6EE-0E7DF090F988}">
      <dgm:prSet/>
      <dgm:spPr/>
      <dgm:t>
        <a:bodyPr/>
        <a:lstStyle/>
        <a:p>
          <a:endParaRPr lang="en-US"/>
        </a:p>
      </dgm:t>
    </dgm:pt>
    <dgm:pt modelId="{2A4734DE-E44F-4730-A5AA-7DB0A260B9E4}" type="sibTrans" cxnId="{B03454A5-177E-45B8-B6EE-0E7DF090F988}">
      <dgm:prSet/>
      <dgm:spPr/>
      <dgm:t>
        <a:bodyPr/>
        <a:lstStyle/>
        <a:p>
          <a:endParaRPr lang="en-US"/>
        </a:p>
      </dgm:t>
    </dgm:pt>
    <dgm:pt modelId="{A756739C-AEB9-4B83-8602-959F2FC17424}">
      <dgm:prSet phldrT="[Text]"/>
      <dgm:spPr/>
      <dgm:t>
        <a:bodyPr/>
        <a:lstStyle/>
        <a:p>
          <a:r>
            <a:rPr lang="en-US" smtClean="0"/>
            <a:t>Anforderungen analysieren</a:t>
          </a:r>
          <a:endParaRPr lang="en-US"/>
        </a:p>
      </dgm:t>
    </dgm:pt>
    <dgm:pt modelId="{0CC99557-908B-4E02-B34D-CD7DFBE82AFA}" type="parTrans" cxnId="{8D90CE89-26C5-45A8-920A-5E6269243C47}">
      <dgm:prSet/>
      <dgm:spPr/>
      <dgm:t>
        <a:bodyPr/>
        <a:lstStyle/>
        <a:p>
          <a:endParaRPr lang="en-US"/>
        </a:p>
      </dgm:t>
    </dgm:pt>
    <dgm:pt modelId="{44EAA832-C968-4488-BF4F-1B1FDDE1DA11}" type="sibTrans" cxnId="{8D90CE89-26C5-45A8-920A-5E6269243C47}">
      <dgm:prSet/>
      <dgm:spPr/>
      <dgm:t>
        <a:bodyPr/>
        <a:lstStyle/>
        <a:p>
          <a:endParaRPr lang="en-US"/>
        </a:p>
      </dgm:t>
    </dgm:pt>
    <dgm:pt modelId="{33D256D9-74BE-4AE6-AC4B-CF2A8AF3C1E0}">
      <dgm:prSet phldrT="[Text]"/>
      <dgm:spPr/>
      <dgm:t>
        <a:bodyPr/>
        <a:lstStyle/>
        <a:p>
          <a:r>
            <a:rPr lang="en-US" smtClean="0"/>
            <a:t>2. Planungsphase</a:t>
          </a:r>
          <a:endParaRPr lang="en-US"/>
        </a:p>
      </dgm:t>
    </dgm:pt>
    <dgm:pt modelId="{623D56A1-C5B3-474A-A210-32EF5427D7C8}" type="parTrans" cxnId="{5E7B27F5-F9D2-4957-88BF-5CC953DF71F1}">
      <dgm:prSet/>
      <dgm:spPr/>
      <dgm:t>
        <a:bodyPr/>
        <a:lstStyle/>
        <a:p>
          <a:endParaRPr lang="en-US"/>
        </a:p>
      </dgm:t>
    </dgm:pt>
    <dgm:pt modelId="{E5A2B079-3F16-4E26-94D4-13DDB7DCE823}" type="sibTrans" cxnId="{5E7B27F5-F9D2-4957-88BF-5CC953DF71F1}">
      <dgm:prSet/>
      <dgm:spPr/>
      <dgm:t>
        <a:bodyPr/>
        <a:lstStyle/>
        <a:p>
          <a:endParaRPr lang="en-US"/>
        </a:p>
      </dgm:t>
    </dgm:pt>
    <dgm:pt modelId="{8827F596-BB50-4B1C-B070-1E197ABE0A96}">
      <dgm:prSet phldrT="[Text]"/>
      <dgm:spPr/>
      <dgm:t>
        <a:bodyPr/>
        <a:lstStyle/>
        <a:p>
          <a:r>
            <a:rPr lang="en-US" smtClean="0"/>
            <a:t>Zeit- und Ressourcenplanung</a:t>
          </a:r>
          <a:endParaRPr lang="en-US"/>
        </a:p>
      </dgm:t>
    </dgm:pt>
    <dgm:pt modelId="{AA5985D9-2D89-4949-828A-2385B6FC7254}" type="parTrans" cxnId="{72ACCD5A-EACA-4378-9A12-F913F76DE2A1}">
      <dgm:prSet/>
      <dgm:spPr/>
      <dgm:t>
        <a:bodyPr/>
        <a:lstStyle/>
        <a:p>
          <a:endParaRPr lang="en-US"/>
        </a:p>
      </dgm:t>
    </dgm:pt>
    <dgm:pt modelId="{7E88A83E-F2F0-49CA-AF34-67B7A2E6A2DB}" type="sibTrans" cxnId="{72ACCD5A-EACA-4378-9A12-F913F76DE2A1}">
      <dgm:prSet/>
      <dgm:spPr/>
      <dgm:t>
        <a:bodyPr/>
        <a:lstStyle/>
        <a:p>
          <a:endParaRPr lang="en-US"/>
        </a:p>
      </dgm:t>
    </dgm:pt>
    <dgm:pt modelId="{FDF58FE1-12CA-4EE9-AF6D-F1646ED82B80}">
      <dgm:prSet phldrT="[Text]"/>
      <dgm:spPr/>
      <dgm:t>
        <a:bodyPr/>
        <a:lstStyle/>
        <a:p>
          <a:r>
            <a:rPr lang="en-US" smtClean="0"/>
            <a:t>Diagrammerstellung</a:t>
          </a:r>
          <a:endParaRPr lang="en-US"/>
        </a:p>
      </dgm:t>
    </dgm:pt>
    <dgm:pt modelId="{0D56D1B4-5281-4EB5-B1DD-60DD11827CD4}" type="parTrans" cxnId="{BF053733-F017-4C17-B72D-E28D82F897CE}">
      <dgm:prSet/>
      <dgm:spPr/>
      <dgm:t>
        <a:bodyPr/>
        <a:lstStyle/>
        <a:p>
          <a:endParaRPr lang="en-US"/>
        </a:p>
      </dgm:t>
    </dgm:pt>
    <dgm:pt modelId="{6C1A2BB7-049F-4D71-B08D-06AE3EC7C627}" type="sibTrans" cxnId="{BF053733-F017-4C17-B72D-E28D82F897CE}">
      <dgm:prSet/>
      <dgm:spPr/>
      <dgm:t>
        <a:bodyPr/>
        <a:lstStyle/>
        <a:p>
          <a:endParaRPr lang="en-US"/>
        </a:p>
      </dgm:t>
    </dgm:pt>
    <dgm:pt modelId="{5FF46A68-CB9E-4AFC-9E57-A64F4FDD5C3C}">
      <dgm:prSet phldrT="[Text]"/>
      <dgm:spPr/>
      <dgm:t>
        <a:bodyPr/>
        <a:lstStyle/>
        <a:p>
          <a:r>
            <a:rPr lang="en-US" smtClean="0"/>
            <a:t>3. Realisierungsphase</a:t>
          </a:r>
          <a:endParaRPr lang="en-US"/>
        </a:p>
      </dgm:t>
    </dgm:pt>
    <dgm:pt modelId="{557EE3B5-3BF7-419D-934E-056C85B8D076}" type="parTrans" cxnId="{217CFFD1-0152-4C5A-B74F-43D24EA44BC1}">
      <dgm:prSet/>
      <dgm:spPr/>
      <dgm:t>
        <a:bodyPr/>
        <a:lstStyle/>
        <a:p>
          <a:endParaRPr lang="en-US"/>
        </a:p>
      </dgm:t>
    </dgm:pt>
    <dgm:pt modelId="{2FB09047-69C9-496F-B43F-072545CD6AAC}" type="sibTrans" cxnId="{217CFFD1-0152-4C5A-B74F-43D24EA44BC1}">
      <dgm:prSet/>
      <dgm:spPr/>
      <dgm:t>
        <a:bodyPr/>
        <a:lstStyle/>
        <a:p>
          <a:endParaRPr lang="en-US"/>
        </a:p>
      </dgm:t>
    </dgm:pt>
    <dgm:pt modelId="{A4438437-C596-4D11-AACC-569879A3A80B}">
      <dgm:prSet phldrT="[Text]"/>
      <dgm:spPr/>
      <dgm:t>
        <a:bodyPr/>
        <a:lstStyle/>
        <a:p>
          <a:r>
            <a:rPr lang="en-US" smtClean="0"/>
            <a:t>Codeimplementierung</a:t>
          </a:r>
          <a:endParaRPr lang="en-US"/>
        </a:p>
      </dgm:t>
    </dgm:pt>
    <dgm:pt modelId="{E2DC0B6A-A46C-4FC0-881C-B4BEDEBAC78E}" type="parTrans" cxnId="{C7E9D132-8F3C-4D92-B353-07DD28D31B34}">
      <dgm:prSet/>
      <dgm:spPr/>
      <dgm:t>
        <a:bodyPr/>
        <a:lstStyle/>
        <a:p>
          <a:endParaRPr lang="en-US"/>
        </a:p>
      </dgm:t>
    </dgm:pt>
    <dgm:pt modelId="{43F8405C-5D55-4530-A209-B01EB96B7AF5}" type="sibTrans" cxnId="{C7E9D132-8F3C-4D92-B353-07DD28D31B34}">
      <dgm:prSet/>
      <dgm:spPr/>
      <dgm:t>
        <a:bodyPr/>
        <a:lstStyle/>
        <a:p>
          <a:endParaRPr lang="en-US"/>
        </a:p>
      </dgm:t>
    </dgm:pt>
    <dgm:pt modelId="{E6F358E6-5BF8-404E-9FD3-08E06B12CB61}">
      <dgm:prSet phldrT="[Text]"/>
      <dgm:spPr/>
      <dgm:t>
        <a:bodyPr/>
        <a:lstStyle/>
        <a:p>
          <a:r>
            <a:rPr lang="en-US" smtClean="0"/>
            <a:t>Präsentation bei Auftraggeber</a:t>
          </a:r>
          <a:endParaRPr lang="en-US"/>
        </a:p>
      </dgm:t>
    </dgm:pt>
    <dgm:pt modelId="{80E62C6A-7CA3-4A61-878A-CB69FD4D9FDC}" type="parTrans" cxnId="{D9319B1A-DE70-4FAB-9EB4-342FD3DF5160}">
      <dgm:prSet/>
      <dgm:spPr/>
      <dgm:t>
        <a:bodyPr/>
        <a:lstStyle/>
        <a:p>
          <a:endParaRPr lang="en-US"/>
        </a:p>
      </dgm:t>
    </dgm:pt>
    <dgm:pt modelId="{13CFBE0F-E20D-41DB-812F-1AD460C385F7}" type="sibTrans" cxnId="{D9319B1A-DE70-4FAB-9EB4-342FD3DF5160}">
      <dgm:prSet/>
      <dgm:spPr/>
      <dgm:t>
        <a:bodyPr/>
        <a:lstStyle/>
        <a:p>
          <a:endParaRPr lang="en-US"/>
        </a:p>
      </dgm:t>
    </dgm:pt>
    <dgm:pt modelId="{83723556-1495-4AC2-BE4E-30D12A2ABC76}">
      <dgm:prSet phldrT="[Text]"/>
      <dgm:spPr/>
      <dgm:t>
        <a:bodyPr/>
        <a:lstStyle/>
        <a:p>
          <a:r>
            <a:rPr lang="en-US" smtClean="0"/>
            <a:t>4. Abschlussphase</a:t>
          </a:r>
          <a:endParaRPr lang="en-US"/>
        </a:p>
      </dgm:t>
    </dgm:pt>
    <dgm:pt modelId="{2C5B1EF0-D815-4453-AF19-4E9AF5264062}" type="parTrans" cxnId="{F3005228-C517-4B57-877C-18A46BC45A73}">
      <dgm:prSet/>
      <dgm:spPr/>
      <dgm:t>
        <a:bodyPr/>
        <a:lstStyle/>
        <a:p>
          <a:endParaRPr lang="en-US"/>
        </a:p>
      </dgm:t>
    </dgm:pt>
    <dgm:pt modelId="{F7F5C9EA-07CD-407D-AB84-08CE689A96C6}" type="sibTrans" cxnId="{F3005228-C517-4B57-877C-18A46BC45A73}">
      <dgm:prSet/>
      <dgm:spPr/>
      <dgm:t>
        <a:bodyPr/>
        <a:lstStyle/>
        <a:p>
          <a:endParaRPr lang="en-US"/>
        </a:p>
      </dgm:t>
    </dgm:pt>
    <dgm:pt modelId="{B1AC852A-727B-42F2-89D3-C1EA677F5340}">
      <dgm:prSet phldrT="[Text]"/>
      <dgm:spPr/>
      <dgm:t>
        <a:bodyPr/>
        <a:lstStyle/>
        <a:p>
          <a:r>
            <a:rPr lang="en-US" smtClean="0"/>
            <a:t>Qualitätssicherung</a:t>
          </a:r>
          <a:endParaRPr lang="en-US"/>
        </a:p>
      </dgm:t>
    </dgm:pt>
    <dgm:pt modelId="{6F4D2C02-24AA-4915-8775-288E1A93019A}" type="parTrans" cxnId="{E547687F-F6AD-4E68-A5C0-9EF78D81967A}">
      <dgm:prSet/>
      <dgm:spPr/>
      <dgm:t>
        <a:bodyPr/>
        <a:lstStyle/>
        <a:p>
          <a:endParaRPr lang="en-US"/>
        </a:p>
      </dgm:t>
    </dgm:pt>
    <dgm:pt modelId="{1FA9EE33-368D-4921-BEBF-70E4C4A86581}" type="sibTrans" cxnId="{E547687F-F6AD-4E68-A5C0-9EF78D81967A}">
      <dgm:prSet/>
      <dgm:spPr/>
      <dgm:t>
        <a:bodyPr/>
        <a:lstStyle/>
        <a:p>
          <a:endParaRPr lang="en-US"/>
        </a:p>
      </dgm:t>
    </dgm:pt>
    <dgm:pt modelId="{0CAF0DC4-2F4A-473F-9F1D-D599306842F7}">
      <dgm:prSet phldrT="[Text]"/>
      <dgm:spPr/>
      <dgm:t>
        <a:bodyPr/>
        <a:lstStyle/>
        <a:p>
          <a:r>
            <a:rPr lang="en-US" smtClean="0"/>
            <a:t>Auslieferung</a:t>
          </a:r>
          <a:endParaRPr lang="en-US"/>
        </a:p>
      </dgm:t>
    </dgm:pt>
    <dgm:pt modelId="{06CED6DD-A4C7-498D-904A-78B2F85AC33F}" type="parTrans" cxnId="{6A5B36B8-C9A8-4A69-884E-069F26371E9E}">
      <dgm:prSet/>
      <dgm:spPr/>
      <dgm:t>
        <a:bodyPr/>
        <a:lstStyle/>
        <a:p>
          <a:endParaRPr lang="en-US"/>
        </a:p>
      </dgm:t>
    </dgm:pt>
    <dgm:pt modelId="{CECF21F6-17CC-458E-A151-1D489F4FCCE2}" type="sibTrans" cxnId="{6A5B36B8-C9A8-4A69-884E-069F26371E9E}">
      <dgm:prSet/>
      <dgm:spPr/>
      <dgm:t>
        <a:bodyPr/>
        <a:lstStyle/>
        <a:p>
          <a:endParaRPr lang="en-US"/>
        </a:p>
      </dgm:t>
    </dgm:pt>
    <dgm:pt modelId="{D2C5D4A1-A0CF-4EA3-95DF-0FAF3AEB83D9}" type="pres">
      <dgm:prSet presAssocID="{3A614F15-45B6-4A19-AAE7-A8BA6C143615}" presName="outerComposite" presStyleCnt="0">
        <dgm:presLayoutVars>
          <dgm:chMax val="5"/>
          <dgm:dir/>
          <dgm:resizeHandles val="exact"/>
        </dgm:presLayoutVars>
      </dgm:prSet>
      <dgm:spPr/>
    </dgm:pt>
    <dgm:pt modelId="{830E8B63-E775-4789-A251-5031EB7B4C5E}" type="pres">
      <dgm:prSet presAssocID="{3A614F15-45B6-4A19-AAE7-A8BA6C143615}" presName="dummyMaxCanvas" presStyleCnt="0">
        <dgm:presLayoutVars/>
      </dgm:prSet>
      <dgm:spPr/>
    </dgm:pt>
    <dgm:pt modelId="{6CB1668A-E76A-4075-B8A0-3B4D514F8F01}" type="pres">
      <dgm:prSet presAssocID="{3A614F15-45B6-4A19-AAE7-A8BA6C143615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E51E77-74BB-4225-B02D-FA34B0DB599A}" type="pres">
      <dgm:prSet presAssocID="{3A614F15-45B6-4A19-AAE7-A8BA6C143615}" presName="FourNodes_2" presStyleLbl="node1" presStyleIdx="1" presStyleCnt="4">
        <dgm:presLayoutVars>
          <dgm:bulletEnabled val="1"/>
        </dgm:presLayoutVars>
      </dgm:prSet>
      <dgm:spPr/>
    </dgm:pt>
    <dgm:pt modelId="{E7847977-B279-440C-8A15-FD769686EBD7}" type="pres">
      <dgm:prSet presAssocID="{3A614F15-45B6-4A19-AAE7-A8BA6C143615}" presName="FourNodes_3" presStyleLbl="node1" presStyleIdx="2" presStyleCnt="4">
        <dgm:presLayoutVars>
          <dgm:bulletEnabled val="1"/>
        </dgm:presLayoutVars>
      </dgm:prSet>
      <dgm:spPr/>
    </dgm:pt>
    <dgm:pt modelId="{3FDA1DD6-3665-4E60-93FC-8A3EAA5FB94E}" type="pres">
      <dgm:prSet presAssocID="{3A614F15-45B6-4A19-AAE7-A8BA6C143615}" presName="FourNodes_4" presStyleLbl="node1" presStyleIdx="3" presStyleCnt="4">
        <dgm:presLayoutVars>
          <dgm:bulletEnabled val="1"/>
        </dgm:presLayoutVars>
      </dgm:prSet>
      <dgm:spPr/>
    </dgm:pt>
    <dgm:pt modelId="{BC53F87A-0995-4EBA-AB30-D1696D0DCCA4}" type="pres">
      <dgm:prSet presAssocID="{3A614F15-45B6-4A19-AAE7-A8BA6C143615}" presName="FourConn_1-2" presStyleLbl="fgAccFollowNode1" presStyleIdx="0" presStyleCnt="3">
        <dgm:presLayoutVars>
          <dgm:bulletEnabled val="1"/>
        </dgm:presLayoutVars>
      </dgm:prSet>
      <dgm:spPr/>
    </dgm:pt>
    <dgm:pt modelId="{BA77E463-0618-46C2-B8B4-8A8964302308}" type="pres">
      <dgm:prSet presAssocID="{3A614F15-45B6-4A19-AAE7-A8BA6C143615}" presName="FourConn_2-3" presStyleLbl="fgAccFollowNode1" presStyleIdx="1" presStyleCnt="3">
        <dgm:presLayoutVars>
          <dgm:bulletEnabled val="1"/>
        </dgm:presLayoutVars>
      </dgm:prSet>
      <dgm:spPr/>
    </dgm:pt>
    <dgm:pt modelId="{8275FF6C-7A58-43D3-A14D-625B9B5EA4D2}" type="pres">
      <dgm:prSet presAssocID="{3A614F15-45B6-4A19-AAE7-A8BA6C143615}" presName="FourConn_3-4" presStyleLbl="fgAccFollowNode1" presStyleIdx="2" presStyleCnt="3">
        <dgm:presLayoutVars>
          <dgm:bulletEnabled val="1"/>
        </dgm:presLayoutVars>
      </dgm:prSet>
      <dgm:spPr/>
    </dgm:pt>
    <dgm:pt modelId="{BFDA9E24-D6E1-497B-B163-1DE07C35E915}" type="pres">
      <dgm:prSet presAssocID="{3A614F15-45B6-4A19-AAE7-A8BA6C143615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A112AF-D635-4687-B21C-021B29E57C13}" type="pres">
      <dgm:prSet presAssocID="{3A614F15-45B6-4A19-AAE7-A8BA6C143615}" presName="FourNodes_2_text" presStyleLbl="node1" presStyleIdx="3" presStyleCnt="4">
        <dgm:presLayoutVars>
          <dgm:bulletEnabled val="1"/>
        </dgm:presLayoutVars>
      </dgm:prSet>
      <dgm:spPr/>
    </dgm:pt>
    <dgm:pt modelId="{AA14E437-099F-460B-89B3-4AEC53F8C286}" type="pres">
      <dgm:prSet presAssocID="{3A614F15-45B6-4A19-AAE7-A8BA6C143615}" presName="FourNodes_3_text" presStyleLbl="node1" presStyleIdx="3" presStyleCnt="4">
        <dgm:presLayoutVars>
          <dgm:bulletEnabled val="1"/>
        </dgm:presLayoutVars>
      </dgm:prSet>
      <dgm:spPr/>
    </dgm:pt>
    <dgm:pt modelId="{BD6570F8-9A34-4BE0-B4D9-66CB336A8BC0}" type="pres">
      <dgm:prSet presAssocID="{3A614F15-45B6-4A19-AAE7-A8BA6C143615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E15BD560-57E3-4E19-9344-38DC5CC6BCBA}" type="presOf" srcId="{83723556-1495-4AC2-BE4E-30D12A2ABC76}" destId="{BD6570F8-9A34-4BE0-B4D9-66CB336A8BC0}" srcOrd="1" destOrd="0" presId="urn:microsoft.com/office/officeart/2005/8/layout/vProcess5"/>
    <dgm:cxn modelId="{E547687F-F6AD-4E68-A5C0-9EF78D81967A}" srcId="{83723556-1495-4AC2-BE4E-30D12A2ABC76}" destId="{B1AC852A-727B-42F2-89D3-C1EA677F5340}" srcOrd="0" destOrd="0" parTransId="{6F4D2C02-24AA-4915-8775-288E1A93019A}" sibTransId="{1FA9EE33-368D-4921-BEBF-70E4C4A86581}"/>
    <dgm:cxn modelId="{D6A18627-921D-4563-B404-6BFA76504353}" type="presOf" srcId="{8827F596-BB50-4B1C-B070-1E197ABE0A96}" destId="{5BA112AF-D635-4687-B21C-021B29E57C13}" srcOrd="1" destOrd="1" presId="urn:microsoft.com/office/officeart/2005/8/layout/vProcess5"/>
    <dgm:cxn modelId="{2E051E7A-442A-4BDE-B21D-7EF52E5AA0D3}" type="presOf" srcId="{33D256D9-74BE-4AE6-AC4B-CF2A8AF3C1E0}" destId="{11E51E77-74BB-4225-B02D-FA34B0DB599A}" srcOrd="0" destOrd="0" presId="urn:microsoft.com/office/officeart/2005/8/layout/vProcess5"/>
    <dgm:cxn modelId="{C8F2EF79-CB3D-4509-A00A-6AEE7F709F41}" type="presOf" srcId="{2FB09047-69C9-496F-B43F-072545CD6AAC}" destId="{8275FF6C-7A58-43D3-A14D-625B9B5EA4D2}" srcOrd="0" destOrd="0" presId="urn:microsoft.com/office/officeart/2005/8/layout/vProcess5"/>
    <dgm:cxn modelId="{303C40C3-59F2-4E63-A2A9-7BCF9B0CD09D}" type="presOf" srcId="{2A4734DE-E44F-4730-A5AA-7DB0A260B9E4}" destId="{BC53F87A-0995-4EBA-AB30-D1696D0DCCA4}" srcOrd="0" destOrd="0" presId="urn:microsoft.com/office/officeart/2005/8/layout/vProcess5"/>
    <dgm:cxn modelId="{367DEC7B-B50A-4BA6-930A-B7ACD06BC865}" type="presOf" srcId="{3A614F15-45B6-4A19-AAE7-A8BA6C143615}" destId="{D2C5D4A1-A0CF-4EA3-95DF-0FAF3AEB83D9}" srcOrd="0" destOrd="0" presId="urn:microsoft.com/office/officeart/2005/8/layout/vProcess5"/>
    <dgm:cxn modelId="{345A26B1-E590-4CFD-8C2E-AEBCA842ED9F}" type="presOf" srcId="{A4438437-C596-4D11-AACC-569879A3A80B}" destId="{E7847977-B279-440C-8A15-FD769686EBD7}" srcOrd="0" destOrd="1" presId="urn:microsoft.com/office/officeart/2005/8/layout/vProcess5"/>
    <dgm:cxn modelId="{8D90CE89-26C5-45A8-920A-5E6269243C47}" srcId="{67F78D13-D3B9-43C6-ADAC-285FDF696E51}" destId="{A756739C-AEB9-4B83-8602-959F2FC17424}" srcOrd="0" destOrd="0" parTransId="{0CC99557-908B-4E02-B34D-CD7DFBE82AFA}" sibTransId="{44EAA832-C968-4488-BF4F-1B1FDDE1DA11}"/>
    <dgm:cxn modelId="{3C1B7BD6-2713-42F8-B500-6ADF7C12E288}" type="presOf" srcId="{0CAF0DC4-2F4A-473F-9F1D-D599306842F7}" destId="{BD6570F8-9A34-4BE0-B4D9-66CB336A8BC0}" srcOrd="1" destOrd="2" presId="urn:microsoft.com/office/officeart/2005/8/layout/vProcess5"/>
    <dgm:cxn modelId="{17F7012D-FF67-4675-9E7B-05465B8A1687}" type="presOf" srcId="{67F78D13-D3B9-43C6-ADAC-285FDF696E51}" destId="{BFDA9E24-D6E1-497B-B163-1DE07C35E915}" srcOrd="1" destOrd="0" presId="urn:microsoft.com/office/officeart/2005/8/layout/vProcess5"/>
    <dgm:cxn modelId="{21942A3D-BFE9-4D5F-9DB8-8803C5C18EF0}" type="presOf" srcId="{33D256D9-74BE-4AE6-AC4B-CF2A8AF3C1E0}" destId="{5BA112AF-D635-4687-B21C-021B29E57C13}" srcOrd="1" destOrd="0" presId="urn:microsoft.com/office/officeart/2005/8/layout/vProcess5"/>
    <dgm:cxn modelId="{B03454A5-177E-45B8-B6EE-0E7DF090F988}" srcId="{3A614F15-45B6-4A19-AAE7-A8BA6C143615}" destId="{67F78D13-D3B9-43C6-ADAC-285FDF696E51}" srcOrd="0" destOrd="0" parTransId="{0EFA7A27-FC0C-4A09-B947-1C5AD33FCFF9}" sibTransId="{2A4734DE-E44F-4730-A5AA-7DB0A260B9E4}"/>
    <dgm:cxn modelId="{F3005228-C517-4B57-877C-18A46BC45A73}" srcId="{3A614F15-45B6-4A19-AAE7-A8BA6C143615}" destId="{83723556-1495-4AC2-BE4E-30D12A2ABC76}" srcOrd="3" destOrd="0" parTransId="{2C5B1EF0-D815-4453-AF19-4E9AF5264062}" sibTransId="{F7F5C9EA-07CD-407D-AB84-08CE689A96C6}"/>
    <dgm:cxn modelId="{02D2CDE7-E92B-4E7D-A6C1-EA96C75A84CE}" type="presOf" srcId="{FDF58FE1-12CA-4EE9-AF6D-F1646ED82B80}" destId="{11E51E77-74BB-4225-B02D-FA34B0DB599A}" srcOrd="0" destOrd="2" presId="urn:microsoft.com/office/officeart/2005/8/layout/vProcess5"/>
    <dgm:cxn modelId="{FC43DB5C-6DCB-4957-BDBC-B2EDF0369798}" type="presOf" srcId="{B1AC852A-727B-42F2-89D3-C1EA677F5340}" destId="{3FDA1DD6-3665-4E60-93FC-8A3EAA5FB94E}" srcOrd="0" destOrd="1" presId="urn:microsoft.com/office/officeart/2005/8/layout/vProcess5"/>
    <dgm:cxn modelId="{6A5B36B8-C9A8-4A69-884E-069F26371E9E}" srcId="{83723556-1495-4AC2-BE4E-30D12A2ABC76}" destId="{0CAF0DC4-2F4A-473F-9F1D-D599306842F7}" srcOrd="1" destOrd="0" parTransId="{06CED6DD-A4C7-498D-904A-78B2F85AC33F}" sibTransId="{CECF21F6-17CC-458E-A151-1D489F4FCCE2}"/>
    <dgm:cxn modelId="{D84EE461-9F42-45D2-9249-23F9D559F275}" type="presOf" srcId="{0CAF0DC4-2F4A-473F-9F1D-D599306842F7}" destId="{3FDA1DD6-3665-4E60-93FC-8A3EAA5FB94E}" srcOrd="0" destOrd="2" presId="urn:microsoft.com/office/officeart/2005/8/layout/vProcess5"/>
    <dgm:cxn modelId="{C7E9D132-8F3C-4D92-B353-07DD28D31B34}" srcId="{5FF46A68-CB9E-4AFC-9E57-A64F4FDD5C3C}" destId="{A4438437-C596-4D11-AACC-569879A3A80B}" srcOrd="0" destOrd="0" parTransId="{E2DC0B6A-A46C-4FC0-881C-B4BEDEBAC78E}" sibTransId="{43F8405C-5D55-4530-A209-B01EB96B7AF5}"/>
    <dgm:cxn modelId="{B2E2FAF3-6924-4BA8-9E4E-29A01C871830}" type="presOf" srcId="{E5A2B079-3F16-4E26-94D4-13DDB7DCE823}" destId="{BA77E463-0618-46C2-B8B4-8A8964302308}" srcOrd="0" destOrd="0" presId="urn:microsoft.com/office/officeart/2005/8/layout/vProcess5"/>
    <dgm:cxn modelId="{2D5FC70B-FEBD-49A7-8309-55EA13919C6F}" type="presOf" srcId="{83723556-1495-4AC2-BE4E-30D12A2ABC76}" destId="{3FDA1DD6-3665-4E60-93FC-8A3EAA5FB94E}" srcOrd="0" destOrd="0" presId="urn:microsoft.com/office/officeart/2005/8/layout/vProcess5"/>
    <dgm:cxn modelId="{3470C916-F51C-46BE-8B6D-526530448C25}" type="presOf" srcId="{B1AC852A-727B-42F2-89D3-C1EA677F5340}" destId="{BD6570F8-9A34-4BE0-B4D9-66CB336A8BC0}" srcOrd="1" destOrd="1" presId="urn:microsoft.com/office/officeart/2005/8/layout/vProcess5"/>
    <dgm:cxn modelId="{D18E735D-6D38-453E-A527-55517B3DA8D4}" type="presOf" srcId="{67F78D13-D3B9-43C6-ADAC-285FDF696E51}" destId="{6CB1668A-E76A-4075-B8A0-3B4D514F8F01}" srcOrd="0" destOrd="0" presId="urn:microsoft.com/office/officeart/2005/8/layout/vProcess5"/>
    <dgm:cxn modelId="{A992939C-E2BE-467F-BDBA-21113F5B6450}" type="presOf" srcId="{A756739C-AEB9-4B83-8602-959F2FC17424}" destId="{BFDA9E24-D6E1-497B-B163-1DE07C35E915}" srcOrd="1" destOrd="1" presId="urn:microsoft.com/office/officeart/2005/8/layout/vProcess5"/>
    <dgm:cxn modelId="{2F2C6ED1-5B22-4091-94F5-BBF70E9E62FE}" type="presOf" srcId="{E6F358E6-5BF8-404E-9FD3-08E06B12CB61}" destId="{AA14E437-099F-460B-89B3-4AEC53F8C286}" srcOrd="1" destOrd="2" presId="urn:microsoft.com/office/officeart/2005/8/layout/vProcess5"/>
    <dgm:cxn modelId="{113240F6-9209-48B5-99AE-3CB7DCC01BA5}" type="presOf" srcId="{FDF58FE1-12CA-4EE9-AF6D-F1646ED82B80}" destId="{5BA112AF-D635-4687-B21C-021B29E57C13}" srcOrd="1" destOrd="2" presId="urn:microsoft.com/office/officeart/2005/8/layout/vProcess5"/>
    <dgm:cxn modelId="{A95DC995-46AF-4DC4-9542-E06625F65EF8}" type="presOf" srcId="{5FF46A68-CB9E-4AFC-9E57-A64F4FDD5C3C}" destId="{AA14E437-099F-460B-89B3-4AEC53F8C286}" srcOrd="1" destOrd="0" presId="urn:microsoft.com/office/officeart/2005/8/layout/vProcess5"/>
    <dgm:cxn modelId="{EE23715E-9453-4C81-A254-006575614852}" type="presOf" srcId="{8827F596-BB50-4B1C-B070-1E197ABE0A96}" destId="{11E51E77-74BB-4225-B02D-FA34B0DB599A}" srcOrd="0" destOrd="1" presId="urn:microsoft.com/office/officeart/2005/8/layout/vProcess5"/>
    <dgm:cxn modelId="{AF9E1978-8B55-43D3-889C-C2730BE49EF3}" type="presOf" srcId="{5FF46A68-CB9E-4AFC-9E57-A64F4FDD5C3C}" destId="{E7847977-B279-440C-8A15-FD769686EBD7}" srcOrd="0" destOrd="0" presId="urn:microsoft.com/office/officeart/2005/8/layout/vProcess5"/>
    <dgm:cxn modelId="{217CFFD1-0152-4C5A-B74F-43D24EA44BC1}" srcId="{3A614F15-45B6-4A19-AAE7-A8BA6C143615}" destId="{5FF46A68-CB9E-4AFC-9E57-A64F4FDD5C3C}" srcOrd="2" destOrd="0" parTransId="{557EE3B5-3BF7-419D-934E-056C85B8D076}" sibTransId="{2FB09047-69C9-496F-B43F-072545CD6AAC}"/>
    <dgm:cxn modelId="{5E7B27F5-F9D2-4957-88BF-5CC953DF71F1}" srcId="{3A614F15-45B6-4A19-AAE7-A8BA6C143615}" destId="{33D256D9-74BE-4AE6-AC4B-CF2A8AF3C1E0}" srcOrd="1" destOrd="0" parTransId="{623D56A1-C5B3-474A-A210-32EF5427D7C8}" sibTransId="{E5A2B079-3F16-4E26-94D4-13DDB7DCE823}"/>
    <dgm:cxn modelId="{BF053733-F017-4C17-B72D-E28D82F897CE}" srcId="{33D256D9-74BE-4AE6-AC4B-CF2A8AF3C1E0}" destId="{FDF58FE1-12CA-4EE9-AF6D-F1646ED82B80}" srcOrd="1" destOrd="0" parTransId="{0D56D1B4-5281-4EB5-B1DD-60DD11827CD4}" sibTransId="{6C1A2BB7-049F-4D71-B08D-06AE3EC7C627}"/>
    <dgm:cxn modelId="{1DE7A831-0225-4CFA-A9C6-56D2357ED1BF}" type="presOf" srcId="{A756739C-AEB9-4B83-8602-959F2FC17424}" destId="{6CB1668A-E76A-4075-B8A0-3B4D514F8F01}" srcOrd="0" destOrd="1" presId="urn:microsoft.com/office/officeart/2005/8/layout/vProcess5"/>
    <dgm:cxn modelId="{23C90AEE-5297-4D9A-ABBE-1D447B0CAAC6}" type="presOf" srcId="{E6F358E6-5BF8-404E-9FD3-08E06B12CB61}" destId="{E7847977-B279-440C-8A15-FD769686EBD7}" srcOrd="0" destOrd="2" presId="urn:microsoft.com/office/officeart/2005/8/layout/vProcess5"/>
    <dgm:cxn modelId="{D9319B1A-DE70-4FAB-9EB4-342FD3DF5160}" srcId="{5FF46A68-CB9E-4AFC-9E57-A64F4FDD5C3C}" destId="{E6F358E6-5BF8-404E-9FD3-08E06B12CB61}" srcOrd="1" destOrd="0" parTransId="{80E62C6A-7CA3-4A61-878A-CB69FD4D9FDC}" sibTransId="{13CFBE0F-E20D-41DB-812F-1AD460C385F7}"/>
    <dgm:cxn modelId="{72ACCD5A-EACA-4378-9A12-F913F76DE2A1}" srcId="{33D256D9-74BE-4AE6-AC4B-CF2A8AF3C1E0}" destId="{8827F596-BB50-4B1C-B070-1E197ABE0A96}" srcOrd="0" destOrd="0" parTransId="{AA5985D9-2D89-4949-828A-2385B6FC7254}" sibTransId="{7E88A83E-F2F0-49CA-AF34-67B7A2E6A2DB}"/>
    <dgm:cxn modelId="{53A38D74-883E-4581-9F56-264D16D3D272}" type="presOf" srcId="{A4438437-C596-4D11-AACC-569879A3A80B}" destId="{AA14E437-099F-460B-89B3-4AEC53F8C286}" srcOrd="1" destOrd="1" presId="urn:microsoft.com/office/officeart/2005/8/layout/vProcess5"/>
    <dgm:cxn modelId="{CE528BD5-1FA7-4C91-A057-B1F53933F2F0}" type="presParOf" srcId="{D2C5D4A1-A0CF-4EA3-95DF-0FAF3AEB83D9}" destId="{830E8B63-E775-4789-A251-5031EB7B4C5E}" srcOrd="0" destOrd="0" presId="urn:microsoft.com/office/officeart/2005/8/layout/vProcess5"/>
    <dgm:cxn modelId="{166DACD8-9834-4B5E-B120-B389DEB4DE22}" type="presParOf" srcId="{D2C5D4A1-A0CF-4EA3-95DF-0FAF3AEB83D9}" destId="{6CB1668A-E76A-4075-B8A0-3B4D514F8F01}" srcOrd="1" destOrd="0" presId="urn:microsoft.com/office/officeart/2005/8/layout/vProcess5"/>
    <dgm:cxn modelId="{BC0787BA-8ACA-45DC-9B3D-6AD6D0E7D907}" type="presParOf" srcId="{D2C5D4A1-A0CF-4EA3-95DF-0FAF3AEB83D9}" destId="{11E51E77-74BB-4225-B02D-FA34B0DB599A}" srcOrd="2" destOrd="0" presId="urn:microsoft.com/office/officeart/2005/8/layout/vProcess5"/>
    <dgm:cxn modelId="{20A453B8-3DFC-4B15-928E-986EB12378CD}" type="presParOf" srcId="{D2C5D4A1-A0CF-4EA3-95DF-0FAF3AEB83D9}" destId="{E7847977-B279-440C-8A15-FD769686EBD7}" srcOrd="3" destOrd="0" presId="urn:microsoft.com/office/officeart/2005/8/layout/vProcess5"/>
    <dgm:cxn modelId="{E43CADCD-5560-4EFE-9E15-FFEB9E0D5978}" type="presParOf" srcId="{D2C5D4A1-A0CF-4EA3-95DF-0FAF3AEB83D9}" destId="{3FDA1DD6-3665-4E60-93FC-8A3EAA5FB94E}" srcOrd="4" destOrd="0" presId="urn:microsoft.com/office/officeart/2005/8/layout/vProcess5"/>
    <dgm:cxn modelId="{54197054-BA2D-4265-987B-1BE3EF4DCD47}" type="presParOf" srcId="{D2C5D4A1-A0CF-4EA3-95DF-0FAF3AEB83D9}" destId="{BC53F87A-0995-4EBA-AB30-D1696D0DCCA4}" srcOrd="5" destOrd="0" presId="urn:microsoft.com/office/officeart/2005/8/layout/vProcess5"/>
    <dgm:cxn modelId="{2FE2EEAC-0DDF-4348-9AF8-176A22B7068B}" type="presParOf" srcId="{D2C5D4A1-A0CF-4EA3-95DF-0FAF3AEB83D9}" destId="{BA77E463-0618-46C2-B8B4-8A8964302308}" srcOrd="6" destOrd="0" presId="urn:microsoft.com/office/officeart/2005/8/layout/vProcess5"/>
    <dgm:cxn modelId="{02B98658-19DC-43B0-8896-7E4B1977BDC8}" type="presParOf" srcId="{D2C5D4A1-A0CF-4EA3-95DF-0FAF3AEB83D9}" destId="{8275FF6C-7A58-43D3-A14D-625B9B5EA4D2}" srcOrd="7" destOrd="0" presId="urn:microsoft.com/office/officeart/2005/8/layout/vProcess5"/>
    <dgm:cxn modelId="{904C162D-10FE-4248-822E-69A233620B95}" type="presParOf" srcId="{D2C5D4A1-A0CF-4EA3-95DF-0FAF3AEB83D9}" destId="{BFDA9E24-D6E1-497B-B163-1DE07C35E915}" srcOrd="8" destOrd="0" presId="urn:microsoft.com/office/officeart/2005/8/layout/vProcess5"/>
    <dgm:cxn modelId="{DA1A554F-E40C-48EB-9A27-43F6055DE828}" type="presParOf" srcId="{D2C5D4A1-A0CF-4EA3-95DF-0FAF3AEB83D9}" destId="{5BA112AF-D635-4687-B21C-021B29E57C13}" srcOrd="9" destOrd="0" presId="urn:microsoft.com/office/officeart/2005/8/layout/vProcess5"/>
    <dgm:cxn modelId="{B09B0D4E-4F7A-4E6A-9C96-65E04574474F}" type="presParOf" srcId="{D2C5D4A1-A0CF-4EA3-95DF-0FAF3AEB83D9}" destId="{AA14E437-099F-460B-89B3-4AEC53F8C286}" srcOrd="10" destOrd="0" presId="urn:microsoft.com/office/officeart/2005/8/layout/vProcess5"/>
    <dgm:cxn modelId="{FD42EF5B-1B2B-4A88-A771-113B3539264D}" type="presParOf" srcId="{D2C5D4A1-A0CF-4EA3-95DF-0FAF3AEB83D9}" destId="{BD6570F8-9A34-4BE0-B4D9-66CB336A8BC0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1800" dirty="0" err="1" smtClean="0"/>
            <a:t>Manuell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80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800"/>
        </a:p>
      </dgm:t>
    </dgm:pt>
    <dgm:pt modelId="{9D71E5CB-C1C8-48F3-83FD-5800BBBA8A48}">
      <dgm:prSet phldrT="[Text]" custT="1"/>
      <dgm:spPr/>
      <dgm:t>
        <a:bodyPr/>
        <a:lstStyle/>
        <a:p>
          <a:r>
            <a:rPr lang="en-US" sz="1800" dirty="0" smtClean="0"/>
            <a:t>40 </a:t>
          </a:r>
          <a:r>
            <a:rPr lang="en-US" sz="1800" dirty="0" err="1" smtClean="0"/>
            <a:t>Stunden</a:t>
          </a:r>
          <a:endParaRPr lang="en-US" sz="1800" dirty="0"/>
        </a:p>
      </dgm:t>
    </dgm:pt>
    <dgm:pt modelId="{13EC3415-2432-4533-822D-015F9FB5004C}" type="parTrans" cxnId="{D25F02FF-5C86-478F-BE62-BF61698CF779}">
      <dgm:prSet/>
      <dgm:spPr/>
      <dgm:t>
        <a:bodyPr/>
        <a:lstStyle/>
        <a:p>
          <a:endParaRPr lang="en-US" sz="1800"/>
        </a:p>
      </dgm:t>
    </dgm:pt>
    <dgm:pt modelId="{10539D9F-0EB8-42AF-9971-34C76370DD76}" type="sibTrans" cxnId="{D25F02FF-5C86-478F-BE62-BF61698CF779}">
      <dgm:prSet/>
      <dgm:spPr/>
      <dgm:t>
        <a:bodyPr/>
        <a:lstStyle/>
        <a:p>
          <a:endParaRPr lang="en-US" sz="1800"/>
        </a:p>
      </dgm:t>
    </dgm:pt>
    <dgm:pt modelId="{0ABAB3B4-F4D4-4B1C-98F3-55A8AE3851CE}">
      <dgm:prSet phldrT="[Text]" custT="1"/>
      <dgm:spPr/>
      <dgm:t>
        <a:bodyPr/>
        <a:lstStyle/>
        <a:p>
          <a:r>
            <a:rPr lang="en-US" sz="1800" dirty="0" smtClean="0"/>
            <a:t>25€ / h</a:t>
          </a:r>
          <a:endParaRPr lang="en-US" sz="1800" dirty="0"/>
        </a:p>
      </dgm:t>
    </dgm:pt>
    <dgm:pt modelId="{44B3F6F5-1581-4702-B22E-0C5331B7F552}" type="parTrans" cxnId="{63863986-FA05-4353-827B-7585248EF933}">
      <dgm:prSet/>
      <dgm:spPr/>
      <dgm:t>
        <a:bodyPr/>
        <a:lstStyle/>
        <a:p>
          <a:endParaRPr lang="en-US" sz="1800"/>
        </a:p>
      </dgm:t>
    </dgm:pt>
    <dgm:pt modelId="{2231AE13-E74F-4076-BD85-F18685318DA1}" type="sibTrans" cxnId="{63863986-FA05-4353-827B-7585248EF933}">
      <dgm:prSet/>
      <dgm:spPr/>
      <dgm:t>
        <a:bodyPr/>
        <a:lstStyle/>
        <a:p>
          <a:endParaRPr lang="en-US" sz="1800"/>
        </a:p>
      </dgm:t>
    </dgm:pt>
    <dgm:pt modelId="{D5A3F40E-895E-4AC8-8F7F-955D73EE0C6F}">
      <dgm:prSet phldrT="[Text]" custT="1"/>
      <dgm:spPr/>
      <dgm:t>
        <a:bodyPr/>
        <a:lstStyle/>
        <a:p>
          <a:r>
            <a:rPr lang="en-US" sz="1800" dirty="0" err="1" smtClean="0"/>
            <a:t>Automatisierte</a:t>
          </a:r>
          <a:r>
            <a:rPr lang="en-US" sz="1800" dirty="0" smtClean="0"/>
            <a:t> </a:t>
          </a:r>
          <a:r>
            <a:rPr lang="en-US" sz="1800" dirty="0" err="1" smtClean="0"/>
            <a:t>Analyse</a:t>
          </a:r>
          <a:endParaRPr lang="en-US" sz="1800" dirty="0"/>
        </a:p>
      </dgm:t>
    </dgm:pt>
    <dgm:pt modelId="{A0F5DC20-6CF2-411D-8789-F10C366B9D92}" type="parTrans" cxnId="{D49F8E55-69B3-4A84-A974-58621ECE3388}">
      <dgm:prSet/>
      <dgm:spPr/>
      <dgm:t>
        <a:bodyPr/>
        <a:lstStyle/>
        <a:p>
          <a:endParaRPr lang="en-US" sz="1800"/>
        </a:p>
      </dgm:t>
    </dgm:pt>
    <dgm:pt modelId="{B50E45DD-4478-4973-83E1-FC1548F71C11}" type="sibTrans" cxnId="{D49F8E55-69B3-4A84-A974-58621ECE3388}">
      <dgm:prSet/>
      <dgm:spPr/>
      <dgm:t>
        <a:bodyPr/>
        <a:lstStyle/>
        <a:p>
          <a:endParaRPr lang="en-US" sz="1800"/>
        </a:p>
      </dgm:t>
    </dgm:pt>
    <dgm:pt modelId="{9A2527A3-4228-4F69-A135-792A7A1DA6F3}">
      <dgm:prSet phldrT="[Text]" custT="1"/>
      <dgm:spPr/>
      <dgm:t>
        <a:bodyPr/>
        <a:lstStyle/>
        <a:p>
          <a:r>
            <a:rPr lang="en-US" sz="1800" dirty="0" smtClean="0"/>
            <a:t>1 </a:t>
          </a:r>
          <a:r>
            <a:rPr lang="en-US" sz="1800" dirty="0" err="1" smtClean="0"/>
            <a:t>Stunde</a:t>
          </a:r>
          <a:endParaRPr lang="en-US" sz="1800" dirty="0"/>
        </a:p>
      </dgm:t>
    </dgm:pt>
    <dgm:pt modelId="{3B3C6534-C01C-4B16-9F8A-707A39AD0A38}" type="parTrans" cxnId="{D7CA9CCC-E94B-482D-8160-57EDF24FD79E}">
      <dgm:prSet/>
      <dgm:spPr/>
      <dgm:t>
        <a:bodyPr/>
        <a:lstStyle/>
        <a:p>
          <a:endParaRPr lang="en-US" sz="1800"/>
        </a:p>
      </dgm:t>
    </dgm:pt>
    <dgm:pt modelId="{EC75F600-F3CA-44A3-9C22-C07A4176963B}" type="sibTrans" cxnId="{D7CA9CCC-E94B-482D-8160-57EDF24FD79E}">
      <dgm:prSet/>
      <dgm:spPr/>
      <dgm:t>
        <a:bodyPr/>
        <a:lstStyle/>
        <a:p>
          <a:endParaRPr lang="en-US" sz="1800"/>
        </a:p>
      </dgm:t>
    </dgm:pt>
    <dgm:pt modelId="{BBC1D43F-4102-412A-9F0C-498F436B47D7}">
      <dgm:prSet phldrT="[Text]" custT="1"/>
      <dgm:spPr/>
      <dgm:t>
        <a:bodyPr/>
        <a:lstStyle/>
        <a:p>
          <a:r>
            <a:rPr lang="en-US" sz="1800" dirty="0" smtClean="0"/>
            <a:t>25€ / h</a:t>
          </a:r>
          <a:endParaRPr lang="en-US" sz="1800" dirty="0"/>
        </a:p>
      </dgm:t>
    </dgm:pt>
    <dgm:pt modelId="{13C11F31-1F6F-4C88-B6BC-E592B5C6E9A3}" type="parTrans" cxnId="{F3E76FB3-320B-4975-BEFB-F0036D32864E}">
      <dgm:prSet/>
      <dgm:spPr/>
      <dgm:t>
        <a:bodyPr/>
        <a:lstStyle/>
        <a:p>
          <a:endParaRPr lang="en-US" sz="1800"/>
        </a:p>
      </dgm:t>
    </dgm:pt>
    <dgm:pt modelId="{20EC3E75-8A31-441E-918F-98592A609501}" type="sibTrans" cxnId="{F3E76FB3-320B-4975-BEFB-F0036D32864E}">
      <dgm:prSet/>
      <dgm:spPr/>
      <dgm:t>
        <a:bodyPr/>
        <a:lstStyle/>
        <a:p>
          <a:endParaRPr lang="en-US" sz="1800"/>
        </a:p>
      </dgm:t>
    </dgm:pt>
    <dgm:pt modelId="{2C2997CC-F225-466A-8C2C-EA4A4F7D2C06}" type="pres">
      <dgm:prSet presAssocID="{8284BBC4-5572-4E86-94CF-9462007A3EB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029853B-DF6E-4A25-AF05-683F55F30D02}" type="pres">
      <dgm:prSet presAssocID="{C5DFB129-3446-48AA-B931-0C00E89CB408}" presName="vertFlow" presStyleCnt="0"/>
      <dgm:spPr/>
    </dgm:pt>
    <dgm:pt modelId="{622CFA29-7A69-438C-8685-825FAC8E297A}" type="pres">
      <dgm:prSet presAssocID="{C5DFB129-3446-48AA-B931-0C00E89CB408}" presName="header" presStyleLbl="node1" presStyleIdx="0" presStyleCnt="2"/>
      <dgm:spPr/>
      <dgm:t>
        <a:bodyPr/>
        <a:lstStyle/>
        <a:p>
          <a:endParaRPr lang="en-US"/>
        </a:p>
      </dgm:t>
    </dgm:pt>
    <dgm:pt modelId="{58B017DD-9A7C-4E5D-991A-2BE63C5F158B}" type="pres">
      <dgm:prSet presAssocID="{13EC3415-2432-4533-822D-015F9FB5004C}" presName="parTrans" presStyleLbl="sibTrans2D1" presStyleIdx="0" presStyleCnt="4"/>
      <dgm:spPr/>
      <dgm:t>
        <a:bodyPr/>
        <a:lstStyle/>
        <a:p>
          <a:endParaRPr lang="en-US"/>
        </a:p>
      </dgm:t>
    </dgm:pt>
    <dgm:pt modelId="{DBD4C467-579D-4094-9F4D-D0FAFA6BE16F}" type="pres">
      <dgm:prSet presAssocID="{9D71E5CB-C1C8-48F3-83FD-5800BBBA8A48}" presName="child" presStyleLbl="alignAccFollow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9B7596-9067-4A39-86F1-50A5F3E4ED7E}" type="pres">
      <dgm:prSet presAssocID="{10539D9F-0EB8-42AF-9971-34C76370DD7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3F16DB50-8145-4E2E-815D-5FE98F599A43}" type="pres">
      <dgm:prSet presAssocID="{0ABAB3B4-F4D4-4B1C-98F3-55A8AE3851CE}" presName="child" presStyleLbl="alignAccFollow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5A4E21-8918-4337-AF3F-8372967AD5DC}" type="pres">
      <dgm:prSet presAssocID="{C5DFB129-3446-48AA-B931-0C00E89CB408}" presName="hSp" presStyleCnt="0"/>
      <dgm:spPr/>
    </dgm:pt>
    <dgm:pt modelId="{9AEE0898-4953-4C8A-AB2D-74F0B35B6240}" type="pres">
      <dgm:prSet presAssocID="{D5A3F40E-895E-4AC8-8F7F-955D73EE0C6F}" presName="vertFlow" presStyleCnt="0"/>
      <dgm:spPr/>
    </dgm:pt>
    <dgm:pt modelId="{7FDD7117-C36D-481C-AC56-F1273D646015}" type="pres">
      <dgm:prSet presAssocID="{D5A3F40E-895E-4AC8-8F7F-955D73EE0C6F}" presName="header" presStyleLbl="node1" presStyleIdx="1" presStyleCnt="2"/>
      <dgm:spPr/>
      <dgm:t>
        <a:bodyPr/>
        <a:lstStyle/>
        <a:p>
          <a:endParaRPr lang="en-US"/>
        </a:p>
      </dgm:t>
    </dgm:pt>
    <dgm:pt modelId="{70B9570F-D9FD-421F-BB0D-9C0AC4011A06}" type="pres">
      <dgm:prSet presAssocID="{3B3C6534-C01C-4B16-9F8A-707A39AD0A38}" presName="parTrans" presStyleLbl="sibTrans2D1" presStyleIdx="2" presStyleCnt="4"/>
      <dgm:spPr/>
      <dgm:t>
        <a:bodyPr/>
        <a:lstStyle/>
        <a:p>
          <a:endParaRPr lang="en-US"/>
        </a:p>
      </dgm:t>
    </dgm:pt>
    <dgm:pt modelId="{5F317885-E90A-46BA-BD9B-72186ABF236C}" type="pres">
      <dgm:prSet presAssocID="{9A2527A3-4228-4F69-A135-792A7A1DA6F3}" presName="child" presStyleLbl="alignAccFollow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E7E00-B40F-4C32-9ACC-055F58895649}" type="pres">
      <dgm:prSet presAssocID="{EC75F600-F3CA-44A3-9C22-C07A4176963B}" presName="sibTrans" presStyleLbl="sibTrans2D1" presStyleIdx="3" presStyleCnt="4"/>
      <dgm:spPr/>
      <dgm:t>
        <a:bodyPr/>
        <a:lstStyle/>
        <a:p>
          <a:endParaRPr lang="en-US"/>
        </a:p>
      </dgm:t>
    </dgm:pt>
    <dgm:pt modelId="{864DFB86-B487-4F06-9FBC-5D308E914171}" type="pres">
      <dgm:prSet presAssocID="{BBC1D43F-4102-412A-9F0C-498F436B47D7}" presName="child" presStyleLbl="alignAccFollow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BDEB5A4-1AA5-49F7-8B4E-5F7306A673D9}" type="presOf" srcId="{EC75F600-F3CA-44A3-9C22-C07A4176963B}" destId="{B74E7E00-B40F-4C32-9ACC-055F58895649}" srcOrd="0" destOrd="0" presId="urn:microsoft.com/office/officeart/2005/8/layout/lProcess1"/>
    <dgm:cxn modelId="{28370DB5-A3AF-469A-98CE-E36F34CE5E9C}" type="presOf" srcId="{13EC3415-2432-4533-822D-015F9FB5004C}" destId="{58B017DD-9A7C-4E5D-991A-2BE63C5F158B}" srcOrd="0" destOrd="0" presId="urn:microsoft.com/office/officeart/2005/8/layout/lProcess1"/>
    <dgm:cxn modelId="{8E470462-74E3-4D62-A860-56B73BB62A6E}" type="presOf" srcId="{3B3C6534-C01C-4B16-9F8A-707A39AD0A38}" destId="{70B9570F-D9FD-421F-BB0D-9C0AC4011A06}" srcOrd="0" destOrd="0" presId="urn:microsoft.com/office/officeart/2005/8/layout/lProcess1"/>
    <dgm:cxn modelId="{F3E76FB3-320B-4975-BEFB-F0036D32864E}" srcId="{D5A3F40E-895E-4AC8-8F7F-955D73EE0C6F}" destId="{BBC1D43F-4102-412A-9F0C-498F436B47D7}" srcOrd="1" destOrd="0" parTransId="{13C11F31-1F6F-4C88-B6BC-E592B5C6E9A3}" sibTransId="{20EC3E75-8A31-441E-918F-98592A609501}"/>
    <dgm:cxn modelId="{D7CA9CCC-E94B-482D-8160-57EDF24FD79E}" srcId="{D5A3F40E-895E-4AC8-8F7F-955D73EE0C6F}" destId="{9A2527A3-4228-4F69-A135-792A7A1DA6F3}" srcOrd="0" destOrd="0" parTransId="{3B3C6534-C01C-4B16-9F8A-707A39AD0A38}" sibTransId="{EC75F600-F3CA-44A3-9C22-C07A4176963B}"/>
    <dgm:cxn modelId="{525AC2E1-DD5A-4599-A994-5510F2F109B8}" type="presOf" srcId="{9D71E5CB-C1C8-48F3-83FD-5800BBBA8A48}" destId="{DBD4C467-579D-4094-9F4D-D0FAFA6BE16F}" srcOrd="0" destOrd="0" presId="urn:microsoft.com/office/officeart/2005/8/layout/lProcess1"/>
    <dgm:cxn modelId="{D10636B6-9FA4-4DAE-A7C7-416A709BF27B}" type="presOf" srcId="{C5DFB129-3446-48AA-B931-0C00E89CB408}" destId="{622CFA29-7A69-438C-8685-825FAC8E297A}" srcOrd="0" destOrd="0" presId="urn:microsoft.com/office/officeart/2005/8/layout/lProcess1"/>
    <dgm:cxn modelId="{63863986-FA05-4353-827B-7585248EF933}" srcId="{C5DFB129-3446-48AA-B931-0C00E89CB408}" destId="{0ABAB3B4-F4D4-4B1C-98F3-55A8AE3851CE}" srcOrd="1" destOrd="0" parTransId="{44B3F6F5-1581-4702-B22E-0C5331B7F552}" sibTransId="{2231AE13-E74F-4076-BD85-F18685318DA1}"/>
    <dgm:cxn modelId="{69AC64F9-C3A2-4E02-BCD3-D189EA372054}" type="presOf" srcId="{9A2527A3-4228-4F69-A135-792A7A1DA6F3}" destId="{5F317885-E90A-46BA-BD9B-72186ABF236C}" srcOrd="0" destOrd="0" presId="urn:microsoft.com/office/officeart/2005/8/layout/lProcess1"/>
    <dgm:cxn modelId="{9A336738-F7E3-46E3-90B3-C3157C2422B3}" type="presOf" srcId="{D5A3F40E-895E-4AC8-8F7F-955D73EE0C6F}" destId="{7FDD7117-C36D-481C-AC56-F1273D646015}" srcOrd="0" destOrd="0" presId="urn:microsoft.com/office/officeart/2005/8/layout/lProcess1"/>
    <dgm:cxn modelId="{D25F02FF-5C86-478F-BE62-BF61698CF779}" srcId="{C5DFB129-3446-48AA-B931-0C00E89CB408}" destId="{9D71E5CB-C1C8-48F3-83FD-5800BBBA8A48}" srcOrd="0" destOrd="0" parTransId="{13EC3415-2432-4533-822D-015F9FB5004C}" sibTransId="{10539D9F-0EB8-42AF-9971-34C76370DD76}"/>
    <dgm:cxn modelId="{D49F8E55-69B3-4A84-A974-58621ECE3388}" srcId="{8284BBC4-5572-4E86-94CF-9462007A3EBD}" destId="{D5A3F40E-895E-4AC8-8F7F-955D73EE0C6F}" srcOrd="1" destOrd="0" parTransId="{A0F5DC20-6CF2-411D-8789-F10C366B9D92}" sibTransId="{B50E45DD-4478-4973-83E1-FC1548F71C11}"/>
    <dgm:cxn modelId="{1E76C168-E222-4A77-910F-F3F87098F824}" type="presOf" srcId="{10539D9F-0EB8-42AF-9971-34C76370DD76}" destId="{199B7596-9067-4A39-86F1-50A5F3E4ED7E}" srcOrd="0" destOrd="0" presId="urn:microsoft.com/office/officeart/2005/8/layout/lProcess1"/>
    <dgm:cxn modelId="{19E7A06A-B89B-418B-9B8D-F09BAB856F97}" type="presOf" srcId="{BBC1D43F-4102-412A-9F0C-498F436B47D7}" destId="{864DFB86-B487-4F06-9FBC-5D308E914171}" srcOrd="0" destOrd="0" presId="urn:microsoft.com/office/officeart/2005/8/layout/lProcess1"/>
    <dgm:cxn modelId="{79C22BE6-3545-41A6-AF0D-88C225ABD252}" type="presOf" srcId="{8284BBC4-5572-4E86-94CF-9462007A3EBD}" destId="{2C2997CC-F225-466A-8C2C-EA4A4F7D2C06}" srcOrd="0" destOrd="0" presId="urn:microsoft.com/office/officeart/2005/8/layout/lProcess1"/>
    <dgm:cxn modelId="{9070046A-4BE8-4B2B-A1CE-D7B78ED7B4C0}" type="presOf" srcId="{0ABAB3B4-F4D4-4B1C-98F3-55A8AE3851CE}" destId="{3F16DB50-8145-4E2E-815D-5FE98F599A43}" srcOrd="0" destOrd="0" presId="urn:microsoft.com/office/officeart/2005/8/layout/lProcess1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1F9E8096-277C-4BFB-B1A8-8FDAA4855E60}" type="presParOf" srcId="{2C2997CC-F225-466A-8C2C-EA4A4F7D2C06}" destId="{0029853B-DF6E-4A25-AF05-683F55F30D02}" srcOrd="0" destOrd="0" presId="urn:microsoft.com/office/officeart/2005/8/layout/lProcess1"/>
    <dgm:cxn modelId="{7D508626-319D-4E37-9725-75B4A82142E1}" type="presParOf" srcId="{0029853B-DF6E-4A25-AF05-683F55F30D02}" destId="{622CFA29-7A69-438C-8685-825FAC8E297A}" srcOrd="0" destOrd="0" presId="urn:microsoft.com/office/officeart/2005/8/layout/lProcess1"/>
    <dgm:cxn modelId="{D8580B68-673F-455D-9658-519971A87483}" type="presParOf" srcId="{0029853B-DF6E-4A25-AF05-683F55F30D02}" destId="{58B017DD-9A7C-4E5D-991A-2BE63C5F158B}" srcOrd="1" destOrd="0" presId="urn:microsoft.com/office/officeart/2005/8/layout/lProcess1"/>
    <dgm:cxn modelId="{EC17AB71-6DD7-4672-97FA-A36FEAF9E49D}" type="presParOf" srcId="{0029853B-DF6E-4A25-AF05-683F55F30D02}" destId="{DBD4C467-579D-4094-9F4D-D0FAFA6BE16F}" srcOrd="2" destOrd="0" presId="urn:microsoft.com/office/officeart/2005/8/layout/lProcess1"/>
    <dgm:cxn modelId="{93BAECF4-3E21-4662-AA0F-58AF83999663}" type="presParOf" srcId="{0029853B-DF6E-4A25-AF05-683F55F30D02}" destId="{199B7596-9067-4A39-86F1-50A5F3E4ED7E}" srcOrd="3" destOrd="0" presId="urn:microsoft.com/office/officeart/2005/8/layout/lProcess1"/>
    <dgm:cxn modelId="{2049DD8C-F0B8-4DDB-8961-52947E0290FA}" type="presParOf" srcId="{0029853B-DF6E-4A25-AF05-683F55F30D02}" destId="{3F16DB50-8145-4E2E-815D-5FE98F599A43}" srcOrd="4" destOrd="0" presId="urn:microsoft.com/office/officeart/2005/8/layout/lProcess1"/>
    <dgm:cxn modelId="{8E094D37-F2D2-433A-A516-5E85393AA518}" type="presParOf" srcId="{2C2997CC-F225-466A-8C2C-EA4A4F7D2C06}" destId="{465A4E21-8918-4337-AF3F-8372967AD5DC}" srcOrd="1" destOrd="0" presId="urn:microsoft.com/office/officeart/2005/8/layout/lProcess1"/>
    <dgm:cxn modelId="{5B30EDDB-F30A-4E9E-9C3C-E6BDCF00A997}" type="presParOf" srcId="{2C2997CC-F225-466A-8C2C-EA4A4F7D2C06}" destId="{9AEE0898-4953-4C8A-AB2D-74F0B35B6240}" srcOrd="2" destOrd="0" presId="urn:microsoft.com/office/officeart/2005/8/layout/lProcess1"/>
    <dgm:cxn modelId="{4A559285-BD7F-4E35-B6D4-E2B6BD34A197}" type="presParOf" srcId="{9AEE0898-4953-4C8A-AB2D-74F0B35B6240}" destId="{7FDD7117-C36D-481C-AC56-F1273D646015}" srcOrd="0" destOrd="0" presId="urn:microsoft.com/office/officeart/2005/8/layout/lProcess1"/>
    <dgm:cxn modelId="{11D15077-D1EB-41C6-B55D-1E4472EB8FFF}" type="presParOf" srcId="{9AEE0898-4953-4C8A-AB2D-74F0B35B6240}" destId="{70B9570F-D9FD-421F-BB0D-9C0AC4011A06}" srcOrd="1" destOrd="0" presId="urn:microsoft.com/office/officeart/2005/8/layout/lProcess1"/>
    <dgm:cxn modelId="{27003C2C-B309-4C80-B425-EA60E04F614F}" type="presParOf" srcId="{9AEE0898-4953-4C8A-AB2D-74F0B35B6240}" destId="{5F317885-E90A-46BA-BD9B-72186ABF236C}" srcOrd="2" destOrd="0" presId="urn:microsoft.com/office/officeart/2005/8/layout/lProcess1"/>
    <dgm:cxn modelId="{29C44E40-0EBE-4D49-BDEB-C5ECEB6CF629}" type="presParOf" srcId="{9AEE0898-4953-4C8A-AB2D-74F0B35B6240}" destId="{B74E7E00-B40F-4C32-9ACC-055F58895649}" srcOrd="3" destOrd="0" presId="urn:microsoft.com/office/officeart/2005/8/layout/lProcess1"/>
    <dgm:cxn modelId="{BF533647-1EE8-47DC-ACCA-EBF43F439308}" type="presParOf" srcId="{9AEE0898-4953-4C8A-AB2D-74F0B35B6240}" destId="{864DFB86-B487-4F06-9FBC-5D308E914171}" srcOrd="4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284BBC4-5572-4E86-94CF-9462007A3EBD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DFB129-3446-48AA-B931-0C00E89CB408}">
      <dgm:prSet phldrT="[Text]" custT="1"/>
      <dgm:spPr/>
      <dgm:t>
        <a:bodyPr/>
        <a:lstStyle/>
        <a:p>
          <a:r>
            <a:rPr lang="en-US" sz="2000" dirty="0" err="1" smtClean="0"/>
            <a:t>Zeitersparnis</a:t>
          </a:r>
          <a:endParaRPr lang="en-US" sz="2000" dirty="0"/>
        </a:p>
      </dgm:t>
    </dgm:pt>
    <dgm:pt modelId="{E82342E7-9BFA-4750-92AC-823CF59EC80D}" type="parTrans" cxnId="{753DFCA2-E5D8-4F63-9B65-CD5D68DED208}">
      <dgm:prSet/>
      <dgm:spPr/>
      <dgm:t>
        <a:bodyPr/>
        <a:lstStyle/>
        <a:p>
          <a:endParaRPr lang="en-US" sz="1050"/>
        </a:p>
      </dgm:t>
    </dgm:pt>
    <dgm:pt modelId="{495FC84A-5C35-4EB6-8EBB-AD6B62DA03D8}" type="sibTrans" cxnId="{753DFCA2-E5D8-4F63-9B65-CD5D68DED208}">
      <dgm:prSet/>
      <dgm:spPr/>
      <dgm:t>
        <a:bodyPr/>
        <a:lstStyle/>
        <a:p>
          <a:endParaRPr lang="en-US" sz="1050"/>
        </a:p>
      </dgm:t>
    </dgm:pt>
    <dgm:pt modelId="{36D89497-4809-4D11-9D6D-042576E4B29A}">
      <dgm:prSet phldrT="[Text]" custT="1"/>
      <dgm:spPr/>
      <dgm:t>
        <a:bodyPr anchor="ctr"/>
        <a:lstStyle/>
        <a:p>
          <a:pPr marL="87313" indent="0" algn="l"/>
          <a:r>
            <a:rPr lang="de-DE" sz="1050" dirty="0" smtClean="0"/>
            <a:t>Reduktion manueller Schritte für</a:t>
          </a:r>
          <a:endParaRPr lang="en-US" sz="1050" dirty="0"/>
        </a:p>
      </dgm:t>
    </dgm:pt>
    <dgm:pt modelId="{69A19A92-91E8-439E-AADF-C09B7D44852B}" type="parTrans" cxnId="{CFD699D8-FFCD-4DDD-BAF5-2162C340A243}">
      <dgm:prSet/>
      <dgm:spPr/>
      <dgm:t>
        <a:bodyPr/>
        <a:lstStyle/>
        <a:p>
          <a:endParaRPr lang="en-US" sz="1050"/>
        </a:p>
      </dgm:t>
    </dgm:pt>
    <dgm:pt modelId="{F636B3AD-E2FC-483F-BFCF-140517E9C986}" type="sibTrans" cxnId="{CFD699D8-FFCD-4DDD-BAF5-2162C340A243}">
      <dgm:prSet/>
      <dgm:spPr/>
      <dgm:t>
        <a:bodyPr/>
        <a:lstStyle/>
        <a:p>
          <a:endParaRPr lang="en-US" sz="1050"/>
        </a:p>
      </dgm:t>
    </dgm:pt>
    <dgm:pt modelId="{752EB31A-8F09-4C8B-A84D-29443D83117B}">
      <dgm:prSet phldrT="[Text]" custT="1"/>
      <dgm:spPr/>
      <dgm:t>
        <a:bodyPr/>
        <a:lstStyle/>
        <a:p>
          <a:r>
            <a:rPr lang="en-US" sz="2000" dirty="0" err="1" smtClean="0"/>
            <a:t>Steigerung</a:t>
          </a:r>
          <a:r>
            <a:rPr lang="en-US" sz="2000" dirty="0" smtClean="0"/>
            <a:t> der </a:t>
          </a:r>
          <a:r>
            <a:rPr lang="en-US" sz="2000" dirty="0" err="1" smtClean="0"/>
            <a:t>Qualität</a:t>
          </a:r>
          <a:endParaRPr lang="en-US" sz="2000" dirty="0"/>
        </a:p>
      </dgm:t>
    </dgm:pt>
    <dgm:pt modelId="{C5AD86EA-948C-429B-BA7E-3CF5D59F350E}" type="parTrans" cxnId="{171F142B-89A5-4D72-A675-CB153EBF39F6}">
      <dgm:prSet/>
      <dgm:spPr/>
      <dgm:t>
        <a:bodyPr/>
        <a:lstStyle/>
        <a:p>
          <a:endParaRPr lang="en-US" sz="1050"/>
        </a:p>
      </dgm:t>
    </dgm:pt>
    <dgm:pt modelId="{24F48C41-961E-47D2-9A43-53C7F64C230D}" type="sibTrans" cxnId="{171F142B-89A5-4D72-A675-CB153EBF39F6}">
      <dgm:prSet/>
      <dgm:spPr/>
      <dgm:t>
        <a:bodyPr/>
        <a:lstStyle/>
        <a:p>
          <a:endParaRPr lang="en-US" sz="1050"/>
        </a:p>
      </dgm:t>
    </dgm:pt>
    <dgm:pt modelId="{F075638F-F5FB-401B-9340-EC9C3839D10A}">
      <dgm:prSet phldrT="[Text]" custT="1"/>
      <dgm:spPr/>
      <dgm:t>
        <a:bodyPr/>
        <a:lstStyle/>
        <a:p>
          <a:pPr marL="87313" indent="0" algn="l"/>
          <a:r>
            <a:rPr lang="en-US" sz="1050" dirty="0" err="1" smtClean="0"/>
            <a:t>Daten</a:t>
          </a:r>
          <a:r>
            <a:rPr lang="en-US" sz="1050" dirty="0" smtClean="0"/>
            <a:t> </a:t>
          </a:r>
          <a:r>
            <a:rPr lang="en-US" sz="1050" dirty="0" err="1" smtClean="0"/>
            <a:t>werden</a:t>
          </a:r>
          <a:r>
            <a:rPr lang="en-US" sz="1050" dirty="0" smtClean="0"/>
            <a:t> </a:t>
          </a:r>
          <a:r>
            <a:rPr lang="en-US" sz="1050" dirty="0" err="1" smtClean="0"/>
            <a:t>automatisiert</a:t>
          </a:r>
          <a:r>
            <a:rPr lang="en-US" sz="1050" dirty="0" smtClean="0"/>
            <a:t> </a:t>
          </a:r>
          <a:r>
            <a:rPr lang="en-US" sz="1050" dirty="0" err="1" smtClean="0"/>
            <a:t>verarbeitet</a:t>
          </a:r>
          <a:endParaRPr lang="en-US" sz="1050" dirty="0"/>
        </a:p>
      </dgm:t>
    </dgm:pt>
    <dgm:pt modelId="{9ABF55EB-3826-4868-909E-FF603655FA66}" type="parTrans" cxnId="{5331DBC5-FA01-4F6D-9DA7-0DB6E14F0A7B}">
      <dgm:prSet/>
      <dgm:spPr/>
      <dgm:t>
        <a:bodyPr/>
        <a:lstStyle/>
        <a:p>
          <a:endParaRPr lang="en-US" sz="1050"/>
        </a:p>
      </dgm:t>
    </dgm:pt>
    <dgm:pt modelId="{8DF2E1B3-2FE6-4774-B8AE-7ADC3FDDF2E6}" type="sibTrans" cxnId="{5331DBC5-FA01-4F6D-9DA7-0DB6E14F0A7B}">
      <dgm:prSet/>
      <dgm:spPr/>
      <dgm:t>
        <a:bodyPr/>
        <a:lstStyle/>
        <a:p>
          <a:endParaRPr lang="en-US" sz="1050"/>
        </a:p>
      </dgm:t>
    </dgm:pt>
    <dgm:pt modelId="{9682021E-4427-453D-9EF6-A127733D299B}">
      <dgm:prSet phldrT="[Text]" custT="1"/>
      <dgm:spPr/>
      <dgm:t>
        <a:bodyPr anchor="ctr"/>
        <a:lstStyle/>
        <a:p>
          <a:pPr marL="87313" indent="0" algn="l"/>
          <a:r>
            <a:rPr lang="en-US" sz="1050" smtClean="0"/>
            <a:t> </a:t>
          </a:r>
          <a:r>
            <a:rPr lang="en-US" sz="1050" smtClean="0"/>
            <a:t>Erstellung </a:t>
          </a:r>
          <a:r>
            <a:rPr lang="en-US" sz="1050" dirty="0" smtClean="0"/>
            <a:t>der </a:t>
          </a:r>
          <a:r>
            <a:rPr lang="en-US" sz="1050" dirty="0" err="1" smtClean="0"/>
            <a:t>Berichte</a:t>
          </a:r>
          <a:endParaRPr lang="en-US" sz="1050" dirty="0"/>
        </a:p>
      </dgm:t>
    </dgm:pt>
    <dgm:pt modelId="{33E79F6D-5CA8-4A05-9FDC-09790C10090F}" type="parTrans" cxnId="{22C08123-CDD7-4F31-BA4E-D2022FBA10D4}">
      <dgm:prSet/>
      <dgm:spPr/>
      <dgm:t>
        <a:bodyPr/>
        <a:lstStyle/>
        <a:p>
          <a:endParaRPr lang="en-US"/>
        </a:p>
      </dgm:t>
    </dgm:pt>
    <dgm:pt modelId="{75EAD36B-7E26-4806-822A-EA56FBEBF120}" type="sibTrans" cxnId="{22C08123-CDD7-4F31-BA4E-D2022FBA10D4}">
      <dgm:prSet/>
      <dgm:spPr/>
      <dgm:t>
        <a:bodyPr/>
        <a:lstStyle/>
        <a:p>
          <a:endParaRPr lang="en-US"/>
        </a:p>
      </dgm:t>
    </dgm:pt>
    <dgm:pt modelId="{F50E9EC0-2493-4E13-879C-85017A4DAACA}">
      <dgm:prSet phldrT="[Text]" custT="1"/>
      <dgm:spPr/>
      <dgm:t>
        <a:bodyPr anchor="ctr"/>
        <a:lstStyle/>
        <a:p>
          <a:pPr marL="87313" indent="0" algn="l"/>
          <a:r>
            <a:rPr lang="en-US" sz="1050" dirty="0" smtClean="0"/>
            <a:t> </a:t>
          </a:r>
          <a:r>
            <a:rPr lang="en-US" sz="1050" dirty="0" err="1" smtClean="0"/>
            <a:t>Analyse</a:t>
          </a:r>
          <a:endParaRPr lang="en-US" sz="1050" dirty="0"/>
        </a:p>
      </dgm:t>
    </dgm:pt>
    <dgm:pt modelId="{2AB283B2-2A4C-4FAB-9AED-96EEF71937B2}" type="parTrans" cxnId="{4B5E7152-C0C5-4E2E-911A-5A2ACFD9D46C}">
      <dgm:prSet/>
      <dgm:spPr/>
      <dgm:t>
        <a:bodyPr/>
        <a:lstStyle/>
        <a:p>
          <a:endParaRPr lang="en-US"/>
        </a:p>
      </dgm:t>
    </dgm:pt>
    <dgm:pt modelId="{1B3DF463-E13D-47C4-AB88-33904D530663}" type="sibTrans" cxnId="{4B5E7152-C0C5-4E2E-911A-5A2ACFD9D46C}">
      <dgm:prSet/>
      <dgm:spPr/>
      <dgm:t>
        <a:bodyPr/>
        <a:lstStyle/>
        <a:p>
          <a:endParaRPr lang="en-US"/>
        </a:p>
      </dgm:t>
    </dgm:pt>
    <dgm:pt modelId="{8BE80613-7CFB-43D9-8C73-A037A765FF43}" type="pres">
      <dgm:prSet presAssocID="{8284BBC4-5572-4E86-94CF-9462007A3EB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BEBC00D-C884-4685-8BFD-AB4ADF286CFA}" type="pres">
      <dgm:prSet presAssocID="{C5DFB129-3446-48AA-B931-0C00E89CB408}" presName="root" presStyleCnt="0"/>
      <dgm:spPr/>
    </dgm:pt>
    <dgm:pt modelId="{71351087-464B-43DA-9FEB-709754E3CACB}" type="pres">
      <dgm:prSet presAssocID="{C5DFB129-3446-48AA-B931-0C00E89CB408}" presName="rootComposite" presStyleCnt="0"/>
      <dgm:spPr/>
    </dgm:pt>
    <dgm:pt modelId="{C5360C51-60D5-4123-8743-3E727AB71549}" type="pres">
      <dgm:prSet presAssocID="{C5DFB129-3446-48AA-B931-0C00E89CB408}" presName="rootText" presStyleLbl="node1" presStyleIdx="0" presStyleCnt="2" custScaleY="39931"/>
      <dgm:spPr/>
      <dgm:t>
        <a:bodyPr/>
        <a:lstStyle/>
        <a:p>
          <a:endParaRPr lang="en-US"/>
        </a:p>
      </dgm:t>
    </dgm:pt>
    <dgm:pt modelId="{A843027E-B343-4661-9D95-C961119048F1}" type="pres">
      <dgm:prSet presAssocID="{C5DFB129-3446-48AA-B931-0C00E89CB408}" presName="rootConnector" presStyleLbl="node1" presStyleIdx="0" presStyleCnt="2"/>
      <dgm:spPr/>
      <dgm:t>
        <a:bodyPr/>
        <a:lstStyle/>
        <a:p>
          <a:endParaRPr lang="en-US"/>
        </a:p>
      </dgm:t>
    </dgm:pt>
    <dgm:pt modelId="{D8475DB2-409C-4AA8-9787-C10A86A43B4E}" type="pres">
      <dgm:prSet presAssocID="{C5DFB129-3446-48AA-B931-0C00E89CB408}" presName="childShape" presStyleCnt="0"/>
      <dgm:spPr/>
    </dgm:pt>
    <dgm:pt modelId="{C847A05E-92C7-4C85-BDD5-6F9BBCFF4212}" type="pres">
      <dgm:prSet presAssocID="{69A19A92-91E8-439E-AADF-C09B7D44852B}" presName="Name13" presStyleLbl="parChTrans1D2" presStyleIdx="0" presStyleCnt="2"/>
      <dgm:spPr/>
      <dgm:t>
        <a:bodyPr/>
        <a:lstStyle/>
        <a:p>
          <a:endParaRPr lang="en-US"/>
        </a:p>
      </dgm:t>
    </dgm:pt>
    <dgm:pt modelId="{EC666C35-BF2A-478C-99B0-683FDC03FB2C}" type="pres">
      <dgm:prSet presAssocID="{36D89497-4809-4D11-9D6D-042576E4B29A}" presName="childText" presStyleLbl="bgAcc1" presStyleIdx="0" presStyleCnt="2" custScaleY="520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EFA6A-4ED5-4372-B3E9-9F7003442A3E}" type="pres">
      <dgm:prSet presAssocID="{752EB31A-8F09-4C8B-A84D-29443D83117B}" presName="root" presStyleCnt="0"/>
      <dgm:spPr/>
    </dgm:pt>
    <dgm:pt modelId="{2F9D41AD-BC3E-4C28-9C70-B9643B851A08}" type="pres">
      <dgm:prSet presAssocID="{752EB31A-8F09-4C8B-A84D-29443D83117B}" presName="rootComposite" presStyleCnt="0"/>
      <dgm:spPr/>
    </dgm:pt>
    <dgm:pt modelId="{52EC2118-BCED-426A-9A44-CDC2B67A03B2}" type="pres">
      <dgm:prSet presAssocID="{752EB31A-8F09-4C8B-A84D-29443D83117B}" presName="rootText" presStyleLbl="node1" presStyleIdx="1" presStyleCnt="2" custScaleY="39931"/>
      <dgm:spPr/>
      <dgm:t>
        <a:bodyPr/>
        <a:lstStyle/>
        <a:p>
          <a:endParaRPr lang="en-US"/>
        </a:p>
      </dgm:t>
    </dgm:pt>
    <dgm:pt modelId="{286985B1-D1D2-4104-88B8-784B3757E6B9}" type="pres">
      <dgm:prSet presAssocID="{752EB31A-8F09-4C8B-A84D-29443D83117B}" presName="rootConnector" presStyleLbl="node1" presStyleIdx="1" presStyleCnt="2"/>
      <dgm:spPr/>
      <dgm:t>
        <a:bodyPr/>
        <a:lstStyle/>
        <a:p>
          <a:endParaRPr lang="en-US"/>
        </a:p>
      </dgm:t>
    </dgm:pt>
    <dgm:pt modelId="{8283C472-AA2B-4919-8750-9D49B1B371A5}" type="pres">
      <dgm:prSet presAssocID="{752EB31A-8F09-4C8B-A84D-29443D83117B}" presName="childShape" presStyleCnt="0"/>
      <dgm:spPr/>
    </dgm:pt>
    <dgm:pt modelId="{442EF70D-AABC-4C10-9240-092C9CC604C7}" type="pres">
      <dgm:prSet presAssocID="{9ABF55EB-3826-4868-909E-FF603655FA66}" presName="Name13" presStyleLbl="parChTrans1D2" presStyleIdx="1" presStyleCnt="2"/>
      <dgm:spPr/>
      <dgm:t>
        <a:bodyPr/>
        <a:lstStyle/>
        <a:p>
          <a:endParaRPr lang="en-US"/>
        </a:p>
      </dgm:t>
    </dgm:pt>
    <dgm:pt modelId="{499EF772-E112-4509-B818-41CE2B77776E}" type="pres">
      <dgm:prSet presAssocID="{F075638F-F5FB-401B-9340-EC9C3839D10A}" presName="childText" presStyleLbl="bgAcc1" presStyleIdx="1" presStyleCnt="2" custScaleY="520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6D5AD5C-A36B-46A2-AE62-C037AC43C4F1}" type="presOf" srcId="{8284BBC4-5572-4E86-94CF-9462007A3EBD}" destId="{8BE80613-7CFB-43D9-8C73-A037A765FF43}" srcOrd="0" destOrd="0" presId="urn:microsoft.com/office/officeart/2005/8/layout/hierarchy3"/>
    <dgm:cxn modelId="{D9EF170F-B9C4-4F30-B69B-A236E949B9C3}" type="presOf" srcId="{9ABF55EB-3826-4868-909E-FF603655FA66}" destId="{442EF70D-AABC-4C10-9240-092C9CC604C7}" srcOrd="0" destOrd="0" presId="urn:microsoft.com/office/officeart/2005/8/layout/hierarchy3"/>
    <dgm:cxn modelId="{64C70A1F-0116-491A-8FD7-908ABFD99AEE}" type="presOf" srcId="{F075638F-F5FB-401B-9340-EC9C3839D10A}" destId="{499EF772-E112-4509-B818-41CE2B77776E}" srcOrd="0" destOrd="0" presId="urn:microsoft.com/office/officeart/2005/8/layout/hierarchy3"/>
    <dgm:cxn modelId="{FF876148-0C6A-46F4-A637-27E3A90B887A}" type="presOf" srcId="{36D89497-4809-4D11-9D6D-042576E4B29A}" destId="{EC666C35-BF2A-478C-99B0-683FDC03FB2C}" srcOrd="0" destOrd="0" presId="urn:microsoft.com/office/officeart/2005/8/layout/hierarchy3"/>
    <dgm:cxn modelId="{CFD699D8-FFCD-4DDD-BAF5-2162C340A243}" srcId="{C5DFB129-3446-48AA-B931-0C00E89CB408}" destId="{36D89497-4809-4D11-9D6D-042576E4B29A}" srcOrd="0" destOrd="0" parTransId="{69A19A92-91E8-439E-AADF-C09B7D44852B}" sibTransId="{F636B3AD-E2FC-483F-BFCF-140517E9C986}"/>
    <dgm:cxn modelId="{3B43A39D-34D1-4550-90CD-E33AEE6268E1}" type="presOf" srcId="{C5DFB129-3446-48AA-B931-0C00E89CB408}" destId="{C5360C51-60D5-4123-8743-3E727AB71549}" srcOrd="0" destOrd="0" presId="urn:microsoft.com/office/officeart/2005/8/layout/hierarchy3"/>
    <dgm:cxn modelId="{22C08123-CDD7-4F31-BA4E-D2022FBA10D4}" srcId="{36D89497-4809-4D11-9D6D-042576E4B29A}" destId="{9682021E-4427-453D-9EF6-A127733D299B}" srcOrd="1" destOrd="0" parTransId="{33E79F6D-5CA8-4A05-9FDC-09790C10090F}" sibTransId="{75EAD36B-7E26-4806-822A-EA56FBEBF120}"/>
    <dgm:cxn modelId="{4B5E7152-C0C5-4E2E-911A-5A2ACFD9D46C}" srcId="{36D89497-4809-4D11-9D6D-042576E4B29A}" destId="{F50E9EC0-2493-4E13-879C-85017A4DAACA}" srcOrd="0" destOrd="0" parTransId="{2AB283B2-2A4C-4FAB-9AED-96EEF71937B2}" sibTransId="{1B3DF463-E13D-47C4-AB88-33904D530663}"/>
    <dgm:cxn modelId="{E1BF51E4-42CF-4841-B426-13CAD62628B0}" type="presOf" srcId="{752EB31A-8F09-4C8B-A84D-29443D83117B}" destId="{52EC2118-BCED-426A-9A44-CDC2B67A03B2}" srcOrd="0" destOrd="0" presId="urn:microsoft.com/office/officeart/2005/8/layout/hierarchy3"/>
    <dgm:cxn modelId="{A6374BCC-C388-47F1-9D65-599517E756DC}" type="presOf" srcId="{C5DFB129-3446-48AA-B931-0C00E89CB408}" destId="{A843027E-B343-4661-9D95-C961119048F1}" srcOrd="1" destOrd="0" presId="urn:microsoft.com/office/officeart/2005/8/layout/hierarchy3"/>
    <dgm:cxn modelId="{5331DBC5-FA01-4F6D-9DA7-0DB6E14F0A7B}" srcId="{752EB31A-8F09-4C8B-A84D-29443D83117B}" destId="{F075638F-F5FB-401B-9340-EC9C3839D10A}" srcOrd="0" destOrd="0" parTransId="{9ABF55EB-3826-4868-909E-FF603655FA66}" sibTransId="{8DF2E1B3-2FE6-4774-B8AE-7ADC3FDDF2E6}"/>
    <dgm:cxn modelId="{171F142B-89A5-4D72-A675-CB153EBF39F6}" srcId="{8284BBC4-5572-4E86-94CF-9462007A3EBD}" destId="{752EB31A-8F09-4C8B-A84D-29443D83117B}" srcOrd="1" destOrd="0" parTransId="{C5AD86EA-948C-429B-BA7E-3CF5D59F350E}" sibTransId="{24F48C41-961E-47D2-9A43-53C7F64C230D}"/>
    <dgm:cxn modelId="{A9F6FE02-9141-4C73-8D13-46996E7B81AE}" type="presOf" srcId="{69A19A92-91E8-439E-AADF-C09B7D44852B}" destId="{C847A05E-92C7-4C85-BDD5-6F9BBCFF4212}" srcOrd="0" destOrd="0" presId="urn:microsoft.com/office/officeart/2005/8/layout/hierarchy3"/>
    <dgm:cxn modelId="{C5C89014-B037-4192-8065-94199231405A}" type="presOf" srcId="{9682021E-4427-453D-9EF6-A127733D299B}" destId="{EC666C35-BF2A-478C-99B0-683FDC03FB2C}" srcOrd="0" destOrd="2" presId="urn:microsoft.com/office/officeart/2005/8/layout/hierarchy3"/>
    <dgm:cxn modelId="{977DA423-41FE-4819-9CF2-34280F05F234}" type="presOf" srcId="{752EB31A-8F09-4C8B-A84D-29443D83117B}" destId="{286985B1-D1D2-4104-88B8-784B3757E6B9}" srcOrd="1" destOrd="0" presId="urn:microsoft.com/office/officeart/2005/8/layout/hierarchy3"/>
    <dgm:cxn modelId="{1125C576-1582-4C30-B923-72070DEE8D8D}" type="presOf" srcId="{F50E9EC0-2493-4E13-879C-85017A4DAACA}" destId="{EC666C35-BF2A-478C-99B0-683FDC03FB2C}" srcOrd="0" destOrd="1" presId="urn:microsoft.com/office/officeart/2005/8/layout/hierarchy3"/>
    <dgm:cxn modelId="{753DFCA2-E5D8-4F63-9B65-CD5D68DED208}" srcId="{8284BBC4-5572-4E86-94CF-9462007A3EBD}" destId="{C5DFB129-3446-48AA-B931-0C00E89CB408}" srcOrd="0" destOrd="0" parTransId="{E82342E7-9BFA-4750-92AC-823CF59EC80D}" sibTransId="{495FC84A-5C35-4EB6-8EBB-AD6B62DA03D8}"/>
    <dgm:cxn modelId="{D4217EE6-363D-4516-865D-C910487A1EF9}" type="presParOf" srcId="{8BE80613-7CFB-43D9-8C73-A037A765FF43}" destId="{2BEBC00D-C884-4685-8BFD-AB4ADF286CFA}" srcOrd="0" destOrd="0" presId="urn:microsoft.com/office/officeart/2005/8/layout/hierarchy3"/>
    <dgm:cxn modelId="{FA735931-FC9E-454C-B65D-E8756EAF8A44}" type="presParOf" srcId="{2BEBC00D-C884-4685-8BFD-AB4ADF286CFA}" destId="{71351087-464B-43DA-9FEB-709754E3CACB}" srcOrd="0" destOrd="0" presId="urn:microsoft.com/office/officeart/2005/8/layout/hierarchy3"/>
    <dgm:cxn modelId="{7024441D-3AAB-49B2-85DB-8F5E26FAB1C7}" type="presParOf" srcId="{71351087-464B-43DA-9FEB-709754E3CACB}" destId="{C5360C51-60D5-4123-8743-3E727AB71549}" srcOrd="0" destOrd="0" presId="urn:microsoft.com/office/officeart/2005/8/layout/hierarchy3"/>
    <dgm:cxn modelId="{37D91889-1B25-4952-96A4-E0DFADB7AFC6}" type="presParOf" srcId="{71351087-464B-43DA-9FEB-709754E3CACB}" destId="{A843027E-B343-4661-9D95-C961119048F1}" srcOrd="1" destOrd="0" presId="urn:microsoft.com/office/officeart/2005/8/layout/hierarchy3"/>
    <dgm:cxn modelId="{F1B38BB0-B890-481E-8167-F8788385C170}" type="presParOf" srcId="{2BEBC00D-C884-4685-8BFD-AB4ADF286CFA}" destId="{D8475DB2-409C-4AA8-9787-C10A86A43B4E}" srcOrd="1" destOrd="0" presId="urn:microsoft.com/office/officeart/2005/8/layout/hierarchy3"/>
    <dgm:cxn modelId="{F64766CF-67DD-4132-8D1D-AA50FE9A1697}" type="presParOf" srcId="{D8475DB2-409C-4AA8-9787-C10A86A43B4E}" destId="{C847A05E-92C7-4C85-BDD5-6F9BBCFF4212}" srcOrd="0" destOrd="0" presId="urn:microsoft.com/office/officeart/2005/8/layout/hierarchy3"/>
    <dgm:cxn modelId="{F4478AAF-6C35-46BC-BCC9-C4FDC7DDDEE1}" type="presParOf" srcId="{D8475DB2-409C-4AA8-9787-C10A86A43B4E}" destId="{EC666C35-BF2A-478C-99B0-683FDC03FB2C}" srcOrd="1" destOrd="0" presId="urn:microsoft.com/office/officeart/2005/8/layout/hierarchy3"/>
    <dgm:cxn modelId="{3332E13F-2B63-4420-B9DC-44D2D6A6B767}" type="presParOf" srcId="{8BE80613-7CFB-43D9-8C73-A037A765FF43}" destId="{F01EFA6A-4ED5-4372-B3E9-9F7003442A3E}" srcOrd="1" destOrd="0" presId="urn:microsoft.com/office/officeart/2005/8/layout/hierarchy3"/>
    <dgm:cxn modelId="{7CD46219-5E00-43C2-8CBE-C664F41C096C}" type="presParOf" srcId="{F01EFA6A-4ED5-4372-B3E9-9F7003442A3E}" destId="{2F9D41AD-BC3E-4C28-9C70-B9643B851A08}" srcOrd="0" destOrd="0" presId="urn:microsoft.com/office/officeart/2005/8/layout/hierarchy3"/>
    <dgm:cxn modelId="{84784512-8A16-4D5A-8914-B09C1D26137F}" type="presParOf" srcId="{2F9D41AD-BC3E-4C28-9C70-B9643B851A08}" destId="{52EC2118-BCED-426A-9A44-CDC2B67A03B2}" srcOrd="0" destOrd="0" presId="urn:microsoft.com/office/officeart/2005/8/layout/hierarchy3"/>
    <dgm:cxn modelId="{B12A2586-8327-48DA-984E-0F1D27E73948}" type="presParOf" srcId="{2F9D41AD-BC3E-4C28-9C70-B9643B851A08}" destId="{286985B1-D1D2-4104-88B8-784B3757E6B9}" srcOrd="1" destOrd="0" presId="urn:microsoft.com/office/officeart/2005/8/layout/hierarchy3"/>
    <dgm:cxn modelId="{953FA202-5ECD-433D-8850-594196D5AD09}" type="presParOf" srcId="{F01EFA6A-4ED5-4372-B3E9-9F7003442A3E}" destId="{8283C472-AA2B-4919-8750-9D49B1B371A5}" srcOrd="1" destOrd="0" presId="urn:microsoft.com/office/officeart/2005/8/layout/hierarchy3"/>
    <dgm:cxn modelId="{410987FA-5866-4D25-BAD0-D5EE905C4A74}" type="presParOf" srcId="{8283C472-AA2B-4919-8750-9D49B1B371A5}" destId="{442EF70D-AABC-4C10-9240-092C9CC604C7}" srcOrd="0" destOrd="0" presId="urn:microsoft.com/office/officeart/2005/8/layout/hierarchy3"/>
    <dgm:cxn modelId="{9D460D1D-DF5C-4CB8-8099-FBC3E14702CD}" type="presParOf" srcId="{8283C472-AA2B-4919-8750-9D49B1B371A5}" destId="{499EF772-E112-4509-B818-41CE2B77776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3963DD-1F83-4286-BDCD-9058C7493EBB}">
      <dsp:nvSpPr>
        <dsp:cNvPr id="0" name=""/>
        <dsp:cNvSpPr/>
      </dsp:nvSpPr>
      <dsp:spPr>
        <a:xfrm rot="4396374">
          <a:off x="1054175" y="900631"/>
          <a:ext cx="3907079" cy="2724700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2D2883-A378-4E88-844F-215B8F603978}">
      <dsp:nvSpPr>
        <dsp:cNvPr id="0" name=""/>
        <dsp:cNvSpPr/>
      </dsp:nvSpPr>
      <dsp:spPr>
        <a:xfrm>
          <a:off x="2517779" y="1256407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165224-5150-4BB8-9BBB-10D653AF69D6}">
      <dsp:nvSpPr>
        <dsp:cNvPr id="0" name=""/>
        <dsp:cNvSpPr/>
      </dsp:nvSpPr>
      <dsp:spPr>
        <a:xfrm>
          <a:off x="3193370" y="1801333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F229A4-1A53-4EA6-B67C-92F9824F9A1A}">
      <dsp:nvSpPr>
        <dsp:cNvPr id="0" name=""/>
        <dsp:cNvSpPr/>
      </dsp:nvSpPr>
      <dsp:spPr>
        <a:xfrm>
          <a:off x="3699689" y="2438588"/>
          <a:ext cx="98665" cy="98665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949F53-850A-43DE-9F03-07E22429256F}">
      <dsp:nvSpPr>
        <dsp:cNvPr id="0" name=""/>
        <dsp:cNvSpPr/>
      </dsp:nvSpPr>
      <dsp:spPr>
        <a:xfrm>
          <a:off x="792256" y="0"/>
          <a:ext cx="1842066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Umfeld</a:t>
          </a:r>
          <a:endParaRPr lang="de-DE" sz="2700" kern="1200" dirty="0"/>
        </a:p>
      </dsp:txBody>
      <dsp:txXfrm>
        <a:off x="792256" y="0"/>
        <a:ext cx="1842066" cy="724154"/>
      </dsp:txXfrm>
    </dsp:sp>
    <dsp:sp modelId="{55416446-7A70-4FD0-A9D1-7BEFD61F0CF5}">
      <dsp:nvSpPr>
        <dsp:cNvPr id="0" name=""/>
        <dsp:cNvSpPr/>
      </dsp:nvSpPr>
      <dsp:spPr>
        <a:xfrm>
          <a:off x="3082393" y="943663"/>
          <a:ext cx="2688422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Anforderungen</a:t>
          </a:r>
          <a:endParaRPr lang="de-DE" sz="2700" kern="1200" dirty="0"/>
        </a:p>
      </dsp:txBody>
      <dsp:txXfrm>
        <a:off x="3082393" y="943663"/>
        <a:ext cx="2688422" cy="724154"/>
      </dsp:txXfrm>
    </dsp:sp>
    <dsp:sp modelId="{221CCDFC-B375-4F1B-9BF2-8E59CA31AA80}">
      <dsp:nvSpPr>
        <dsp:cNvPr id="0" name=""/>
        <dsp:cNvSpPr/>
      </dsp:nvSpPr>
      <dsp:spPr>
        <a:xfrm>
          <a:off x="792256" y="1488589"/>
          <a:ext cx="2140780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Konzept</a:t>
          </a:r>
          <a:endParaRPr lang="de-DE" sz="2700" kern="1200" dirty="0"/>
        </a:p>
      </dsp:txBody>
      <dsp:txXfrm>
        <a:off x="792256" y="1488589"/>
        <a:ext cx="2140780" cy="724154"/>
      </dsp:txXfrm>
    </dsp:sp>
    <dsp:sp modelId="{9DC9B255-84EE-4513-9F8A-A038FBACD530}">
      <dsp:nvSpPr>
        <dsp:cNvPr id="0" name=""/>
        <dsp:cNvSpPr/>
      </dsp:nvSpPr>
      <dsp:spPr>
        <a:xfrm>
          <a:off x="4127891" y="2125844"/>
          <a:ext cx="1642924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Umsetzung</a:t>
          </a:r>
          <a:endParaRPr lang="de-DE" sz="2700" kern="1200" dirty="0"/>
        </a:p>
      </dsp:txBody>
      <dsp:txXfrm>
        <a:off x="4127891" y="2125844"/>
        <a:ext cx="1642924" cy="724154"/>
      </dsp:txXfrm>
    </dsp:sp>
    <dsp:sp modelId="{F907F0BC-79CC-428F-8460-ACDB764EDA70}">
      <dsp:nvSpPr>
        <dsp:cNvPr id="0" name=""/>
        <dsp:cNvSpPr/>
      </dsp:nvSpPr>
      <dsp:spPr>
        <a:xfrm>
          <a:off x="3281536" y="3801808"/>
          <a:ext cx="2489279" cy="724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kern="1200" dirty="0" smtClean="0"/>
            <a:t>Fazit</a:t>
          </a:r>
          <a:endParaRPr lang="de-DE" sz="2700" kern="1200" dirty="0"/>
        </a:p>
      </dsp:txBody>
      <dsp:txXfrm>
        <a:off x="3281536" y="3801808"/>
        <a:ext cx="2489279" cy="7241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1668A-E76A-4075-B8A0-3B4D514F8F01}">
      <dsp:nvSpPr>
        <dsp:cNvPr id="0" name=""/>
        <dsp:cNvSpPr/>
      </dsp:nvSpPr>
      <dsp:spPr>
        <a:xfrm>
          <a:off x="0" y="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1. Definition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nforderungen analysieren</a:t>
          </a:r>
          <a:endParaRPr lang="en-US" sz="1200" kern="1200"/>
        </a:p>
      </dsp:txBody>
      <dsp:txXfrm>
        <a:off x="26187" y="26187"/>
        <a:ext cx="2070413" cy="841706"/>
      </dsp:txXfrm>
    </dsp:sp>
    <dsp:sp modelId="{11E51E77-74BB-4225-B02D-FA34B0DB599A}">
      <dsp:nvSpPr>
        <dsp:cNvPr id="0" name=""/>
        <dsp:cNvSpPr/>
      </dsp:nvSpPr>
      <dsp:spPr>
        <a:xfrm>
          <a:off x="260524" y="105664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2. Plan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Zeit- und Ressourcenplan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Diagrammerstellung</a:t>
          </a:r>
          <a:endParaRPr lang="en-US" sz="1200" kern="1200"/>
        </a:p>
      </dsp:txBody>
      <dsp:txXfrm>
        <a:off x="286711" y="1082827"/>
        <a:ext cx="2216694" cy="841706"/>
      </dsp:txXfrm>
    </dsp:sp>
    <dsp:sp modelId="{E7847977-B279-440C-8A15-FD769686EBD7}">
      <dsp:nvSpPr>
        <dsp:cNvPr id="0" name=""/>
        <dsp:cNvSpPr/>
      </dsp:nvSpPr>
      <dsp:spPr>
        <a:xfrm>
          <a:off x="517161" y="2113280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3. Realisierung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Codeimplementi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Präsentation bei Auftraggeber</a:t>
          </a:r>
          <a:endParaRPr lang="en-US" sz="1200" kern="1200"/>
        </a:p>
      </dsp:txBody>
      <dsp:txXfrm>
        <a:off x="543348" y="2139467"/>
        <a:ext cx="2220583" cy="841706"/>
      </dsp:txXfrm>
    </dsp:sp>
    <dsp:sp modelId="{3FDA1DD6-3665-4E60-93FC-8A3EAA5FB94E}">
      <dsp:nvSpPr>
        <dsp:cNvPr id="0" name=""/>
        <dsp:cNvSpPr/>
      </dsp:nvSpPr>
      <dsp:spPr>
        <a:xfrm>
          <a:off x="777686" y="3169919"/>
          <a:ext cx="3110745" cy="8940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smtClean="0"/>
            <a:t>4. Abschlussphase</a:t>
          </a:r>
          <a:endParaRPr lang="en-US" sz="16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Qualitätssicheru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smtClean="0"/>
            <a:t>Auslieferung</a:t>
          </a:r>
          <a:endParaRPr lang="en-US" sz="1200" kern="1200"/>
        </a:p>
      </dsp:txBody>
      <dsp:txXfrm>
        <a:off x="803873" y="3196106"/>
        <a:ext cx="2216694" cy="841706"/>
      </dsp:txXfrm>
    </dsp:sp>
    <dsp:sp modelId="{BC53F87A-0995-4EBA-AB30-D1696D0DCCA4}">
      <dsp:nvSpPr>
        <dsp:cNvPr id="0" name=""/>
        <dsp:cNvSpPr/>
      </dsp:nvSpPr>
      <dsp:spPr>
        <a:xfrm>
          <a:off x="2529593" y="68478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660352" y="684783"/>
        <a:ext cx="319634" cy="437317"/>
      </dsp:txXfrm>
    </dsp:sp>
    <dsp:sp modelId="{BA77E463-0618-46C2-B8B4-8A8964302308}">
      <dsp:nvSpPr>
        <dsp:cNvPr id="0" name=""/>
        <dsp:cNvSpPr/>
      </dsp:nvSpPr>
      <dsp:spPr>
        <a:xfrm>
          <a:off x="2790118" y="1741423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2920877" y="1741423"/>
        <a:ext cx="319634" cy="437317"/>
      </dsp:txXfrm>
    </dsp:sp>
    <dsp:sp modelId="{8275FF6C-7A58-43D3-A14D-625B9B5EA4D2}">
      <dsp:nvSpPr>
        <dsp:cNvPr id="0" name=""/>
        <dsp:cNvSpPr/>
      </dsp:nvSpPr>
      <dsp:spPr>
        <a:xfrm>
          <a:off x="3046755" y="2798064"/>
          <a:ext cx="581152" cy="581152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600" kern="1200"/>
        </a:p>
      </dsp:txBody>
      <dsp:txXfrm>
        <a:off x="3177514" y="2798064"/>
        <a:ext cx="319634" cy="43731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2CFA29-7A69-438C-8685-825FAC8E297A}">
      <dsp:nvSpPr>
        <dsp:cNvPr id="0" name=""/>
        <dsp:cNvSpPr/>
      </dsp:nvSpPr>
      <dsp:spPr>
        <a:xfrm>
          <a:off x="1052882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Manuell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1071105" y="19291"/>
        <a:ext cx="2452330" cy="585748"/>
      </dsp:txXfrm>
    </dsp:sp>
    <dsp:sp modelId="{58B017DD-9A7C-4E5D-991A-2BE63C5F158B}">
      <dsp:nvSpPr>
        <dsp:cNvPr id="0" name=""/>
        <dsp:cNvSpPr/>
      </dsp:nvSpPr>
      <dsp:spPr>
        <a:xfrm rot="5400000">
          <a:off x="2242828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D4C467-579D-4094-9F4D-D0FAFA6BE16F}">
      <dsp:nvSpPr>
        <dsp:cNvPr id="0" name=""/>
        <dsp:cNvSpPr/>
      </dsp:nvSpPr>
      <dsp:spPr>
        <a:xfrm>
          <a:off x="1052882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40 </a:t>
          </a:r>
          <a:r>
            <a:rPr lang="en-US" sz="1800" kern="1200" dirty="0" err="1" smtClean="0"/>
            <a:t>Stunden</a:t>
          </a:r>
          <a:endParaRPr lang="en-US" sz="1800" kern="1200" dirty="0"/>
        </a:p>
      </dsp:txBody>
      <dsp:txXfrm>
        <a:off x="1071105" y="859253"/>
        <a:ext cx="2452330" cy="585748"/>
      </dsp:txXfrm>
    </dsp:sp>
    <dsp:sp modelId="{199B7596-9067-4A39-86F1-50A5F3E4ED7E}">
      <dsp:nvSpPr>
        <dsp:cNvPr id="0" name=""/>
        <dsp:cNvSpPr/>
      </dsp:nvSpPr>
      <dsp:spPr>
        <a:xfrm rot="5400000">
          <a:off x="2242828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16DB50-8145-4E2E-815D-5FE98F599A43}">
      <dsp:nvSpPr>
        <dsp:cNvPr id="0" name=""/>
        <dsp:cNvSpPr/>
      </dsp:nvSpPr>
      <dsp:spPr>
        <a:xfrm>
          <a:off x="1052882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€ / h</a:t>
          </a:r>
          <a:endParaRPr lang="en-US" sz="1800" kern="1200" dirty="0"/>
        </a:p>
      </dsp:txBody>
      <dsp:txXfrm>
        <a:off x="1071105" y="1699216"/>
        <a:ext cx="2452330" cy="585748"/>
      </dsp:txXfrm>
    </dsp:sp>
    <dsp:sp modelId="{7FDD7117-C36D-481C-AC56-F1273D646015}">
      <dsp:nvSpPr>
        <dsp:cNvPr id="0" name=""/>
        <dsp:cNvSpPr/>
      </dsp:nvSpPr>
      <dsp:spPr>
        <a:xfrm>
          <a:off x="3890087" y="1068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Automatisierte</a:t>
          </a:r>
          <a:r>
            <a:rPr lang="en-US" sz="1800" kern="1200" dirty="0" smtClean="0"/>
            <a:t> </a:t>
          </a:r>
          <a:r>
            <a:rPr lang="en-US" sz="1800" kern="1200" dirty="0" err="1" smtClean="0"/>
            <a:t>Analyse</a:t>
          </a:r>
          <a:endParaRPr lang="en-US" sz="1800" kern="1200" dirty="0"/>
        </a:p>
      </dsp:txBody>
      <dsp:txXfrm>
        <a:off x="3908310" y="19291"/>
        <a:ext cx="2452330" cy="585748"/>
      </dsp:txXfrm>
    </dsp:sp>
    <dsp:sp modelId="{70B9570F-D9FD-421F-BB0D-9C0AC4011A06}">
      <dsp:nvSpPr>
        <dsp:cNvPr id="0" name=""/>
        <dsp:cNvSpPr/>
      </dsp:nvSpPr>
      <dsp:spPr>
        <a:xfrm rot="5400000">
          <a:off x="5080033" y="677704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317885-E90A-46BA-BD9B-72186ABF236C}">
      <dsp:nvSpPr>
        <dsp:cNvPr id="0" name=""/>
        <dsp:cNvSpPr/>
      </dsp:nvSpPr>
      <dsp:spPr>
        <a:xfrm>
          <a:off x="3890087" y="841030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1 </a:t>
          </a:r>
          <a:r>
            <a:rPr lang="en-US" sz="1800" kern="1200" dirty="0" err="1" smtClean="0"/>
            <a:t>Stunde</a:t>
          </a:r>
          <a:endParaRPr lang="en-US" sz="1800" kern="1200" dirty="0"/>
        </a:p>
      </dsp:txBody>
      <dsp:txXfrm>
        <a:off x="3908310" y="859253"/>
        <a:ext cx="2452330" cy="585748"/>
      </dsp:txXfrm>
    </dsp:sp>
    <dsp:sp modelId="{B74E7E00-B40F-4C32-9ACC-055F58895649}">
      <dsp:nvSpPr>
        <dsp:cNvPr id="0" name=""/>
        <dsp:cNvSpPr/>
      </dsp:nvSpPr>
      <dsp:spPr>
        <a:xfrm rot="5400000">
          <a:off x="5080033" y="1517667"/>
          <a:ext cx="108883" cy="108883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4DFB86-B487-4F06-9FBC-5D308E914171}">
      <dsp:nvSpPr>
        <dsp:cNvPr id="0" name=""/>
        <dsp:cNvSpPr/>
      </dsp:nvSpPr>
      <dsp:spPr>
        <a:xfrm>
          <a:off x="3890087" y="1680993"/>
          <a:ext cx="2488776" cy="62219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5€ / h</a:t>
          </a:r>
          <a:endParaRPr lang="en-US" sz="1800" kern="1200" dirty="0"/>
        </a:p>
      </dsp:txBody>
      <dsp:txXfrm>
        <a:off x="3908310" y="1699216"/>
        <a:ext cx="2452330" cy="5857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60C51-60D5-4123-8743-3E727AB71549}">
      <dsp:nvSpPr>
        <dsp:cNvPr id="0" name=""/>
        <dsp:cNvSpPr/>
      </dsp:nvSpPr>
      <dsp:spPr>
        <a:xfrm>
          <a:off x="744" y="979993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Zeitersparnis</a:t>
          </a:r>
          <a:endParaRPr lang="en-US" sz="2000" kern="1200" dirty="0"/>
        </a:p>
      </dsp:txBody>
      <dsp:txXfrm>
        <a:off x="16583" y="995832"/>
        <a:ext cx="2676993" cy="509121"/>
      </dsp:txXfrm>
    </dsp:sp>
    <dsp:sp modelId="{C847A05E-92C7-4C85-BDD5-6F9BBCFF4212}">
      <dsp:nvSpPr>
        <dsp:cNvPr id="0" name=""/>
        <dsp:cNvSpPr/>
      </dsp:nvSpPr>
      <dsp:spPr>
        <a:xfrm>
          <a:off x="271611" y="1520793"/>
          <a:ext cx="270867" cy="6909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0982"/>
              </a:lnTo>
              <a:lnTo>
                <a:pt x="270867" y="6909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666C35-BF2A-478C-99B0-683FDC03FB2C}">
      <dsp:nvSpPr>
        <dsp:cNvPr id="0" name=""/>
        <dsp:cNvSpPr/>
      </dsp:nvSpPr>
      <dsp:spPr>
        <a:xfrm>
          <a:off x="542478" y="1859377"/>
          <a:ext cx="2166937" cy="7047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87313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Reduktion manueller Schritte für</a:t>
          </a:r>
          <a:endParaRPr lang="en-US" sz="1050" kern="1200" dirty="0"/>
        </a:p>
        <a:p>
          <a:pPr marL="87313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smtClean="0"/>
            <a:t> </a:t>
          </a:r>
          <a:r>
            <a:rPr lang="en-US" sz="1050" kern="1200" dirty="0" err="1" smtClean="0"/>
            <a:t>Analyse</a:t>
          </a:r>
          <a:endParaRPr lang="en-US" sz="1050" kern="1200" dirty="0"/>
        </a:p>
        <a:p>
          <a:pPr marL="87313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smtClean="0"/>
            <a:t> </a:t>
          </a:r>
          <a:r>
            <a:rPr lang="en-US" sz="1050" kern="1200" smtClean="0"/>
            <a:t>Erstellung </a:t>
          </a:r>
          <a:r>
            <a:rPr lang="en-US" sz="1050" kern="1200" dirty="0" smtClean="0"/>
            <a:t>der </a:t>
          </a:r>
          <a:r>
            <a:rPr lang="en-US" sz="1050" kern="1200" dirty="0" err="1" smtClean="0"/>
            <a:t>Berichte</a:t>
          </a:r>
          <a:endParaRPr lang="en-US" sz="1050" kern="1200" dirty="0"/>
        </a:p>
      </dsp:txBody>
      <dsp:txXfrm>
        <a:off x="563121" y="1880020"/>
        <a:ext cx="2125651" cy="663510"/>
      </dsp:txXfrm>
    </dsp:sp>
    <dsp:sp modelId="{52EC2118-BCED-426A-9A44-CDC2B67A03B2}">
      <dsp:nvSpPr>
        <dsp:cNvPr id="0" name=""/>
        <dsp:cNvSpPr/>
      </dsp:nvSpPr>
      <dsp:spPr>
        <a:xfrm>
          <a:off x="3386583" y="979993"/>
          <a:ext cx="2708671" cy="540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Steigerung</a:t>
          </a:r>
          <a:r>
            <a:rPr lang="en-US" sz="2000" kern="1200" dirty="0" smtClean="0"/>
            <a:t> der </a:t>
          </a:r>
          <a:r>
            <a:rPr lang="en-US" sz="2000" kern="1200" dirty="0" err="1" smtClean="0"/>
            <a:t>Qualität</a:t>
          </a:r>
          <a:endParaRPr lang="en-US" sz="2000" kern="1200" dirty="0"/>
        </a:p>
      </dsp:txBody>
      <dsp:txXfrm>
        <a:off x="3402422" y="995832"/>
        <a:ext cx="2676993" cy="509121"/>
      </dsp:txXfrm>
    </dsp:sp>
    <dsp:sp modelId="{442EF70D-AABC-4C10-9240-092C9CC604C7}">
      <dsp:nvSpPr>
        <dsp:cNvPr id="0" name=""/>
        <dsp:cNvSpPr/>
      </dsp:nvSpPr>
      <dsp:spPr>
        <a:xfrm>
          <a:off x="3657451" y="1520793"/>
          <a:ext cx="270867" cy="6909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0982"/>
              </a:lnTo>
              <a:lnTo>
                <a:pt x="270867" y="6909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9EF772-E112-4509-B818-41CE2B77776E}">
      <dsp:nvSpPr>
        <dsp:cNvPr id="0" name=""/>
        <dsp:cNvSpPr/>
      </dsp:nvSpPr>
      <dsp:spPr>
        <a:xfrm>
          <a:off x="3928318" y="1859377"/>
          <a:ext cx="2166937" cy="7047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87313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err="1" smtClean="0"/>
            <a:t>Daten</a:t>
          </a:r>
          <a:r>
            <a:rPr lang="en-US" sz="1050" kern="1200" dirty="0" smtClean="0"/>
            <a:t> </a:t>
          </a:r>
          <a:r>
            <a:rPr lang="en-US" sz="1050" kern="1200" dirty="0" err="1" smtClean="0"/>
            <a:t>werden</a:t>
          </a:r>
          <a:r>
            <a:rPr lang="en-US" sz="1050" kern="1200" dirty="0" smtClean="0"/>
            <a:t> </a:t>
          </a:r>
          <a:r>
            <a:rPr lang="en-US" sz="1050" kern="1200" dirty="0" err="1" smtClean="0"/>
            <a:t>automatisiert</a:t>
          </a:r>
          <a:r>
            <a:rPr lang="en-US" sz="1050" kern="1200" dirty="0" smtClean="0"/>
            <a:t> </a:t>
          </a:r>
          <a:r>
            <a:rPr lang="en-US" sz="1050" kern="1200" dirty="0" err="1" smtClean="0"/>
            <a:t>verarbeitet</a:t>
          </a:r>
          <a:endParaRPr lang="en-US" sz="1050" kern="1200" dirty="0"/>
        </a:p>
      </dsp:txBody>
      <dsp:txXfrm>
        <a:off x="3948961" y="1880020"/>
        <a:ext cx="2125651" cy="663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88F88-D98A-44C2-B841-AD104A997B43}" type="datetimeFigureOut">
              <a:rPr lang="en-US" smtClean="0"/>
              <a:t>12/13/201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84D3-7F2B-4A40-A6C1-D89EE236823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216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bei</a:t>
            </a:r>
            <a:r>
              <a:rPr lang="de-DE" baseline="0" dirty="0" smtClean="0"/>
              <a:t> werde </a:t>
            </a:r>
            <a:r>
              <a:rPr lang="de-DE" baseline="0" smtClean="0"/>
              <a:t>ich </a:t>
            </a:r>
            <a:r>
              <a:rPr lang="de-DE" baseline="0" smtClean="0"/>
              <a:t>das </a:t>
            </a:r>
            <a:r>
              <a:rPr lang="de-DE" baseline="0" dirty="0" smtClean="0"/>
              <a:t>Unternehmen </a:t>
            </a:r>
            <a:r>
              <a:rPr lang="de-DE" baseline="0" smtClean="0"/>
              <a:t>und </a:t>
            </a:r>
            <a:r>
              <a:rPr lang="de-DE" baseline="0" smtClean="0"/>
              <a:t>meine vorstellen</a:t>
            </a:r>
            <a:r>
              <a:rPr lang="de-DE" baseline="0" dirty="0" smtClean="0"/>
              <a:t>,</a:t>
            </a:r>
            <a:endParaRPr lang="de-DE" baseline="0" dirty="0" smtClean="0"/>
          </a:p>
          <a:p>
            <a:r>
              <a:rPr lang="de-DE" baseline="0" smtClean="0"/>
              <a:t>Und von den Spezifikationen über die Realisierung des Projekts schließlich zu einem Fazi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584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Wie sie sich vorstellen können, sind solche handschriftlichen Aufzeichnungen sehr ungenau.</a:t>
            </a:r>
          </a:p>
          <a:p>
            <a:r>
              <a:rPr lang="en-US" smtClean="0"/>
              <a:t>Man muss sich mal vorstellen:</a:t>
            </a:r>
            <a:r>
              <a:rPr lang="en-US" baseline="0" smtClean="0"/>
              <a:t> diese Zeichnungen gehen so wie sie hier sind an das Werk zur Produktion.</a:t>
            </a:r>
            <a:endParaRPr lang="en-US" smtClean="0"/>
          </a:p>
          <a:p>
            <a:r>
              <a:rPr lang="en-US" smtClean="0"/>
              <a:t>Es</a:t>
            </a:r>
            <a:r>
              <a:rPr lang="en-US" baseline="0" smtClean="0"/>
              <a:t> kommt zu vielen Fehlern, wenn etwas nicht genau entziffert werden kann.</a:t>
            </a:r>
          </a:p>
          <a:p>
            <a:r>
              <a:rPr lang="en-US" baseline="0" smtClean="0"/>
              <a:t>Außerdem sind die Informationen nicht digital vorhanden und müssen per Hand wieder in Systeme eingetragen werd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57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Geplant ist die Entwicklung einer Applikation, dem sog. Sub Assembly Analyser.</a:t>
            </a:r>
          </a:p>
          <a:p>
            <a:r>
              <a:rPr lang="de-DE" baseline="0" smtClean="0"/>
              <a:t>Dieser ergänzt automatisch fehlende Sub Assemblies und erstellt Grafiken und Berichte im Excel-Format.</a:t>
            </a:r>
          </a:p>
          <a:p>
            <a:r>
              <a:rPr lang="de-DE" baseline="0" smtClean="0"/>
              <a:t>Die ergänzten Daten können direkt exportiert und in DELight weiterverwendet werden.</a:t>
            </a:r>
          </a:p>
          <a:p>
            <a:r>
              <a:rPr lang="de-DE" baseline="0" smtClean="0"/>
              <a:t>In der zentralen Datenbank liegen die Informationen bereit, anhand denen die Anwendung die Sub Assemblies definiert und ergänzt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Neu</a:t>
            </a:r>
          </a:p>
          <a:p>
            <a:r>
              <a:rPr lang="en-US" smtClean="0"/>
              <a:t>Standardisiertes Excelformat</a:t>
            </a:r>
          </a:p>
          <a:p>
            <a:r>
              <a:rPr lang="en-US" smtClean="0"/>
              <a:t>In</a:t>
            </a:r>
            <a:r>
              <a:rPr lang="en-US" baseline="0" smtClean="0"/>
              <a:t> digitaler Form, Werte können also schnell in andere Systeme übernommen werden</a:t>
            </a:r>
          </a:p>
          <a:p>
            <a:r>
              <a:rPr lang="en-US" baseline="0" smtClean="0"/>
              <a:t>Keine Fehler durch falsche Werte bei Handschrif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04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 Durchführung des Projektes verlief in einem an</a:t>
            </a:r>
            <a:r>
              <a:rPr lang="de-DE" baseline="0" dirty="0" smtClean="0"/>
              <a:t> das Spiralmodell angelehntes 4 Phasen Modell</a:t>
            </a:r>
            <a:endParaRPr lang="de-DE" dirty="0" smtClean="0"/>
          </a:p>
          <a:p>
            <a:r>
              <a:rPr lang="de-DE" baseline="0" dirty="0" smtClean="0"/>
              <a:t>Projektdefinition</a:t>
            </a:r>
          </a:p>
          <a:p>
            <a:r>
              <a:rPr lang="de-DE" baseline="0" dirty="0" smtClean="0"/>
              <a:t>Projektplanung</a:t>
            </a:r>
          </a:p>
          <a:p>
            <a:r>
              <a:rPr lang="de-DE" baseline="0" dirty="0" smtClean="0"/>
              <a:t>Projektrealisierung</a:t>
            </a:r>
          </a:p>
          <a:p>
            <a:r>
              <a:rPr lang="de-DE" baseline="0" dirty="0" smtClean="0"/>
              <a:t>Projektabschluss</a:t>
            </a:r>
          </a:p>
          <a:p>
            <a:r>
              <a:rPr lang="de-DE" baseline="0" smtClean="0"/>
              <a:t>Anschließend habe ich jeder Phase Teilaufgaben zugeordnet und eine Zeitplanung vorgenommen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7592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ieser Teil des Klassendiagrammes zeigt die Klassen,</a:t>
            </a:r>
            <a:r>
              <a:rPr lang="de-DE" baseline="0" dirty="0" smtClean="0"/>
              <a:t> welche für die Analyse und Haltung der Daten benötigt werden.</a:t>
            </a:r>
          </a:p>
          <a:p>
            <a:r>
              <a:rPr lang="de-DE" baseline="0" dirty="0" smtClean="0"/>
              <a:t>Die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stellt bereits alle Klassen für die Abbildung der Leitungssatzdaten bereit.</a:t>
            </a:r>
          </a:p>
          <a:p>
            <a:r>
              <a:rPr lang="de-DE" baseline="0" dirty="0" smtClean="0"/>
              <a:t>Das </a:t>
            </a:r>
            <a:r>
              <a:rPr lang="de-DE" baseline="0" dirty="0" err="1" smtClean="0"/>
              <a:t>Harness</a:t>
            </a:r>
            <a:r>
              <a:rPr lang="de-DE" baseline="0" dirty="0" smtClean="0"/>
              <a:t> bezeichnet den gesamten Leitungssatz.</a:t>
            </a:r>
          </a:p>
          <a:p>
            <a:r>
              <a:rPr lang="de-DE" baseline="0" dirty="0" smtClean="0"/>
              <a:t>Mit </a:t>
            </a:r>
            <a:r>
              <a:rPr lang="de-DE" baseline="0" dirty="0" err="1" smtClean="0"/>
              <a:t>ElectricalPart</a:t>
            </a:r>
            <a:r>
              <a:rPr lang="de-DE" baseline="0" dirty="0" smtClean="0"/>
              <a:t> werden unter anderem die Stecker dargestellt.</a:t>
            </a:r>
          </a:p>
          <a:p>
            <a:r>
              <a:rPr lang="de-DE" baseline="0" dirty="0" err="1" smtClean="0"/>
              <a:t>Wire</a:t>
            </a:r>
            <a:r>
              <a:rPr lang="de-DE" baseline="0" dirty="0" smtClean="0"/>
              <a:t> sind die Leitungen. Auf die beiden Stecker an den Enden wird in </a:t>
            </a:r>
            <a:r>
              <a:rPr lang="de-DE" baseline="0" dirty="0" err="1" smtClean="0"/>
              <a:t>FromItem</a:t>
            </a:r>
            <a:r>
              <a:rPr lang="de-DE" baseline="0" dirty="0" smtClean="0"/>
              <a:t> und </a:t>
            </a:r>
            <a:r>
              <a:rPr lang="de-DE" baseline="0" dirty="0" err="1" smtClean="0"/>
              <a:t>ToItem</a:t>
            </a:r>
            <a:r>
              <a:rPr lang="de-DE" baseline="0" dirty="0" smtClean="0"/>
              <a:t> referenziert.</a:t>
            </a:r>
          </a:p>
          <a:p>
            <a:r>
              <a:rPr lang="de-DE" baseline="0" dirty="0" smtClean="0"/>
              <a:t>Aufbauend auf der </a:t>
            </a:r>
            <a:r>
              <a:rPr lang="de-DE" baseline="0" dirty="0" err="1" smtClean="0"/>
              <a:t>Velocity</a:t>
            </a:r>
            <a:r>
              <a:rPr lang="de-DE" baseline="0" dirty="0" smtClean="0"/>
              <a:t> Library wurde die Sub Assembly </a:t>
            </a:r>
            <a:r>
              <a:rPr lang="de-DE" baseline="0" dirty="0" err="1" smtClean="0"/>
              <a:t>Analysation</a:t>
            </a:r>
            <a:r>
              <a:rPr lang="de-DE" baseline="0" dirty="0" smtClean="0"/>
              <a:t> Library erstell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</a:t>
            </a:r>
            <a:r>
              <a:rPr lang="de-DE" baseline="0" dirty="0" err="1" smtClean="0"/>
              <a:t>SubAssemblyIdentificationHandler</a:t>
            </a:r>
            <a:r>
              <a:rPr lang="de-DE" baseline="0" dirty="0" smtClean="0"/>
              <a:t> Klasse implementiert Methoden und Eigenschaften, welche für den Analyseprozess benötigt werd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arüberhinaus werden in zwei Listen die Sub Assemblies zwischengespeichert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InVXF</a:t>
            </a:r>
            <a:r>
              <a:rPr lang="de-DE" baseline="0" dirty="0" smtClean="0"/>
              <a:t> enthält nach dem Import einer VXF-Datei alle bereits vor der Analyse vorhandenen Baugruppen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Liste </a:t>
            </a:r>
            <a:r>
              <a:rPr lang="de-DE" baseline="0" dirty="0" err="1" smtClean="0"/>
              <a:t>SubAssembliesNotInVXF</a:t>
            </a:r>
            <a:r>
              <a:rPr lang="de-DE" baseline="0" dirty="0" smtClean="0"/>
              <a:t> enthält nach der Analyse die durch die Anwendung erstellten Sub Assembli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Die sogenannten Referenzdaten aus der Datenbank werden in der Klasse </a:t>
            </a:r>
            <a:r>
              <a:rPr lang="de-DE" baseline="0" dirty="0" err="1" smtClean="0"/>
              <a:t>ReferenceData</a:t>
            </a:r>
            <a:r>
              <a:rPr lang="de-DE" baseline="0" dirty="0" smtClean="0"/>
              <a:t> in der Liste </a:t>
            </a:r>
            <a:r>
              <a:rPr lang="de-DE" baseline="0" dirty="0" err="1" smtClean="0"/>
              <a:t>ReferenceItems</a:t>
            </a:r>
            <a:r>
              <a:rPr lang="de-DE" baseline="0" dirty="0" smtClean="0"/>
              <a:t> gehalten.</a:t>
            </a:r>
          </a:p>
          <a:p>
            <a:endParaRPr lang="de-DE" baseline="0" dirty="0" smtClean="0"/>
          </a:p>
          <a:p>
            <a:r>
              <a:rPr lang="de-DE" baseline="0" dirty="0" smtClean="0"/>
              <a:t>Als nächstes möchte ich auf die Benutzeroberfläche des Programms eingeh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40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Überblick</a:t>
            </a:r>
          </a:p>
          <a:p>
            <a:r>
              <a:rPr lang="de-DE" smtClean="0"/>
              <a:t>Hier wurde bereits eine Datei eingeladen</a:t>
            </a:r>
            <a:r>
              <a:rPr lang="de-DE" baseline="0" smtClean="0"/>
              <a:t> und analysiert</a:t>
            </a:r>
          </a:p>
          <a:p>
            <a:r>
              <a:rPr lang="de-DE" baseline="0" smtClean="0"/>
              <a:t>In 3 Bereiche aufgeteilt: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Menüleiste links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Hauptansicht in der Mitte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LogView unten für Fehler- und Informationsmeldung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2576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Hauptansicht ist ebenfalls in </a:t>
            </a:r>
            <a:r>
              <a:rPr lang="de-DE" b="1" smtClean="0"/>
              <a:t>3 Bereiche </a:t>
            </a:r>
            <a:r>
              <a:rPr lang="de-DE" smtClean="0"/>
              <a:t>unterteilt:</a:t>
            </a:r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die bereits vom Kunden definiert sind, auch</a:t>
            </a:r>
            <a:r>
              <a:rPr lang="de-DE" baseline="0" smtClean="0"/>
              <a:t> </a:t>
            </a:r>
            <a:r>
              <a:rPr lang="de-DE" b="1" baseline="0" smtClean="0"/>
              <a:t>Exportbereich</a:t>
            </a:r>
            <a:r>
              <a:rPr lang="de-DE" baseline="0" smtClean="0"/>
              <a:t> genannt</a:t>
            </a:r>
            <a:endParaRPr lang="de-DE" smtClean="0"/>
          </a:p>
          <a:p>
            <a:pPr marL="171450" indent="-171450">
              <a:buFontTx/>
              <a:buChar char="-"/>
            </a:pPr>
            <a:r>
              <a:rPr lang="de-DE" smtClean="0"/>
              <a:t>Eine Liste mit Sub Assemblies, welche</a:t>
            </a:r>
            <a:r>
              <a:rPr lang="de-DE" baseline="0" smtClean="0"/>
              <a:t> die Anwendung analysiert und ergänzt hat, auch </a:t>
            </a:r>
            <a:r>
              <a:rPr lang="de-DE" b="1" baseline="0" smtClean="0"/>
              <a:t>Überprüfungsbereich</a:t>
            </a:r>
            <a:r>
              <a:rPr lang="de-DE" baseline="0" smtClean="0"/>
              <a:t> genannt</a:t>
            </a:r>
          </a:p>
          <a:p>
            <a:pPr marL="171450" indent="-171450">
              <a:buFontTx/>
              <a:buChar char="-"/>
            </a:pPr>
            <a:r>
              <a:rPr lang="de-DE" baseline="0" smtClean="0"/>
              <a:t>Und eine </a:t>
            </a:r>
            <a:r>
              <a:rPr lang="de-DE" b="1" baseline="0" smtClean="0"/>
              <a:t>Detailansicht</a:t>
            </a:r>
            <a:r>
              <a:rPr lang="de-DE" baseline="0" smtClean="0"/>
              <a:t> auf der rechten Seite für mehr Informationen zu den ausgewählten Sub Assemblies</a:t>
            </a:r>
          </a:p>
          <a:p>
            <a:pPr marL="171450" indent="-171450">
              <a:buFontTx/>
              <a:buChar char="-"/>
            </a:pPr>
            <a:endParaRPr lang="de-DE" baseline="0" smtClean="0"/>
          </a:p>
          <a:p>
            <a:pPr marL="0" indent="0">
              <a:buFontTx/>
              <a:buNone/>
            </a:pPr>
            <a:r>
              <a:rPr lang="de-DE" baseline="0" smtClean="0"/>
              <a:t>Der Benutzer prüft nach der Analyse die vom Programm gefundenen Sub Assemblies mithilfe der Detailansicht und</a:t>
            </a:r>
          </a:p>
          <a:p>
            <a:pPr marL="0" indent="0">
              <a:buFontTx/>
              <a:buNone/>
            </a:pPr>
            <a:r>
              <a:rPr lang="de-DE" baseline="0" smtClean="0"/>
              <a:t>Verschiebt die korrekten Baugruppen über die Pfeil-nach-oben-Schaltfläche in den Exportbereicht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629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Die Referenzdaten, die in der Datenbank</a:t>
            </a:r>
            <a:r>
              <a:rPr lang="de-DE" baseline="0" smtClean="0"/>
              <a:t> gespeichert werden, können in den Einstellungen mit Hilfe des Editor bearbeitet we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aseline="0" dirty="0" smtClean="0"/>
              <a:t>Delphi Automotive ist ein US-Amerikanisches Unternehmen, welches in der Automobilbranche tätig ist.</a:t>
            </a:r>
          </a:p>
          <a:p>
            <a:pPr algn="l"/>
            <a:r>
              <a:rPr lang="de-DE" baseline="0" dirty="0" smtClean="0"/>
              <a:t>Mit ca. 146.000 Mitarbeitern weltweit ist Delphi in 32 Ländern vertreten und konnte Kunden aus allen Bereichen der Automobilindustrie für sich gewinnen. </a:t>
            </a:r>
          </a:p>
          <a:p>
            <a:pPr algn="l"/>
            <a:r>
              <a:rPr lang="de-DE" baseline="0" dirty="0" smtClean="0"/>
              <a:t>Darunter sind auch alle namhaften OEMs, wie z.B. Daimler oder VW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1931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1970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445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 Deutschland</a:t>
            </a:r>
            <a:r>
              <a:rPr lang="de-DE" baseline="0" dirty="0" smtClean="0"/>
              <a:t> wird das Unternehmen durch die Delphi Deutschland GmbH vertreten.</a:t>
            </a:r>
          </a:p>
          <a:p>
            <a:r>
              <a:rPr lang="de-DE" baseline="0" dirty="0" smtClean="0"/>
              <a:t>Dabei ist der Hauptsitz des </a:t>
            </a:r>
            <a:r>
              <a:rPr lang="de-DE" baseline="0" smtClean="0"/>
              <a:t>Unternehmens das </a:t>
            </a:r>
            <a:r>
              <a:rPr lang="de-DE" baseline="0" dirty="0" smtClean="0"/>
              <a:t>so genannte Customer Technology Center hier in Wuppertal an dem ca. 750 Mitarbeiter beschäftigt sind.</a:t>
            </a: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151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Delphi ist in drei sogenannte Divisionen unterteilt:</a:t>
            </a:r>
          </a:p>
          <a:p>
            <a:r>
              <a:rPr lang="en-US" smtClean="0"/>
              <a:t>E/EA: Leitungssätze,</a:t>
            </a:r>
            <a:r>
              <a:rPr lang="en-US" baseline="0" smtClean="0"/>
              <a:t> Spannungsversorgung der Komponenten im Auto</a:t>
            </a:r>
          </a:p>
          <a:p>
            <a:r>
              <a:rPr lang="en-US" baseline="0" smtClean="0"/>
              <a:t>Powertrain: Antriebsstrang, Elektromotoren, Getriebe, etc.</a:t>
            </a:r>
          </a:p>
          <a:p>
            <a:r>
              <a:rPr lang="en-US" baseline="0" smtClean="0"/>
              <a:t>Safety: Assistenzsysteme, Spurhalteassistent bis zu selbstfahrenden/autonomen Systemen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091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Ich</a:t>
            </a:r>
            <a:r>
              <a:rPr lang="en-US" baseline="0" smtClean="0"/>
              <a:t> arbeite in der Division “Elektrische/Elektronische Architektur”….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D84D3-7F2B-4A40-A6C1-D89EE23682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1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….und dort in der Abteilung „Engineering IT“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Bei der Leitungssatzentwicklung kommen sogenannte Sub Assemblies zum Einsatz.</a:t>
            </a:r>
          </a:p>
          <a:p>
            <a:r>
              <a:rPr lang="de-DE" baseline="0" smtClean="0"/>
              <a:t>Das sind vorgefertigte Leitungen, die bereits Stecker mitbringen und meist aus mehreren Adern bestehen.</a:t>
            </a:r>
          </a:p>
          <a:p>
            <a:r>
              <a:rPr lang="de-DE" baseline="0" smtClean="0"/>
              <a:t>Diese werden vorgefertigt, da sie spezielle Maschinen erforder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612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smtClean="0"/>
              <a:t>In den Leitungssatzdaten müssen alle Sub Assemblies definiert sein, um die Kosten richtig Kalkulieren zu können.</a:t>
            </a:r>
          </a:p>
          <a:p>
            <a:r>
              <a:rPr lang="de-DE" baseline="0" smtClean="0"/>
              <a:t>Dies ist aber in den meisten Fällen nicht der Fall und die Daten, die von den Kunden kommen, sind unvollständig.</a:t>
            </a:r>
          </a:p>
          <a:p>
            <a:r>
              <a:rPr lang="de-DE" baseline="0" smtClean="0"/>
              <a:t>Die Abteilung für Angebotserstellung ist somit der Auftraggeber.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181F30-0407-4635-BBC0-1B634C70C29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3635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748" y="2132856"/>
            <a:ext cx="6622504" cy="1470025"/>
          </a:xfrm>
        </p:spPr>
        <p:txBody>
          <a:bodyPr anchor="b">
            <a:normAutofit/>
          </a:bodyPr>
          <a:lstStyle>
            <a:lvl1pPr algn="ctr"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748" y="3645024"/>
            <a:ext cx="6624736" cy="792088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6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70609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91264" cy="485740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50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395536" y="1988840"/>
            <a:ext cx="8291264" cy="413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2123728" y="1628800"/>
            <a:ext cx="6563072" cy="3509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800" dirty="0" smtClean="0">
                <a:solidFill>
                  <a:prstClr val="black"/>
                </a:solidFill>
              </a:rPr>
              <a:t>Titelmasterformat durch Klicken bearbeiten</a:t>
            </a:r>
            <a:endParaRPr lang="de-DE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07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5696" y="4406900"/>
            <a:ext cx="6659016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35696" y="2906713"/>
            <a:ext cx="6659016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83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536" y="1600200"/>
            <a:ext cx="496855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36096" y="1600200"/>
            <a:ext cx="325070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62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944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464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32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-19414" y="6237312"/>
            <a:ext cx="9163413" cy="6206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4" descr="P:\CAE\WHiPCAD\SW Development\01_Projekte\67_PTM\Documents\planning\Projektpräsentation\delphilogo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91264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600200"/>
            <a:ext cx="829126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82390" y="0"/>
            <a:ext cx="10616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AA034-DBFE-4DEE-A1E7-8A507121922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969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7.emf"/><Relationship Id="rId4" Type="http://schemas.openxmlformats.org/officeDocument/2006/relationships/package" Target="../embeddings/Microsoft_Excel-Arbeitsblatt1.xls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m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tmp"/><Relationship Id="rId4" Type="http://schemas.openxmlformats.org/officeDocument/2006/relationships/image" Target="../media/image41.tm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1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.xml"/><Relationship Id="rId5" Type="http://schemas.openxmlformats.org/officeDocument/2006/relationships/image" Target="../media/image43.emf"/><Relationship Id="rId10" Type="http://schemas.microsoft.com/office/2007/relationships/diagramDrawing" Target="../diagrams/drawing3.xml"/><Relationship Id="rId4" Type="http://schemas.openxmlformats.org/officeDocument/2006/relationships/package" Target="../embeddings/Microsoft_Excel-Arbeitsblatt2.xlsx"/><Relationship Id="rId9" Type="http://schemas.openxmlformats.org/officeDocument/2006/relationships/diagramColors" Target="../diagrams/colors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398" Type="http://schemas.openxmlformats.org/officeDocument/2006/relationships/image" Target="../media/image17.png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openxmlformats.org/officeDocument/2006/relationships/image" Target="../media/image7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image" Target="../media/image8.pn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image" Target="../media/image9.png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image" Target="../media/image10.png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2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image" Target="../media/image11.png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notesSlide" Target="../notesSlides/notesSlide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image" Target="../media/image12.png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2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394" Type="http://schemas.openxmlformats.org/officeDocument/2006/relationships/image" Target="../media/image13.png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395" Type="http://schemas.openxmlformats.org/officeDocument/2006/relationships/image" Target="../media/image14.png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96" Type="http://schemas.openxmlformats.org/officeDocument/2006/relationships/image" Target="../media/image15.png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5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397" Type="http://schemas.openxmlformats.org/officeDocument/2006/relationships/image" Target="../media/image16.png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6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ub Assembly </a:t>
            </a:r>
            <a:r>
              <a:rPr lang="en-US" dirty="0" err="1" smtClean="0">
                <a:solidFill>
                  <a:schemeClr val="tx1"/>
                </a:solidFill>
              </a:rPr>
              <a:t>Analys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Automatisierte</a:t>
            </a:r>
            <a:r>
              <a:rPr lang="en-US" dirty="0" smtClean="0"/>
              <a:t> </a:t>
            </a:r>
            <a:r>
              <a:rPr lang="en-US" dirty="0" err="1" smtClean="0"/>
              <a:t>Analyse</a:t>
            </a:r>
            <a:r>
              <a:rPr lang="en-US" dirty="0" smtClean="0"/>
              <a:t> und Definition von </a:t>
            </a:r>
            <a:r>
              <a:rPr lang="en-US" dirty="0" err="1" smtClean="0"/>
              <a:t>Baugruppen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dirty="0" smtClean="0">
                <a:solidFill>
                  <a:schemeClr val="bg1"/>
                </a:solidFill>
              </a:rPr>
              <a:t>09.01.2016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619672" y="195897"/>
            <a:ext cx="5832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HK Abschlusspräsentation – Fachinformatiker Anwendungsentwicklung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42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9118" y="3590727"/>
            <a:ext cx="1333362" cy="100055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797356" y="3234294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97356" y="5085186"/>
            <a:ext cx="387252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ine Ecke des Rechtecks schneiden 45"/>
          <p:cNvSpPr/>
          <p:nvPr/>
        </p:nvSpPr>
        <p:spPr>
          <a:xfrm>
            <a:off x="1475656" y="2060849"/>
            <a:ext cx="1611163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Leitungssatzdaten</a:t>
            </a:r>
            <a:endParaRPr lang="en-US" sz="1400" dirty="0" smtClean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1475656" y="3827989"/>
            <a:ext cx="1615551" cy="683012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Manuelle</a:t>
            </a:r>
            <a:r>
              <a:rPr lang="en-US" sz="1400" dirty="0" smtClean="0"/>
              <a:t> </a:t>
            </a:r>
            <a:r>
              <a:rPr lang="en-US" sz="1400" dirty="0" err="1" smtClean="0"/>
              <a:t>Analyse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3691196" y="3337225"/>
            <a:ext cx="1404813" cy="87133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Sub Assembly </a:t>
            </a:r>
            <a:r>
              <a:rPr lang="en-US" sz="1400" dirty="0" err="1" smtClean="0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091207" y="3772894"/>
            <a:ext cx="599989" cy="39660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1740271" y="3284828"/>
            <a:ext cx="1084128" cy="2194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Eine Ecke des Rechtecks schneiden 57"/>
          <p:cNvSpPr/>
          <p:nvPr/>
        </p:nvSpPr>
        <p:spPr>
          <a:xfrm>
            <a:off x="5495463" y="3641571"/>
            <a:ext cx="1592047" cy="903628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dirty="0" err="1" smtClean="0"/>
              <a:t>Anlegen</a:t>
            </a:r>
            <a:r>
              <a:rPr lang="en-US" sz="1400" dirty="0" smtClean="0"/>
              <a:t> der </a:t>
            </a:r>
          </a:p>
          <a:p>
            <a:pPr algn="ctr"/>
            <a:r>
              <a:rPr lang="en-US" sz="1400" dirty="0" smtClean="0"/>
              <a:t>Sub Assemblies in </a:t>
            </a:r>
            <a:r>
              <a:rPr lang="en-US" sz="1400" dirty="0" err="1" smtClean="0"/>
              <a:t>DELight</a:t>
            </a:r>
            <a:endParaRPr lang="en-US" sz="1400" dirty="0"/>
          </a:p>
        </p:txBody>
      </p:sp>
      <p:sp>
        <p:nvSpPr>
          <p:cNvPr id="71" name="Eine Ecke des Rechtecks schneiden 70"/>
          <p:cNvSpPr/>
          <p:nvPr/>
        </p:nvSpPr>
        <p:spPr>
          <a:xfrm>
            <a:off x="3691196" y="4261863"/>
            <a:ext cx="1404813" cy="622176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numCol="1"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 smtClean="0"/>
              <a:t>der </a:t>
            </a:r>
            <a:r>
              <a:rPr lang="en-US" sz="1400" dirty="0" err="1" smtClean="0"/>
              <a:t>Berichte</a:t>
            </a:r>
            <a:endParaRPr lang="en-US" sz="1400" dirty="0"/>
          </a:p>
        </p:txBody>
      </p:sp>
      <p:cxnSp>
        <p:nvCxnSpPr>
          <p:cNvPr id="72" name="Gekrümmte Verbindung 71"/>
          <p:cNvCxnSpPr>
            <a:stCxn id="47" idx="0"/>
          </p:cNvCxnSpPr>
          <p:nvPr/>
        </p:nvCxnSpPr>
        <p:spPr>
          <a:xfrm>
            <a:off x="3091207" y="4169495"/>
            <a:ext cx="599989" cy="44699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uppieren 72"/>
          <p:cNvGrpSpPr/>
          <p:nvPr/>
        </p:nvGrpSpPr>
        <p:grpSpPr>
          <a:xfrm>
            <a:off x="431048" y="2060846"/>
            <a:ext cx="648318" cy="764715"/>
            <a:chOff x="1681690" y="5373269"/>
            <a:chExt cx="567992" cy="669968"/>
          </a:xfrm>
        </p:grpSpPr>
        <p:pic>
          <p:nvPicPr>
            <p:cNvPr id="74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6" name="Textfeld 75"/>
            <p:cNvSpPr txBox="1"/>
            <p:nvPr/>
          </p:nvSpPr>
          <p:spPr>
            <a:xfrm>
              <a:off x="1681690" y="5773593"/>
              <a:ext cx="567992" cy="2696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263667" y="3786608"/>
            <a:ext cx="1025345" cy="980156"/>
            <a:chOff x="1535049" y="3998317"/>
            <a:chExt cx="898306" cy="858716"/>
          </a:xfrm>
        </p:grpSpPr>
        <p:pic>
          <p:nvPicPr>
            <p:cNvPr id="78" name="Picture 6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feld 78"/>
            <p:cNvSpPr txBox="1"/>
            <p:nvPr/>
          </p:nvSpPr>
          <p:spPr>
            <a:xfrm>
              <a:off x="1535049" y="4398640"/>
              <a:ext cx="898306" cy="458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cxnSp>
        <p:nvCxnSpPr>
          <p:cNvPr id="8" name="Gerade Verbindung mit Pfeil 7"/>
          <p:cNvCxnSpPr>
            <a:stCxn id="48" idx="0"/>
          </p:cNvCxnSpPr>
          <p:nvPr/>
        </p:nvCxnSpPr>
        <p:spPr>
          <a:xfrm>
            <a:off x="5096008" y="3772894"/>
            <a:ext cx="399454" cy="89789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stCxn id="71" idx="0"/>
          </p:cNvCxnSpPr>
          <p:nvPr/>
        </p:nvCxnSpPr>
        <p:spPr>
          <a:xfrm flipV="1">
            <a:off x="5096008" y="4392994"/>
            <a:ext cx="399454" cy="17995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58" idx="0"/>
            <a:endCxn id="15" idx="1"/>
          </p:cNvCxnSpPr>
          <p:nvPr/>
        </p:nvCxnSpPr>
        <p:spPr>
          <a:xfrm flipV="1">
            <a:off x="7087510" y="4091004"/>
            <a:ext cx="471608" cy="2381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5761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58" grpId="0" animBg="1"/>
      <p:bldP spid="7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19" y="1236694"/>
            <a:ext cx="7242163" cy="102613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0" y="6237312"/>
            <a:ext cx="9144000" cy="65641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0" y="0"/>
            <a:ext cx="9143999" cy="105273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/>
              <a:t>– Manueller Prozess</a:t>
            </a:r>
            <a:endParaRPr lang="en-US" dirty="0"/>
          </a:p>
        </p:txBody>
      </p:sp>
      <p:sp>
        <p:nvSpPr>
          <p:cNvPr id="12" name="Rechteck 11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3" name="Rechteck 12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5" name="Rechteck 14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0" name="Picture 4" descr="P:\CAE\WHiPCAD\SW Development\01_Projekte\67_PTM\Documents\planning\Projektpräsentation\delphi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413" y="6200269"/>
            <a:ext cx="1783101" cy="69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503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10000" decel="1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22222E-6 L 0 -0.84838 " pathEditMode="relative" rAng="0" ptsTypes="AA">
                                      <p:cBhvr>
                                        <p:cTn id="6" dur="150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24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de-DE" dirty="0"/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956785" y="1340766"/>
            <a:ext cx="648320" cy="747267"/>
            <a:chOff x="1670415" y="5373269"/>
            <a:chExt cx="590544" cy="680673"/>
          </a:xfrm>
        </p:grpSpPr>
        <p:pic>
          <p:nvPicPr>
            <p:cNvPr id="40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5373269"/>
              <a:ext cx="327537" cy="40032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Textfeld 40"/>
            <p:cNvSpPr txBox="1"/>
            <p:nvPr/>
          </p:nvSpPr>
          <p:spPr>
            <a:xfrm>
              <a:off x="1670415" y="5773593"/>
              <a:ext cx="590544" cy="2803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Kunde</a:t>
              </a:r>
              <a:endParaRPr lang="de-DE" sz="1400" dirty="0"/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788600" y="3120026"/>
            <a:ext cx="1025346" cy="962710"/>
            <a:chOff x="1517218" y="3998317"/>
            <a:chExt cx="933970" cy="876915"/>
          </a:xfrm>
        </p:grpSpPr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3C2013">
                    <a:alpha val="90980"/>
                  </a:srgbClr>
                </a:clrFrom>
                <a:clrTo>
                  <a:srgbClr val="3C2013">
                    <a:alpha val="0"/>
                  </a:srgbClr>
                </a:clrTo>
              </a:clrChange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01917" y="3998317"/>
              <a:ext cx="327537" cy="40032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feld 23"/>
            <p:cNvSpPr txBox="1"/>
            <p:nvPr/>
          </p:nvSpPr>
          <p:spPr>
            <a:xfrm>
              <a:off x="1517218" y="4398640"/>
              <a:ext cx="933970" cy="4765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Delphi </a:t>
              </a:r>
            </a:p>
            <a:p>
              <a:pPr algn="ctr"/>
              <a:r>
                <a:rPr lang="de-DE" sz="1400" dirty="0" smtClean="0"/>
                <a:t>Mitarbeiter</a:t>
              </a:r>
              <a:endParaRPr lang="de-DE" sz="1400" dirty="0"/>
            </a:p>
          </p:txBody>
        </p:sp>
      </p:grp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64288" y="3029506"/>
            <a:ext cx="1289548" cy="9676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Eine Ecke des Rechtecks schneiden 45"/>
          <p:cNvSpPr/>
          <p:nvPr/>
        </p:nvSpPr>
        <p:spPr>
          <a:xfrm>
            <a:off x="2367783" y="1340769"/>
            <a:ext cx="1626620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Leitungssatzdaten</a:t>
            </a:r>
            <a:endParaRPr lang="en-US" sz="1400" dirty="0"/>
          </a:p>
        </p:txBody>
      </p:sp>
      <p:sp>
        <p:nvSpPr>
          <p:cNvPr id="47" name="Eine Ecke des Rechtecks schneiden 46"/>
          <p:cNvSpPr/>
          <p:nvPr/>
        </p:nvSpPr>
        <p:spPr>
          <a:xfrm>
            <a:off x="2367784" y="3183059"/>
            <a:ext cx="1630862" cy="660569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b Assembly </a:t>
            </a:r>
            <a:r>
              <a:rPr lang="en-US" sz="1400" dirty="0" err="1" smtClean="0"/>
              <a:t>Analyser</a:t>
            </a:r>
            <a:endParaRPr lang="en-US" sz="1400" dirty="0"/>
          </a:p>
        </p:txBody>
      </p:sp>
      <p:sp>
        <p:nvSpPr>
          <p:cNvPr id="48" name="Eine Ecke des Rechtecks schneiden 47"/>
          <p:cNvSpPr/>
          <p:nvPr/>
        </p:nvSpPr>
        <p:spPr>
          <a:xfrm>
            <a:off x="4529011" y="2276872"/>
            <a:ext cx="1555157" cy="842706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Sub Assembly </a:t>
            </a:r>
            <a:r>
              <a:rPr lang="en-US" sz="1400" dirty="0" err="1"/>
              <a:t>Grafiken</a:t>
            </a:r>
            <a:endParaRPr lang="en-US" sz="1400" dirty="0"/>
          </a:p>
        </p:txBody>
      </p:sp>
      <p:cxnSp>
        <p:nvCxnSpPr>
          <p:cNvPr id="49" name="Gekrümmte Verbindung 48"/>
          <p:cNvCxnSpPr>
            <a:stCxn id="47" idx="0"/>
            <a:endCxn id="48" idx="2"/>
          </p:cNvCxnSpPr>
          <p:nvPr/>
        </p:nvCxnSpPr>
        <p:spPr>
          <a:xfrm flipV="1">
            <a:off x="3998646" y="2698225"/>
            <a:ext cx="530365" cy="815119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krümmte Verbindung 51"/>
          <p:cNvCxnSpPr>
            <a:stCxn id="46" idx="1"/>
            <a:endCxn id="47" idx="3"/>
          </p:cNvCxnSpPr>
          <p:nvPr/>
        </p:nvCxnSpPr>
        <p:spPr>
          <a:xfrm rot="16200000" flipH="1">
            <a:off x="2591294" y="2591137"/>
            <a:ext cx="1181721" cy="2122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krümmte Verbindung 54"/>
          <p:cNvCxnSpPr>
            <a:stCxn id="31" idx="0"/>
            <a:endCxn id="15" idx="1"/>
          </p:cNvCxnSpPr>
          <p:nvPr/>
        </p:nvCxnSpPr>
        <p:spPr>
          <a:xfrm flipV="1">
            <a:off x="6084168" y="3513344"/>
            <a:ext cx="1080120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Eine Ecke des Rechtecks schneiden 70"/>
          <p:cNvSpPr/>
          <p:nvPr/>
        </p:nvSpPr>
        <p:spPr>
          <a:xfrm>
            <a:off x="4526074" y="3212976"/>
            <a:ext cx="1555157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Erstellung </a:t>
            </a:r>
            <a:r>
              <a:rPr lang="en-US" sz="1400" dirty="0"/>
              <a:t>der </a:t>
            </a:r>
            <a:r>
              <a:rPr lang="en-US" sz="1400" dirty="0" err="1"/>
              <a:t>Berichte</a:t>
            </a:r>
            <a:endParaRPr lang="en-US" sz="1400" dirty="0"/>
          </a:p>
        </p:txBody>
      </p:sp>
      <p:sp>
        <p:nvSpPr>
          <p:cNvPr id="31" name="Eine Ecke des Rechtecks schneiden 30"/>
          <p:cNvSpPr/>
          <p:nvPr/>
        </p:nvSpPr>
        <p:spPr>
          <a:xfrm>
            <a:off x="4526073" y="3933056"/>
            <a:ext cx="1558095" cy="601731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xport </a:t>
            </a:r>
            <a:r>
              <a:rPr lang="en-US" sz="1400"/>
              <a:t>der </a:t>
            </a:r>
            <a:r>
              <a:rPr lang="en-US" sz="1400" smtClean="0"/>
              <a:t>Leitungssatzdaten</a:t>
            </a:r>
            <a:endParaRPr lang="en-US" sz="1400" dirty="0"/>
          </a:p>
        </p:txBody>
      </p:sp>
      <p:cxnSp>
        <p:nvCxnSpPr>
          <p:cNvPr id="33" name="Gekrümmte Verbindung 32"/>
          <p:cNvCxnSpPr>
            <a:stCxn id="47" idx="0"/>
            <a:endCxn id="31" idx="2"/>
          </p:cNvCxnSpPr>
          <p:nvPr/>
        </p:nvCxnSpPr>
        <p:spPr>
          <a:xfrm>
            <a:off x="3998646" y="3513344"/>
            <a:ext cx="527427" cy="720578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"/>
          <p:cNvGrpSpPr/>
          <p:nvPr/>
        </p:nvGrpSpPr>
        <p:grpSpPr>
          <a:xfrm>
            <a:off x="490189" y="5062324"/>
            <a:ext cx="1622175" cy="799670"/>
            <a:chOff x="490189" y="5062324"/>
            <a:chExt cx="1622175" cy="799670"/>
          </a:xfrm>
        </p:grpSpPr>
        <p:sp>
          <p:nvSpPr>
            <p:cNvPr id="59" name="Zylinder 58"/>
            <p:cNvSpPr/>
            <p:nvPr/>
          </p:nvSpPr>
          <p:spPr>
            <a:xfrm>
              <a:off x="1051228" y="5062324"/>
              <a:ext cx="417127" cy="504056"/>
            </a:xfrm>
            <a:prstGeom prst="can">
              <a:avLst>
                <a:gd name="adj" fmla="val 3641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0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490189" y="5554217"/>
              <a:ext cx="16221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dirty="0" smtClean="0"/>
                <a:t>Zentrale Datenbank</a:t>
              </a:r>
              <a:endParaRPr lang="de-DE" sz="1400" dirty="0"/>
            </a:p>
          </p:txBody>
        </p:sp>
      </p:grpSp>
      <p:sp>
        <p:nvSpPr>
          <p:cNvPr id="34" name="Eine Ecke des Rechtecks schneiden 33"/>
          <p:cNvSpPr/>
          <p:nvPr/>
        </p:nvSpPr>
        <p:spPr>
          <a:xfrm>
            <a:off x="2367784" y="5160694"/>
            <a:ext cx="1630863" cy="660569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Referenzdaten</a:t>
            </a:r>
          </a:p>
        </p:txBody>
      </p:sp>
      <p:cxnSp>
        <p:nvCxnSpPr>
          <p:cNvPr id="45" name="Gekrümmte Verbindung 44"/>
          <p:cNvCxnSpPr>
            <a:stCxn id="34" idx="3"/>
            <a:endCxn id="47" idx="1"/>
          </p:cNvCxnSpPr>
          <p:nvPr/>
        </p:nvCxnSpPr>
        <p:spPr>
          <a:xfrm rot="16200000" flipV="1">
            <a:off x="2524683" y="4502160"/>
            <a:ext cx="1317066" cy="1"/>
          </a:xfrm>
          <a:prstGeom prst="curvedConnector3">
            <a:avLst>
              <a:gd name="adj1" fmla="val 50000"/>
            </a:avLst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321486" y="2204864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321486" y="4869160"/>
            <a:ext cx="37246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stCxn id="47" idx="0"/>
            <a:endCxn id="71" idx="2"/>
          </p:cNvCxnSpPr>
          <p:nvPr/>
        </p:nvCxnSpPr>
        <p:spPr>
          <a:xfrm>
            <a:off x="3998646" y="3513344"/>
            <a:ext cx="527428" cy="498"/>
          </a:xfrm>
          <a:prstGeom prst="straightConnector1">
            <a:avLst/>
          </a:prstGeom>
          <a:ln w="12700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ine Ecke des Rechtecks schneiden 52"/>
          <p:cNvSpPr/>
          <p:nvPr/>
        </p:nvSpPr>
        <p:spPr>
          <a:xfrm>
            <a:off x="7020272" y="5821263"/>
            <a:ext cx="250667" cy="205875"/>
          </a:xfrm>
          <a:prstGeom prst="snip1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7358877" y="5821263"/>
            <a:ext cx="1645329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Automatisiert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  <p:sp>
        <p:nvSpPr>
          <p:cNvPr id="54" name="Eine Ecke des Rechtecks schneiden 53"/>
          <p:cNvSpPr/>
          <p:nvPr/>
        </p:nvSpPr>
        <p:spPr>
          <a:xfrm>
            <a:off x="7020272" y="5517232"/>
            <a:ext cx="250667" cy="205875"/>
          </a:xfrm>
          <a:prstGeom prst="snip1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6" name="Textfeld 55"/>
          <p:cNvSpPr txBox="1"/>
          <p:nvPr/>
        </p:nvSpPr>
        <p:spPr>
          <a:xfrm>
            <a:off x="7358877" y="5507075"/>
            <a:ext cx="1641272" cy="27203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r>
              <a:rPr lang="en-US" sz="1200" dirty="0" err="1" smtClean="0"/>
              <a:t>Manuelle</a:t>
            </a:r>
            <a:r>
              <a:rPr lang="en-US" sz="1200" dirty="0" smtClean="0"/>
              <a:t> </a:t>
            </a:r>
            <a:r>
              <a:rPr lang="en-US" sz="1200" dirty="0" err="1" smtClean="0"/>
              <a:t>Vorgänge</a:t>
            </a: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4166474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71" grpId="0" animBg="1"/>
      <p:bldP spid="31" grpId="0" animBg="1"/>
      <p:bldP spid="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83" y="1556792"/>
            <a:ext cx="9651312" cy="396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hteck 11"/>
          <p:cNvSpPr/>
          <p:nvPr/>
        </p:nvSpPr>
        <p:spPr>
          <a:xfrm>
            <a:off x="8354198" y="1148358"/>
            <a:ext cx="789801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611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ll-Zustand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Umsetzung zunächst nur für Volkswagen</a:t>
            </a:r>
          </a:p>
          <a:p>
            <a:pPr lvl="1"/>
            <a:r>
              <a:rPr lang="de-DE" smtClean="0"/>
              <a:t>Sehr umfangreiche Leitungssätze</a:t>
            </a:r>
          </a:p>
          <a:p>
            <a:pPr lvl="1"/>
            <a:r>
              <a:rPr lang="de-DE" smtClean="0"/>
              <a:t>Hoher Nutzen</a:t>
            </a:r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7" name="Rechteck 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9" name="Rechteck 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132856"/>
            <a:ext cx="2984667" cy="283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045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modell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131644"/>
              </p:ext>
            </p:extLst>
          </p:nvPr>
        </p:nvGraphicFramePr>
        <p:xfrm>
          <a:off x="4716017" y="1261971"/>
          <a:ext cx="3649616" cy="46430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926725"/>
                <a:gridCol w="722891"/>
              </a:tblGrid>
              <a:tr h="37374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de-DE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eitplanung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3183" marR="13183" marT="131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1 - Projektdefinition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ck-Off-Meeti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2 - Projektplan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zep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enschätz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3 - Projektrealisierung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 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diagramm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otyp/GUI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enprogrammi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gorithmus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ftraggebergespräche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 4 - Projektabschluss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US" sz="1500" b="1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ätssicherung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kumentation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83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2860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US" sz="15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4921" marR="94921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" name="Rechteck 19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1" name="Rechteck 20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23" name="Rechteck 22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4" name="Rechteck 23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7 / 13</a:t>
            </a:r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092219176"/>
              </p:ext>
            </p:extLst>
          </p:nvPr>
        </p:nvGraphicFramePr>
        <p:xfrm>
          <a:off x="539552" y="1852444"/>
          <a:ext cx="388843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1686985" y="1233627"/>
            <a:ext cx="133870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00" b="1" smtClean="0">
                <a:solidFill>
                  <a:srgbClr val="000000"/>
                </a:solidFill>
              </a:rPr>
              <a:t>Projektphasen</a:t>
            </a:r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3193732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6CB1668A-E76A-4075-B8A0-3B4D514F8F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BC53F87A-0995-4EBA-AB30-D1696D0DCC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11E51E77-74BB-4225-B02D-FA34B0DB59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BA77E463-0618-46C2-B8B4-8A89643023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E7847977-B279-440C-8A15-FD769686EB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8275FF6C-7A58-43D3-A14D-625B9B5EA4D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3FDA1DD6-3665-4E60-93FC-8A3EAA5FB94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1738425"/>
              </p:ext>
            </p:extLst>
          </p:nvPr>
        </p:nvGraphicFramePr>
        <p:xfrm>
          <a:off x="936625" y="1147386"/>
          <a:ext cx="7235775" cy="49601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Worksheet" r:id="rId4" imgW="12001466" imgH="9115357" progId="Excel.Sheet.12">
                  <p:embed/>
                </p:oleObj>
              </mc:Choice>
              <mc:Fallback>
                <p:oleObj name="Worksheet" r:id="rId4" imgW="12001466" imgH="9115357" progId="Excel.Sheet.12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6625" y="1147386"/>
                        <a:ext cx="7235775" cy="496017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6660232" y="1124744"/>
            <a:ext cx="2060202" cy="50405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11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lassendiagramm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7" name="Rechteck 1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9" name="Rechteck 18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20" name="Rechteck 19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779" y="2413784"/>
            <a:ext cx="5160442" cy="203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>
          <a:xfrm>
            <a:off x="1999486" y="3669088"/>
            <a:ext cx="5092794" cy="50405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999486" y="3201035"/>
            <a:ext cx="5092794" cy="25202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505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5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ssendiagramm</a:t>
            </a:r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4" y="1242316"/>
            <a:ext cx="3528393" cy="4706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8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807804" y="4809184"/>
            <a:ext cx="3528393" cy="114009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67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33808" y="1330712"/>
            <a:ext cx="953816" cy="4474551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1337482"/>
            <a:ext cx="7704856" cy="330690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1187624" y="4644386"/>
            <a:ext cx="7704856" cy="116087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52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5412172"/>
              </p:ext>
            </p:extLst>
          </p:nvPr>
        </p:nvGraphicFramePr>
        <p:xfrm>
          <a:off x="1043608" y="1351309"/>
          <a:ext cx="6563072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0968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nutzeroberfläche</a:t>
            </a:r>
            <a:endParaRPr lang="en-US"/>
          </a:p>
        </p:txBody>
      </p:sp>
      <p:pic>
        <p:nvPicPr>
          <p:cNvPr id="4" name="Grafik 3" descr="Sub Assembly Analyz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187624" y="13407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187624" y="3140968"/>
            <a:ext cx="2304256" cy="151216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3512096" y="1337482"/>
            <a:ext cx="5380384" cy="3315653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6647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Sub Assembly Analyzer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33752"/>
            <a:ext cx="8640960" cy="49321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utzeroberfläche</a:t>
            </a:r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Grafik 3" descr="XML Reference Edito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672" y="1635251"/>
            <a:ext cx="5638386" cy="38947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Grafik 6" descr="Reference Editor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305093"/>
            <a:ext cx="6696744" cy="4625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Rechteck 2"/>
          <p:cNvSpPr/>
          <p:nvPr/>
        </p:nvSpPr>
        <p:spPr>
          <a:xfrm>
            <a:off x="1348307" y="2442317"/>
            <a:ext cx="840062" cy="1728192"/>
          </a:xfrm>
          <a:prstGeom prst="rect">
            <a:avLst/>
          </a:prstGeom>
          <a:solidFill>
            <a:srgbClr val="82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226085" y="1553922"/>
            <a:ext cx="5658283" cy="1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  <a:br>
              <a:rPr lang="de-DE" dirty="0"/>
            </a:br>
            <a:r>
              <a:rPr lang="de-DE" sz="1800" dirty="0"/>
              <a:t>Betrachtung der Wirtschaftlichkeit</a:t>
            </a:r>
            <a:endParaRPr lang="en-US" sz="1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rbeitszeit</a:t>
            </a:r>
            <a:r>
              <a:rPr lang="en-US" dirty="0"/>
              <a:t> </a:t>
            </a:r>
            <a:r>
              <a:rPr lang="en-US" dirty="0" err="1"/>
              <a:t>Entwicklung</a:t>
            </a:r>
            <a:r>
              <a:rPr lang="en-US" dirty="0"/>
              <a:t> Sub Assembly </a:t>
            </a:r>
            <a:r>
              <a:rPr lang="en-US" dirty="0" smtClean="0"/>
              <a:t>Analyser</a:t>
            </a:r>
            <a:endParaRPr lang="en-US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663119"/>
              </p:ext>
            </p:extLst>
          </p:nvPr>
        </p:nvGraphicFramePr>
        <p:xfrm>
          <a:off x="827585" y="1916832"/>
          <a:ext cx="7056783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9419"/>
                <a:gridCol w="1455548"/>
                <a:gridCol w="1882520"/>
                <a:gridCol w="1799296"/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mtClean="0"/>
                        <a:t>Ressource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Arbeitszeit</a:t>
                      </a:r>
                      <a:r>
                        <a:rPr lang="en-US" dirty="0" smtClean="0"/>
                        <a:t> </a:t>
                      </a:r>
                    </a:p>
                    <a:p>
                      <a:pPr algn="r"/>
                      <a:r>
                        <a:rPr lang="en-US" dirty="0" smtClean="0"/>
                        <a:t>in </a:t>
                      </a:r>
                      <a:r>
                        <a:rPr lang="en-US" dirty="0" err="1" smtClean="0"/>
                        <a:t>Stunden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err="1" smtClean="0"/>
                        <a:t>Fiktives</a:t>
                      </a:r>
                      <a:r>
                        <a:rPr lang="en-US" dirty="0" smtClean="0"/>
                        <a:t> </a:t>
                      </a:r>
                      <a:r>
                        <a:rPr lang="en-US" err="1" smtClean="0"/>
                        <a:t>Gehalt</a:t>
                      </a:r>
                      <a:r>
                        <a:rPr lang="en-US" smtClean="0"/>
                        <a:t> </a:t>
                      </a:r>
                      <a:endParaRPr lang="en-US" smtClean="0"/>
                    </a:p>
                    <a:p>
                      <a:pPr algn="r"/>
                      <a:r>
                        <a:rPr lang="en-US" smtClean="0"/>
                        <a:t>pro Stunde in </a:t>
                      </a:r>
                      <a:r>
                        <a:rPr lang="en-US" dirty="0" smtClean="0"/>
                        <a:t>€</a:t>
                      </a:r>
                      <a:endParaRPr lang="en-US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Summe</a:t>
                      </a:r>
                      <a:endParaRPr lang="en-US" dirty="0"/>
                    </a:p>
                  </a:txBody>
                  <a:tcPr anchor="b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homas Hah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7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Projektmanag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3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Auftragge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est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 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Berater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180</a:t>
                      </a:r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Gesamtkosten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mtClean="0"/>
                        <a:t>2 380</a:t>
                      </a: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Rechteck 4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6" name="Rechteck 5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8" name="Rechteck 7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9" name="Rechteck 8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0" name="Rechteck 9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67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Betrachtung der Wirtschaftlichkeit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5417616"/>
              </p:ext>
            </p:extLst>
          </p:nvPr>
        </p:nvGraphicFramePr>
        <p:xfrm>
          <a:off x="1879717" y="2027416"/>
          <a:ext cx="5384566" cy="2803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" name="Worksheet" r:id="rId4" imgW="5534155" imgH="2866965" progId="Excel.Sheet.12">
                  <p:embed/>
                </p:oleObj>
              </mc:Choice>
              <mc:Fallback>
                <p:oleObj name="Worksheet" r:id="rId4" imgW="5534155" imgH="2866965" progId="Excel.Shee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9717" y="2027416"/>
                        <a:ext cx="5384566" cy="28031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pPr marL="342900" lvl="1" indent="-342900"/>
            <a:r>
              <a:rPr lang="de-DE" dirty="0" smtClean="0"/>
              <a:t>Ca. 3 </a:t>
            </a:r>
            <a:r>
              <a:rPr lang="de-DE" dirty="0"/>
              <a:t>Analysen pro </a:t>
            </a:r>
            <a:r>
              <a:rPr lang="de-DE" dirty="0" smtClean="0"/>
              <a:t>Jahr</a:t>
            </a:r>
            <a:r>
              <a:rPr lang="de-DE" dirty="0"/>
              <a:t>	 		</a:t>
            </a:r>
          </a:p>
          <a:p>
            <a:endParaRPr lang="de-DE" dirty="0"/>
          </a:p>
        </p:txBody>
      </p:sp>
      <p:graphicFrame>
        <p:nvGraphicFramePr>
          <p:cNvPr id="18" name="Diagramm 17"/>
          <p:cNvGraphicFramePr/>
          <p:nvPr>
            <p:extLst>
              <p:ext uri="{D42A27DB-BD31-4B8C-83A1-F6EECF244321}">
                <p14:modId xmlns:p14="http://schemas.microsoft.com/office/powerpoint/2010/main" val="3139465103"/>
              </p:ext>
            </p:extLst>
          </p:nvPr>
        </p:nvGraphicFramePr>
        <p:xfrm>
          <a:off x="856127" y="2276872"/>
          <a:ext cx="7431746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80118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Ergebnisse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390222485"/>
              </p:ext>
            </p:extLst>
          </p:nvPr>
        </p:nvGraphicFramePr>
        <p:xfrm>
          <a:off x="1524000" y="1656916"/>
          <a:ext cx="6096000" cy="3544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9508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/>
              <a:t>Soll-/</a:t>
            </a:r>
            <a:r>
              <a:rPr lang="de-DE" sz="1800" dirty="0" smtClean="0"/>
              <a:t>Ist-Vergleich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Anforderungen </a:t>
            </a:r>
            <a:r>
              <a:rPr lang="de-DE" dirty="0"/>
              <a:t>entsprechend der Projektdefinition </a:t>
            </a:r>
            <a:r>
              <a:rPr lang="de-DE" dirty="0" smtClean="0"/>
              <a:t>implementiert</a:t>
            </a:r>
          </a:p>
          <a:p>
            <a:endParaRPr lang="de-DE" dirty="0"/>
          </a:p>
          <a:p>
            <a:r>
              <a:rPr lang="de-DE" dirty="0"/>
              <a:t>Gesamtzeitrahmen und Projektkosten </a:t>
            </a:r>
            <a:r>
              <a:rPr lang="de-DE" dirty="0" smtClean="0"/>
              <a:t>eingehalten</a:t>
            </a:r>
          </a:p>
          <a:p>
            <a:endParaRPr lang="de-DE" dirty="0"/>
          </a:p>
          <a:p>
            <a:r>
              <a:rPr lang="de-DE" dirty="0"/>
              <a:t>Funktionstüchtigkeit der Applikation </a:t>
            </a:r>
            <a:r>
              <a:rPr lang="de-DE" dirty="0" smtClean="0"/>
              <a:t>sichergestellt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59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br>
              <a:rPr lang="de-DE" dirty="0" smtClean="0"/>
            </a:br>
            <a:r>
              <a:rPr lang="de-DE" sz="1800" dirty="0" smtClean="0"/>
              <a:t>Ausblick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Fazit</a:t>
            </a:r>
          </a:p>
        </p:txBody>
      </p:sp>
      <p:sp>
        <p:nvSpPr>
          <p:cNvPr id="13" name="Rechteck 1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Konzept</a:t>
            </a:r>
          </a:p>
        </p:txBody>
      </p:sp>
      <p:sp>
        <p:nvSpPr>
          <p:cNvPr id="15" name="Rechteck 1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setz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9 / 1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Inhaltsplatzhalter 2"/>
          <p:cNvSpPr>
            <a:spLocks noGrp="1"/>
          </p:cNvSpPr>
          <p:nvPr>
            <p:ph idx="1"/>
          </p:nvPr>
        </p:nvSpPr>
        <p:spPr>
          <a:xfrm>
            <a:off x="395536" y="1268761"/>
            <a:ext cx="8291264" cy="2016224"/>
          </a:xfrm>
        </p:spPr>
        <p:txBody>
          <a:bodyPr>
            <a:normAutofit/>
          </a:bodyPr>
          <a:lstStyle/>
          <a:p>
            <a:r>
              <a:rPr lang="de-DE" dirty="0" smtClean="0"/>
              <a:t>Implementierung </a:t>
            </a:r>
            <a:r>
              <a:rPr lang="de-DE" dirty="0"/>
              <a:t>der Analyse für die übrigen Kunden</a:t>
            </a:r>
          </a:p>
          <a:p>
            <a:endParaRPr lang="de-DE" dirty="0"/>
          </a:p>
          <a:p>
            <a:r>
              <a:rPr lang="de-DE" dirty="0"/>
              <a:t>Fertigstellung Quartal 1 </a:t>
            </a:r>
            <a:r>
              <a:rPr lang="de-DE" dirty="0" smtClean="0"/>
              <a:t>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199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1242492" y="2678907"/>
            <a:ext cx="6659016" cy="1500187"/>
          </a:xfrm>
        </p:spPr>
        <p:txBody>
          <a:bodyPr/>
          <a:lstStyle/>
          <a:p>
            <a:pPr algn="ctr"/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Vielen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Dank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fü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hr</a:t>
            </a:r>
            <a:r>
              <a:rPr lang="en-US" sz="3200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3200" dirty="0" err="1">
                <a:solidFill>
                  <a:prstClr val="black"/>
                </a:solidFill>
                <a:ea typeface="+mj-ea"/>
                <a:cs typeface="+mj-cs"/>
              </a:rPr>
              <a:t>Interesse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2366755" y="6331024"/>
            <a:ext cx="2088232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Thomas Hah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7830362" y="6331024"/>
            <a:ext cx="1152128" cy="4103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r"/>
            <a:r>
              <a:rPr lang="de-DE" sz="1400" dirty="0" smtClean="0">
                <a:solidFill>
                  <a:schemeClr val="bg1"/>
                </a:solidFill>
              </a:rPr>
              <a:t>09.01.2016</a:t>
            </a:r>
          </a:p>
        </p:txBody>
      </p:sp>
    </p:spTree>
    <p:extLst>
      <p:ext uri="{BB962C8B-B14F-4D97-AF65-F5344CB8AC3E}">
        <p14:creationId xmlns:p14="http://schemas.microsoft.com/office/powerpoint/2010/main" val="213624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</a:t>
            </a:r>
            <a:r>
              <a:rPr lang="de-DE" dirty="0" smtClean="0"/>
              <a:t>Automotiv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a</a:t>
            </a:r>
            <a:r>
              <a:rPr lang="de-DE" smtClean="0"/>
              <a:t>. </a:t>
            </a:r>
            <a:r>
              <a:rPr lang="de-DE" smtClean="0"/>
              <a:t>173</a:t>
            </a:r>
            <a:r>
              <a:rPr lang="de-DE" dirty="0"/>
              <a:t> </a:t>
            </a:r>
            <a:r>
              <a:rPr lang="de-DE" dirty="0" smtClean="0"/>
              <a:t>000 Mitarbeiter weltweit</a:t>
            </a:r>
          </a:p>
          <a:p>
            <a:r>
              <a:rPr lang="de-DE" dirty="0" smtClean="0"/>
              <a:t>Vertreten </a:t>
            </a:r>
            <a:r>
              <a:rPr lang="de-DE" smtClean="0"/>
              <a:t>in </a:t>
            </a:r>
            <a:r>
              <a:rPr lang="de-DE" smtClean="0"/>
              <a:t>44 </a:t>
            </a:r>
            <a:r>
              <a:rPr lang="de-DE" dirty="0" smtClean="0"/>
              <a:t>Ländern</a:t>
            </a:r>
          </a:p>
          <a:p>
            <a:r>
              <a:rPr lang="de-DE" dirty="0" smtClean="0"/>
              <a:t>Kunden aus allen Bereichen der Automobilindustrie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6" name="Picture 15" descr="P:\QITS\Projekte\89_GSD Automation\Documents\Projektpräsentation\Citroen.png"/>
          <p:cNvPicPr>
            <a:picLocks noChangeAspect="1" noChangeArrowheads="1"/>
          </p:cNvPicPr>
          <p:nvPr/>
        </p:nvPicPr>
        <p:blipFill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203" y="4360676"/>
            <a:ext cx="452438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P:\QITS\Projekte\89_GSD Automation\Documents\Projektpräsentation\Daimler.png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894" y="2948680"/>
            <a:ext cx="6445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7" descr="P:\QITS\Projekte\89_GSD Automation\Documents\Projektpräsentation\Fiat.png"/>
          <p:cNvPicPr>
            <a:picLocks noChangeAspect="1" noChangeArrowheads="1"/>
          </p:cNvPicPr>
          <p:nvPr/>
        </p:nvPicPr>
        <p:blipFill>
          <a:blip r:embed="rId3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603" y="4996802"/>
            <a:ext cx="715962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8" descr="P:\QITS\Projekte\89_GSD Automation\Documents\Projektpräsentation\Ford.png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461" y="4609436"/>
            <a:ext cx="938212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9" descr="P:\QITS\Projekte\89_GSD Automation\Documents\Projektpräsentation\GME.png"/>
          <p:cNvPicPr>
            <a:picLocks noChangeAspect="1" noChangeArrowheads="1"/>
          </p:cNvPicPr>
          <p:nvPr/>
        </p:nvPicPr>
        <p:blipFill>
          <a:blip r:embed="rId3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461" y="3844022"/>
            <a:ext cx="5810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" descr="P:\QITS\Projekte\89_GSD Automation\Documents\Projektpräsentation\Hyundai.png"/>
          <p:cNvPicPr>
            <a:picLocks noChangeAspect="1" noChangeArrowheads="1"/>
          </p:cNvPicPr>
          <p:nvPr/>
        </p:nvPicPr>
        <p:blipFill>
          <a:blip r:embed="rId3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2905817"/>
            <a:ext cx="985838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1" descr="P:\QITS\Projekte\89_GSD Automation\Documents\Projektpräsentation\Nissan.png"/>
          <p:cNvPicPr>
            <a:picLocks noChangeAspect="1" noChangeArrowheads="1"/>
          </p:cNvPicPr>
          <p:nvPr/>
        </p:nvPicPr>
        <p:blipFill>
          <a:blip r:embed="rId3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36" y="4250662"/>
            <a:ext cx="708025" cy="52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2" descr="P:\QITS\Projekte\89_GSD Automation\Documents\Projektpräsentation\Peugeot.png"/>
          <p:cNvPicPr>
            <a:picLocks noChangeAspect="1" noChangeArrowheads="1"/>
          </p:cNvPicPr>
          <p:nvPr/>
        </p:nvPicPr>
        <p:blipFill>
          <a:blip r:embed="rId3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636" y="3788699"/>
            <a:ext cx="549275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3" descr="P:\QITS\Projekte\89_GSD Automation\Documents\Projektpräsentation\Renault.png"/>
          <p:cNvPicPr>
            <a:picLocks noChangeAspect="1" noChangeArrowheads="1"/>
          </p:cNvPicPr>
          <p:nvPr/>
        </p:nvPicPr>
        <p:blipFill>
          <a:blip r:embed="rId3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645" y="3226126"/>
            <a:ext cx="62071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 descr="P:\QITS\Projekte\89_GSD Automation\Documents\Projektpräsentation\ShanghaiGM.png"/>
          <p:cNvPicPr>
            <a:picLocks noChangeAspect="1" noChangeArrowheads="1"/>
          </p:cNvPicPr>
          <p:nvPr/>
        </p:nvPicPr>
        <p:blipFill>
          <a:blip r:embed="rId3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036" y="3694959"/>
            <a:ext cx="86677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5" descr="P:\QITS\Projekte\89_GSD Automation\Documents\Projektpräsentation\Toyota.png"/>
          <p:cNvPicPr>
            <a:picLocks noChangeAspect="1" noChangeArrowheads="1"/>
          </p:cNvPicPr>
          <p:nvPr/>
        </p:nvPicPr>
        <p:blipFill>
          <a:blip r:embed="rId3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57" y="5065050"/>
            <a:ext cx="636588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6" descr="P:\QITS\Projekte\89_GSD Automation\Documents\Projektpräsentation\VW.png"/>
          <p:cNvPicPr>
            <a:picLocks noChangeAspect="1" noChangeArrowheads="1"/>
          </p:cNvPicPr>
          <p:nvPr/>
        </p:nvPicPr>
        <p:blipFill>
          <a:blip r:embed="rId3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549" y="5065050"/>
            <a:ext cx="684212" cy="636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7" descr="C:\Users\qzpwn3\Documents\Projekte\_Zeugs\Icons\Kunden\Volvo.png"/>
          <p:cNvPicPr>
            <a:picLocks noChangeAspect="1" noChangeArrowheads="1"/>
          </p:cNvPicPr>
          <p:nvPr/>
        </p:nvPicPr>
        <p:blipFill>
          <a:blip r:embed="rId3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8772" y="3779651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8" descr="C:\Users\qzpwn3\Documents\Projekte\_Zeugs\Icons\Kunden\JD.png"/>
          <p:cNvPicPr>
            <a:picLocks noChangeAspect="1" noChangeArrowheads="1"/>
          </p:cNvPicPr>
          <p:nvPr/>
        </p:nvPicPr>
        <p:blipFill>
          <a:blip r:embed="rId3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465" y="2937567"/>
            <a:ext cx="619992" cy="5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9" descr="C:\Users\qzpwn3\Documents\Projekte\_Zeugs\Icons\Kunden\LandRover.png"/>
          <p:cNvPicPr>
            <a:picLocks noChangeAspect="1" noChangeArrowheads="1"/>
          </p:cNvPicPr>
          <p:nvPr/>
        </p:nvPicPr>
        <p:blipFill>
          <a:blip r:embed="rId3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294" y="5141236"/>
            <a:ext cx="919054" cy="48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0" descr="C:\Users\qzpwn3\Documents\Projekte\_Zeugs\Icons\Kunden\Skoda.png"/>
          <p:cNvPicPr>
            <a:picLocks noChangeAspect="1" noChangeArrowheads="1"/>
          </p:cNvPicPr>
          <p:nvPr/>
        </p:nvPicPr>
        <p:blipFill>
          <a:blip r:embed="rId3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4" y="4572525"/>
            <a:ext cx="620712" cy="62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1 / 13</a:t>
            </a:r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24622" y="2060848"/>
            <a:ext cx="8259715" cy="3855940"/>
            <a:chOff x="424622" y="1774406"/>
            <a:chExt cx="8259715" cy="3855940"/>
          </a:xfrm>
          <a:effectLst/>
        </p:grpSpPr>
        <p:sp>
          <p:nvSpPr>
            <p:cNvPr id="589" name="Oval 41"/>
            <p:cNvSpPr/>
            <p:nvPr/>
          </p:nvSpPr>
          <p:spPr>
            <a:xfrm>
              <a:off x="1406756" y="2389576"/>
              <a:ext cx="625921" cy="57087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91409" tIns="45705" rIns="91409" bIns="45705" rtlCol="0" anchor="ctr"/>
            <a:lstStyle/>
            <a:p>
              <a:pPr algn="ctr" defTabSz="342824"/>
              <a:endParaRPr lang="en-US" sz="1300" dirty="0">
                <a:solidFill>
                  <a:srgbClr val="7F7F7F"/>
                </a:solidFill>
              </a:endParaRPr>
            </a:p>
          </p:txBody>
        </p:sp>
        <p:grpSp>
          <p:nvGrpSpPr>
            <p:cNvPr id="590" name="Map"/>
            <p:cNvGrpSpPr/>
            <p:nvPr/>
          </p:nvGrpSpPr>
          <p:grpSpPr>
            <a:xfrm>
              <a:off x="668910" y="1774406"/>
              <a:ext cx="8015427" cy="3571287"/>
              <a:chOff x="1190834" y="1508347"/>
              <a:chExt cx="9778514" cy="4261835"/>
            </a:xfrm>
            <a:solidFill>
              <a:schemeClr val="tx2"/>
            </a:solidFill>
          </p:grpSpPr>
          <p:sp>
            <p:nvSpPr>
              <p:cNvPr id="591" name="Freeform 4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753232" y="5706668"/>
                <a:ext cx="44339" cy="57162"/>
              </a:xfrm>
              <a:custGeom>
                <a:avLst/>
                <a:gdLst>
                  <a:gd name="T0" fmla="*/ 0 w 73"/>
                  <a:gd name="T1" fmla="*/ 0 h 20"/>
                  <a:gd name="T2" fmla="*/ 1 w 73"/>
                  <a:gd name="T3" fmla="*/ 5 h 20"/>
                  <a:gd name="T4" fmla="*/ 4 w 73"/>
                  <a:gd name="T5" fmla="*/ 10 h 20"/>
                  <a:gd name="T6" fmla="*/ 8 w 73"/>
                  <a:gd name="T7" fmla="*/ 14 h 20"/>
                  <a:gd name="T8" fmla="*/ 13 w 73"/>
                  <a:gd name="T9" fmla="*/ 20 h 20"/>
                  <a:gd name="T10" fmla="*/ 16 w 73"/>
                  <a:gd name="T11" fmla="*/ 17 h 20"/>
                  <a:gd name="T12" fmla="*/ 19 w 73"/>
                  <a:gd name="T13" fmla="*/ 13 h 20"/>
                  <a:gd name="T14" fmla="*/ 23 w 73"/>
                  <a:gd name="T15" fmla="*/ 11 h 20"/>
                  <a:gd name="T16" fmla="*/ 27 w 73"/>
                  <a:gd name="T17" fmla="*/ 10 h 20"/>
                  <a:gd name="T18" fmla="*/ 36 w 73"/>
                  <a:gd name="T19" fmla="*/ 8 h 20"/>
                  <a:gd name="T20" fmla="*/ 46 w 73"/>
                  <a:gd name="T21" fmla="*/ 7 h 20"/>
                  <a:gd name="T22" fmla="*/ 54 w 73"/>
                  <a:gd name="T23" fmla="*/ 7 h 20"/>
                  <a:gd name="T24" fmla="*/ 63 w 73"/>
                  <a:gd name="T25" fmla="*/ 6 h 20"/>
                  <a:gd name="T26" fmla="*/ 66 w 73"/>
                  <a:gd name="T27" fmla="*/ 5 h 20"/>
                  <a:gd name="T28" fmla="*/ 69 w 73"/>
                  <a:gd name="T29" fmla="*/ 4 h 20"/>
                  <a:gd name="T30" fmla="*/ 71 w 73"/>
                  <a:gd name="T31" fmla="*/ 2 h 20"/>
                  <a:gd name="T32" fmla="*/ 73 w 73"/>
                  <a:gd name="T33" fmla="*/ 0 h 20"/>
                  <a:gd name="T34" fmla="*/ 0 w 73"/>
                  <a:gd name="T3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Freeform 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190834" y="1806867"/>
                <a:ext cx="1043046" cy="446191"/>
              </a:xfrm>
              <a:custGeom>
                <a:avLst/>
                <a:gdLst>
                  <a:gd name="T0" fmla="*/ 1395 w 1808"/>
                  <a:gd name="T1" fmla="*/ 807 h 850"/>
                  <a:gd name="T2" fmla="*/ 1394 w 1808"/>
                  <a:gd name="T3" fmla="*/ 753 h 850"/>
                  <a:gd name="T4" fmla="*/ 1373 w 1808"/>
                  <a:gd name="T5" fmla="*/ 648 h 850"/>
                  <a:gd name="T6" fmla="*/ 1323 w 1808"/>
                  <a:gd name="T7" fmla="*/ 641 h 850"/>
                  <a:gd name="T8" fmla="*/ 1264 w 1808"/>
                  <a:gd name="T9" fmla="*/ 639 h 850"/>
                  <a:gd name="T10" fmla="*/ 1134 w 1808"/>
                  <a:gd name="T11" fmla="*/ 582 h 850"/>
                  <a:gd name="T12" fmla="*/ 973 w 1808"/>
                  <a:gd name="T13" fmla="*/ 537 h 850"/>
                  <a:gd name="T14" fmla="*/ 943 w 1808"/>
                  <a:gd name="T15" fmla="*/ 504 h 850"/>
                  <a:gd name="T16" fmla="*/ 901 w 1808"/>
                  <a:gd name="T17" fmla="*/ 516 h 850"/>
                  <a:gd name="T18" fmla="*/ 849 w 1808"/>
                  <a:gd name="T19" fmla="*/ 570 h 850"/>
                  <a:gd name="T20" fmla="*/ 675 w 1808"/>
                  <a:gd name="T21" fmla="*/ 619 h 850"/>
                  <a:gd name="T22" fmla="*/ 678 w 1808"/>
                  <a:gd name="T23" fmla="*/ 578 h 850"/>
                  <a:gd name="T24" fmla="*/ 721 w 1808"/>
                  <a:gd name="T25" fmla="*/ 548 h 850"/>
                  <a:gd name="T26" fmla="*/ 786 w 1808"/>
                  <a:gd name="T27" fmla="*/ 545 h 850"/>
                  <a:gd name="T28" fmla="*/ 724 w 1808"/>
                  <a:gd name="T29" fmla="*/ 528 h 850"/>
                  <a:gd name="T30" fmla="*/ 578 w 1808"/>
                  <a:gd name="T31" fmla="*/ 589 h 850"/>
                  <a:gd name="T32" fmla="*/ 547 w 1808"/>
                  <a:gd name="T33" fmla="*/ 625 h 850"/>
                  <a:gd name="T34" fmla="*/ 526 w 1808"/>
                  <a:gd name="T35" fmla="*/ 650 h 850"/>
                  <a:gd name="T36" fmla="*/ 452 w 1808"/>
                  <a:gd name="T37" fmla="*/ 654 h 850"/>
                  <a:gd name="T38" fmla="*/ 383 w 1808"/>
                  <a:gd name="T39" fmla="*/ 702 h 850"/>
                  <a:gd name="T40" fmla="*/ 252 w 1808"/>
                  <a:gd name="T41" fmla="*/ 750 h 850"/>
                  <a:gd name="T42" fmla="*/ 105 w 1808"/>
                  <a:gd name="T43" fmla="*/ 807 h 850"/>
                  <a:gd name="T44" fmla="*/ 4 w 1808"/>
                  <a:gd name="T45" fmla="*/ 813 h 850"/>
                  <a:gd name="T46" fmla="*/ 14 w 1808"/>
                  <a:gd name="T47" fmla="*/ 789 h 850"/>
                  <a:gd name="T48" fmla="*/ 127 w 1808"/>
                  <a:gd name="T49" fmla="*/ 761 h 850"/>
                  <a:gd name="T50" fmla="*/ 265 w 1808"/>
                  <a:gd name="T51" fmla="*/ 696 h 850"/>
                  <a:gd name="T52" fmla="*/ 300 w 1808"/>
                  <a:gd name="T53" fmla="*/ 626 h 850"/>
                  <a:gd name="T54" fmla="*/ 253 w 1808"/>
                  <a:gd name="T55" fmla="*/ 657 h 850"/>
                  <a:gd name="T56" fmla="*/ 150 w 1808"/>
                  <a:gd name="T57" fmla="*/ 643 h 850"/>
                  <a:gd name="T58" fmla="*/ 172 w 1808"/>
                  <a:gd name="T59" fmla="*/ 610 h 850"/>
                  <a:gd name="T60" fmla="*/ 240 w 1808"/>
                  <a:gd name="T61" fmla="*/ 547 h 850"/>
                  <a:gd name="T62" fmla="*/ 152 w 1808"/>
                  <a:gd name="T63" fmla="*/ 575 h 850"/>
                  <a:gd name="T64" fmla="*/ 143 w 1808"/>
                  <a:gd name="T65" fmla="*/ 536 h 850"/>
                  <a:gd name="T66" fmla="*/ 346 w 1808"/>
                  <a:gd name="T67" fmla="*/ 380 h 850"/>
                  <a:gd name="T68" fmla="*/ 444 w 1808"/>
                  <a:gd name="T69" fmla="*/ 382 h 850"/>
                  <a:gd name="T70" fmla="*/ 569 w 1808"/>
                  <a:gd name="T71" fmla="*/ 349 h 850"/>
                  <a:gd name="T72" fmla="*/ 592 w 1808"/>
                  <a:gd name="T73" fmla="*/ 306 h 850"/>
                  <a:gd name="T74" fmla="*/ 506 w 1808"/>
                  <a:gd name="T75" fmla="*/ 331 h 850"/>
                  <a:gd name="T76" fmla="*/ 438 w 1808"/>
                  <a:gd name="T77" fmla="*/ 318 h 850"/>
                  <a:gd name="T78" fmla="*/ 472 w 1808"/>
                  <a:gd name="T79" fmla="*/ 287 h 850"/>
                  <a:gd name="T80" fmla="*/ 711 w 1808"/>
                  <a:gd name="T81" fmla="*/ 238 h 850"/>
                  <a:gd name="T82" fmla="*/ 749 w 1808"/>
                  <a:gd name="T83" fmla="*/ 210 h 850"/>
                  <a:gd name="T84" fmla="*/ 684 w 1808"/>
                  <a:gd name="T85" fmla="*/ 176 h 850"/>
                  <a:gd name="T86" fmla="*/ 739 w 1808"/>
                  <a:gd name="T87" fmla="*/ 109 h 850"/>
                  <a:gd name="T88" fmla="*/ 988 w 1808"/>
                  <a:gd name="T89" fmla="*/ 27 h 850"/>
                  <a:gd name="T90" fmla="*/ 1157 w 1808"/>
                  <a:gd name="T91" fmla="*/ 9 h 850"/>
                  <a:gd name="T92" fmla="*/ 1277 w 1808"/>
                  <a:gd name="T93" fmla="*/ 2 h 850"/>
                  <a:gd name="T94" fmla="*/ 1354 w 1808"/>
                  <a:gd name="T95" fmla="*/ 10 h 850"/>
                  <a:gd name="T96" fmla="*/ 1516 w 1808"/>
                  <a:gd name="T97" fmla="*/ 34 h 850"/>
                  <a:gd name="T98" fmla="*/ 1761 w 1808"/>
                  <a:gd name="T99" fmla="*/ 41 h 850"/>
                  <a:gd name="T100" fmla="*/ 1287 w 1808"/>
                  <a:gd name="T101" fmla="*/ 540 h 850"/>
                  <a:gd name="T102" fmla="*/ 1321 w 1808"/>
                  <a:gd name="T103" fmla="*/ 571 h 850"/>
                  <a:gd name="T104" fmla="*/ 1327 w 1808"/>
                  <a:gd name="T105" fmla="*/ 601 h 850"/>
                  <a:gd name="T106" fmla="*/ 1382 w 1808"/>
                  <a:gd name="T107" fmla="*/ 599 h 850"/>
                  <a:gd name="T108" fmla="*/ 1429 w 1808"/>
                  <a:gd name="T109" fmla="*/ 577 h 850"/>
                  <a:gd name="T110" fmla="*/ 1475 w 1808"/>
                  <a:gd name="T111" fmla="*/ 667 h 850"/>
                  <a:gd name="T112" fmla="*/ 1462 w 1808"/>
                  <a:gd name="T113" fmla="*/ 706 h 850"/>
                  <a:gd name="T114" fmla="*/ 1449 w 1808"/>
                  <a:gd name="T115" fmla="*/ 742 h 850"/>
                  <a:gd name="T116" fmla="*/ 1477 w 1808"/>
                  <a:gd name="T117" fmla="*/ 783 h 850"/>
                  <a:gd name="T118" fmla="*/ 1477 w 1808"/>
                  <a:gd name="T119" fmla="*/ 811 h 850"/>
                  <a:gd name="T120" fmla="*/ 1426 w 1808"/>
                  <a:gd name="T121" fmla="*/ 848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Freeform 6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803149" y="2422959"/>
                <a:ext cx="1836945" cy="770116"/>
              </a:xfrm>
              <a:custGeom>
                <a:avLst/>
                <a:gdLst>
                  <a:gd name="T0" fmla="*/ 2928 w 3175"/>
                  <a:gd name="T1" fmla="*/ 353 h 1472"/>
                  <a:gd name="T2" fmla="*/ 2896 w 3175"/>
                  <a:gd name="T3" fmla="*/ 440 h 1472"/>
                  <a:gd name="T4" fmla="*/ 2843 w 3175"/>
                  <a:gd name="T5" fmla="*/ 462 h 1472"/>
                  <a:gd name="T6" fmla="*/ 2667 w 3175"/>
                  <a:gd name="T7" fmla="*/ 566 h 1472"/>
                  <a:gd name="T8" fmla="*/ 2595 w 3175"/>
                  <a:gd name="T9" fmla="*/ 585 h 1472"/>
                  <a:gd name="T10" fmla="*/ 2570 w 3175"/>
                  <a:gd name="T11" fmla="*/ 677 h 1472"/>
                  <a:gd name="T12" fmla="*/ 2514 w 3175"/>
                  <a:gd name="T13" fmla="*/ 621 h 1472"/>
                  <a:gd name="T14" fmla="*/ 2499 w 3175"/>
                  <a:gd name="T15" fmla="*/ 690 h 1472"/>
                  <a:gd name="T16" fmla="*/ 2465 w 3175"/>
                  <a:gd name="T17" fmla="*/ 744 h 1472"/>
                  <a:gd name="T18" fmla="*/ 2471 w 3175"/>
                  <a:gd name="T19" fmla="*/ 823 h 1472"/>
                  <a:gd name="T20" fmla="*/ 2332 w 3175"/>
                  <a:gd name="T21" fmla="*/ 928 h 1472"/>
                  <a:gd name="T22" fmla="*/ 2165 w 3175"/>
                  <a:gd name="T23" fmla="*/ 1045 h 1472"/>
                  <a:gd name="T24" fmla="*/ 2112 w 3175"/>
                  <a:gd name="T25" fmla="*/ 1195 h 1472"/>
                  <a:gd name="T26" fmla="*/ 2103 w 3175"/>
                  <a:gd name="T27" fmla="*/ 1457 h 1472"/>
                  <a:gd name="T28" fmla="*/ 2026 w 3175"/>
                  <a:gd name="T29" fmla="*/ 1414 h 1472"/>
                  <a:gd name="T30" fmla="*/ 1993 w 3175"/>
                  <a:gd name="T31" fmla="*/ 1326 h 1472"/>
                  <a:gd name="T32" fmla="*/ 1959 w 3175"/>
                  <a:gd name="T33" fmla="*/ 1184 h 1472"/>
                  <a:gd name="T34" fmla="*/ 1832 w 3175"/>
                  <a:gd name="T35" fmla="*/ 1168 h 1472"/>
                  <a:gd name="T36" fmla="*/ 1653 w 3175"/>
                  <a:gd name="T37" fmla="*/ 1143 h 1472"/>
                  <a:gd name="T38" fmla="*/ 1616 w 3175"/>
                  <a:gd name="T39" fmla="*/ 1186 h 1472"/>
                  <a:gd name="T40" fmla="*/ 1548 w 3175"/>
                  <a:gd name="T41" fmla="*/ 1238 h 1472"/>
                  <a:gd name="T42" fmla="*/ 1436 w 3175"/>
                  <a:gd name="T43" fmla="*/ 1192 h 1472"/>
                  <a:gd name="T44" fmla="*/ 1231 w 3175"/>
                  <a:gd name="T45" fmla="*/ 1272 h 1472"/>
                  <a:gd name="T46" fmla="*/ 1160 w 3175"/>
                  <a:gd name="T47" fmla="*/ 1392 h 1472"/>
                  <a:gd name="T48" fmla="*/ 1080 w 3175"/>
                  <a:gd name="T49" fmla="*/ 1382 h 1472"/>
                  <a:gd name="T50" fmla="*/ 1037 w 3175"/>
                  <a:gd name="T51" fmla="*/ 1227 h 1472"/>
                  <a:gd name="T52" fmla="*/ 940 w 3175"/>
                  <a:gd name="T53" fmla="*/ 1190 h 1472"/>
                  <a:gd name="T54" fmla="*/ 867 w 3175"/>
                  <a:gd name="T55" fmla="*/ 1219 h 1472"/>
                  <a:gd name="T56" fmla="*/ 782 w 3175"/>
                  <a:gd name="T57" fmla="*/ 1087 h 1472"/>
                  <a:gd name="T58" fmla="*/ 670 w 3175"/>
                  <a:gd name="T59" fmla="*/ 1065 h 1472"/>
                  <a:gd name="T60" fmla="*/ 462 w 3175"/>
                  <a:gd name="T61" fmla="*/ 1065 h 1472"/>
                  <a:gd name="T62" fmla="*/ 220 w 3175"/>
                  <a:gd name="T63" fmla="*/ 1016 h 1472"/>
                  <a:gd name="T64" fmla="*/ 88 w 3175"/>
                  <a:gd name="T65" fmla="*/ 920 h 1472"/>
                  <a:gd name="T66" fmla="*/ 39 w 3175"/>
                  <a:gd name="T67" fmla="*/ 848 h 1472"/>
                  <a:gd name="T68" fmla="*/ 29 w 3175"/>
                  <a:gd name="T69" fmla="*/ 662 h 1472"/>
                  <a:gd name="T70" fmla="*/ 0 w 3175"/>
                  <a:gd name="T71" fmla="*/ 604 h 1472"/>
                  <a:gd name="T72" fmla="*/ 141 w 3175"/>
                  <a:gd name="T73" fmla="*/ 336 h 1472"/>
                  <a:gd name="T74" fmla="*/ 247 w 3175"/>
                  <a:gd name="T75" fmla="*/ 176 h 1472"/>
                  <a:gd name="T76" fmla="*/ 355 w 3175"/>
                  <a:gd name="T77" fmla="*/ 102 h 1472"/>
                  <a:gd name="T78" fmla="*/ 376 w 3175"/>
                  <a:gd name="T79" fmla="*/ 120 h 1472"/>
                  <a:gd name="T80" fmla="*/ 1827 w 3175"/>
                  <a:gd name="T81" fmla="*/ 0 h 1472"/>
                  <a:gd name="T82" fmla="*/ 1926 w 3175"/>
                  <a:gd name="T83" fmla="*/ 55 h 1472"/>
                  <a:gd name="T84" fmla="*/ 2015 w 3175"/>
                  <a:gd name="T85" fmla="*/ 69 h 1472"/>
                  <a:gd name="T86" fmla="*/ 1929 w 3175"/>
                  <a:gd name="T87" fmla="*/ 128 h 1472"/>
                  <a:gd name="T88" fmla="*/ 1977 w 3175"/>
                  <a:gd name="T89" fmla="*/ 166 h 1472"/>
                  <a:gd name="T90" fmla="*/ 2094 w 3175"/>
                  <a:gd name="T91" fmla="*/ 155 h 1472"/>
                  <a:gd name="T92" fmla="*/ 2284 w 3175"/>
                  <a:gd name="T93" fmla="*/ 193 h 1472"/>
                  <a:gd name="T94" fmla="*/ 2217 w 3175"/>
                  <a:gd name="T95" fmla="*/ 204 h 1472"/>
                  <a:gd name="T96" fmla="*/ 2087 w 3175"/>
                  <a:gd name="T97" fmla="*/ 264 h 1472"/>
                  <a:gd name="T98" fmla="*/ 2021 w 3175"/>
                  <a:gd name="T99" fmla="*/ 355 h 1472"/>
                  <a:gd name="T100" fmla="*/ 2012 w 3175"/>
                  <a:gd name="T101" fmla="*/ 451 h 1472"/>
                  <a:gd name="T102" fmla="*/ 2076 w 3175"/>
                  <a:gd name="T103" fmla="*/ 417 h 1472"/>
                  <a:gd name="T104" fmla="*/ 2205 w 3175"/>
                  <a:gd name="T105" fmla="*/ 252 h 1472"/>
                  <a:gd name="T106" fmla="*/ 2267 w 3175"/>
                  <a:gd name="T107" fmla="*/ 303 h 1472"/>
                  <a:gd name="T108" fmla="*/ 2299 w 3175"/>
                  <a:gd name="T109" fmla="*/ 394 h 1472"/>
                  <a:gd name="T110" fmla="*/ 2206 w 3175"/>
                  <a:gd name="T111" fmla="*/ 454 h 1472"/>
                  <a:gd name="T112" fmla="*/ 2317 w 3175"/>
                  <a:gd name="T113" fmla="*/ 457 h 1472"/>
                  <a:gd name="T114" fmla="*/ 2570 w 3175"/>
                  <a:gd name="T115" fmla="*/ 373 h 1472"/>
                  <a:gd name="T116" fmla="*/ 2730 w 3175"/>
                  <a:gd name="T117" fmla="*/ 252 h 1472"/>
                  <a:gd name="T118" fmla="*/ 3016 w 3175"/>
                  <a:gd name="T119" fmla="*/ 203 h 1472"/>
                  <a:gd name="T120" fmla="*/ 3136 w 3175"/>
                  <a:gd name="T121" fmla="*/ 118 h 1472"/>
                  <a:gd name="T122" fmla="*/ 3149 w 3175"/>
                  <a:gd name="T123" fmla="*/ 184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Freeform 7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911650" y="3974305"/>
                <a:ext cx="451846" cy="590686"/>
              </a:xfrm>
              <a:custGeom>
                <a:avLst/>
                <a:gdLst>
                  <a:gd name="T0" fmla="*/ 583 w 784"/>
                  <a:gd name="T1" fmla="*/ 277 h 1128"/>
                  <a:gd name="T2" fmla="*/ 549 w 784"/>
                  <a:gd name="T3" fmla="*/ 295 h 1128"/>
                  <a:gd name="T4" fmla="*/ 484 w 784"/>
                  <a:gd name="T5" fmla="*/ 387 h 1128"/>
                  <a:gd name="T6" fmla="*/ 465 w 784"/>
                  <a:gd name="T7" fmla="*/ 457 h 1128"/>
                  <a:gd name="T8" fmla="*/ 481 w 784"/>
                  <a:gd name="T9" fmla="*/ 522 h 1128"/>
                  <a:gd name="T10" fmla="*/ 530 w 784"/>
                  <a:gd name="T11" fmla="*/ 591 h 1128"/>
                  <a:gd name="T12" fmla="*/ 579 w 784"/>
                  <a:gd name="T13" fmla="*/ 616 h 1128"/>
                  <a:gd name="T14" fmla="*/ 625 w 784"/>
                  <a:gd name="T15" fmla="*/ 600 h 1128"/>
                  <a:gd name="T16" fmla="*/ 654 w 784"/>
                  <a:gd name="T17" fmla="*/ 653 h 1128"/>
                  <a:gd name="T18" fmla="*/ 672 w 784"/>
                  <a:gd name="T19" fmla="*/ 683 h 1128"/>
                  <a:gd name="T20" fmla="*/ 714 w 784"/>
                  <a:gd name="T21" fmla="*/ 687 h 1128"/>
                  <a:gd name="T22" fmla="*/ 749 w 784"/>
                  <a:gd name="T23" fmla="*/ 712 h 1128"/>
                  <a:gd name="T24" fmla="*/ 770 w 784"/>
                  <a:gd name="T25" fmla="*/ 756 h 1128"/>
                  <a:gd name="T26" fmla="*/ 761 w 784"/>
                  <a:gd name="T27" fmla="*/ 790 h 1128"/>
                  <a:gd name="T28" fmla="*/ 760 w 784"/>
                  <a:gd name="T29" fmla="*/ 825 h 1128"/>
                  <a:gd name="T30" fmla="*/ 772 w 784"/>
                  <a:gd name="T31" fmla="*/ 882 h 1128"/>
                  <a:gd name="T32" fmla="*/ 758 w 784"/>
                  <a:gd name="T33" fmla="*/ 932 h 1128"/>
                  <a:gd name="T34" fmla="*/ 770 w 784"/>
                  <a:gd name="T35" fmla="*/ 994 h 1128"/>
                  <a:gd name="T36" fmla="*/ 763 w 784"/>
                  <a:gd name="T37" fmla="*/ 1054 h 1128"/>
                  <a:gd name="T38" fmla="*/ 691 w 784"/>
                  <a:gd name="T39" fmla="*/ 1122 h 1128"/>
                  <a:gd name="T40" fmla="*/ 648 w 784"/>
                  <a:gd name="T41" fmla="*/ 1103 h 1128"/>
                  <a:gd name="T42" fmla="*/ 602 w 784"/>
                  <a:gd name="T43" fmla="*/ 1056 h 1128"/>
                  <a:gd name="T44" fmla="*/ 463 w 784"/>
                  <a:gd name="T45" fmla="*/ 998 h 1128"/>
                  <a:gd name="T46" fmla="*/ 425 w 784"/>
                  <a:gd name="T47" fmla="*/ 967 h 1128"/>
                  <a:gd name="T48" fmla="*/ 331 w 784"/>
                  <a:gd name="T49" fmla="*/ 894 h 1128"/>
                  <a:gd name="T50" fmla="*/ 318 w 784"/>
                  <a:gd name="T51" fmla="*/ 867 h 1128"/>
                  <a:gd name="T52" fmla="*/ 328 w 784"/>
                  <a:gd name="T53" fmla="*/ 815 h 1128"/>
                  <a:gd name="T54" fmla="*/ 290 w 784"/>
                  <a:gd name="T55" fmla="*/ 778 h 1128"/>
                  <a:gd name="T56" fmla="*/ 259 w 784"/>
                  <a:gd name="T57" fmla="*/ 745 h 1128"/>
                  <a:gd name="T58" fmla="*/ 243 w 784"/>
                  <a:gd name="T59" fmla="*/ 689 h 1128"/>
                  <a:gd name="T60" fmla="*/ 153 w 784"/>
                  <a:gd name="T61" fmla="*/ 530 h 1128"/>
                  <a:gd name="T62" fmla="*/ 120 w 784"/>
                  <a:gd name="T63" fmla="*/ 487 h 1128"/>
                  <a:gd name="T64" fmla="*/ 90 w 784"/>
                  <a:gd name="T65" fmla="*/ 432 h 1128"/>
                  <a:gd name="T66" fmla="*/ 22 w 784"/>
                  <a:gd name="T67" fmla="*/ 397 h 1128"/>
                  <a:gd name="T68" fmla="*/ 0 w 784"/>
                  <a:gd name="T69" fmla="*/ 363 h 1128"/>
                  <a:gd name="T70" fmla="*/ 13 w 784"/>
                  <a:gd name="T71" fmla="*/ 276 h 1128"/>
                  <a:gd name="T72" fmla="*/ 28 w 784"/>
                  <a:gd name="T73" fmla="*/ 246 h 1128"/>
                  <a:gd name="T74" fmla="*/ 72 w 784"/>
                  <a:gd name="T75" fmla="*/ 222 h 1128"/>
                  <a:gd name="T76" fmla="*/ 95 w 784"/>
                  <a:gd name="T77" fmla="*/ 272 h 1128"/>
                  <a:gd name="T78" fmla="*/ 158 w 784"/>
                  <a:gd name="T79" fmla="*/ 307 h 1128"/>
                  <a:gd name="T80" fmla="*/ 184 w 784"/>
                  <a:gd name="T81" fmla="*/ 271 h 1128"/>
                  <a:gd name="T82" fmla="*/ 201 w 784"/>
                  <a:gd name="T83" fmla="*/ 225 h 1128"/>
                  <a:gd name="T84" fmla="*/ 270 w 784"/>
                  <a:gd name="T85" fmla="*/ 170 h 1128"/>
                  <a:gd name="T86" fmla="*/ 344 w 784"/>
                  <a:gd name="T87" fmla="*/ 120 h 1128"/>
                  <a:gd name="T88" fmla="*/ 357 w 784"/>
                  <a:gd name="T89" fmla="*/ 70 h 1128"/>
                  <a:gd name="T90" fmla="*/ 347 w 784"/>
                  <a:gd name="T91" fmla="*/ 5 h 1128"/>
                  <a:gd name="T92" fmla="*/ 422 w 784"/>
                  <a:gd name="T93" fmla="*/ 53 h 1128"/>
                  <a:gd name="T94" fmla="*/ 467 w 784"/>
                  <a:gd name="T95" fmla="*/ 107 h 1128"/>
                  <a:gd name="T96" fmla="*/ 506 w 784"/>
                  <a:gd name="T97" fmla="*/ 154 h 1128"/>
                  <a:gd name="T98" fmla="*/ 561 w 784"/>
                  <a:gd name="T99" fmla="*/ 157 h 1128"/>
                  <a:gd name="T100" fmla="*/ 617 w 784"/>
                  <a:gd name="T101" fmla="*/ 149 h 1128"/>
                  <a:gd name="T102" fmla="*/ 640 w 784"/>
                  <a:gd name="T103" fmla="*/ 156 h 1128"/>
                  <a:gd name="T104" fmla="*/ 654 w 784"/>
                  <a:gd name="T105" fmla="*/ 193 h 1128"/>
                  <a:gd name="T106" fmla="*/ 627 w 784"/>
                  <a:gd name="T107" fmla="*/ 210 h 1128"/>
                  <a:gd name="T108" fmla="*/ 627 w 784"/>
                  <a:gd name="T109" fmla="*/ 240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Freeform 8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23849" y="4537998"/>
                <a:ext cx="348386" cy="1130561"/>
              </a:xfrm>
              <a:custGeom>
                <a:avLst/>
                <a:gdLst>
                  <a:gd name="T0" fmla="*/ 418 w 598"/>
                  <a:gd name="T1" fmla="*/ 2021 h 2158"/>
                  <a:gd name="T2" fmla="*/ 342 w 598"/>
                  <a:gd name="T3" fmla="*/ 1955 h 2158"/>
                  <a:gd name="T4" fmla="*/ 339 w 598"/>
                  <a:gd name="T5" fmla="*/ 1893 h 2158"/>
                  <a:gd name="T6" fmla="*/ 345 w 598"/>
                  <a:gd name="T7" fmla="*/ 1843 h 2158"/>
                  <a:gd name="T8" fmla="*/ 362 w 598"/>
                  <a:gd name="T9" fmla="*/ 1791 h 2158"/>
                  <a:gd name="T10" fmla="*/ 354 w 598"/>
                  <a:gd name="T11" fmla="*/ 1740 h 2158"/>
                  <a:gd name="T12" fmla="*/ 332 w 598"/>
                  <a:gd name="T13" fmla="*/ 1683 h 2158"/>
                  <a:gd name="T14" fmla="*/ 303 w 598"/>
                  <a:gd name="T15" fmla="*/ 1581 h 2158"/>
                  <a:gd name="T16" fmla="*/ 226 w 598"/>
                  <a:gd name="T17" fmla="*/ 1460 h 2158"/>
                  <a:gd name="T18" fmla="*/ 206 w 598"/>
                  <a:gd name="T19" fmla="*/ 1381 h 2158"/>
                  <a:gd name="T20" fmla="*/ 217 w 598"/>
                  <a:gd name="T21" fmla="*/ 1299 h 2158"/>
                  <a:gd name="T22" fmla="*/ 208 w 598"/>
                  <a:gd name="T23" fmla="*/ 1235 h 2158"/>
                  <a:gd name="T24" fmla="*/ 185 w 598"/>
                  <a:gd name="T25" fmla="*/ 1165 h 2158"/>
                  <a:gd name="T26" fmla="*/ 211 w 598"/>
                  <a:gd name="T27" fmla="*/ 1123 h 2158"/>
                  <a:gd name="T28" fmla="*/ 195 w 598"/>
                  <a:gd name="T29" fmla="*/ 1082 h 2158"/>
                  <a:gd name="T30" fmla="*/ 211 w 598"/>
                  <a:gd name="T31" fmla="*/ 1025 h 2158"/>
                  <a:gd name="T32" fmla="*/ 210 w 598"/>
                  <a:gd name="T33" fmla="*/ 993 h 2158"/>
                  <a:gd name="T34" fmla="*/ 187 w 598"/>
                  <a:gd name="T35" fmla="*/ 927 h 2158"/>
                  <a:gd name="T36" fmla="*/ 136 w 598"/>
                  <a:gd name="T37" fmla="*/ 852 h 2158"/>
                  <a:gd name="T38" fmla="*/ 134 w 598"/>
                  <a:gd name="T39" fmla="*/ 686 h 2158"/>
                  <a:gd name="T40" fmla="*/ 183 w 598"/>
                  <a:gd name="T41" fmla="*/ 584 h 2158"/>
                  <a:gd name="T42" fmla="*/ 189 w 598"/>
                  <a:gd name="T43" fmla="*/ 522 h 2158"/>
                  <a:gd name="T44" fmla="*/ 160 w 598"/>
                  <a:gd name="T45" fmla="*/ 459 h 2158"/>
                  <a:gd name="T46" fmla="*/ 182 w 598"/>
                  <a:gd name="T47" fmla="*/ 406 h 2158"/>
                  <a:gd name="T48" fmla="*/ 229 w 598"/>
                  <a:gd name="T49" fmla="*/ 346 h 2158"/>
                  <a:gd name="T50" fmla="*/ 200 w 598"/>
                  <a:gd name="T51" fmla="*/ 308 h 2158"/>
                  <a:gd name="T52" fmla="*/ 148 w 598"/>
                  <a:gd name="T53" fmla="*/ 222 h 2158"/>
                  <a:gd name="T54" fmla="*/ 129 w 598"/>
                  <a:gd name="T55" fmla="*/ 125 h 2158"/>
                  <a:gd name="T56" fmla="*/ 91 w 598"/>
                  <a:gd name="T57" fmla="*/ 37 h 2158"/>
                  <a:gd name="T58" fmla="*/ 0 w 598"/>
                  <a:gd name="T59" fmla="*/ 44 h 2158"/>
                  <a:gd name="T60" fmla="*/ 31 w 598"/>
                  <a:gd name="T61" fmla="*/ 200 h 2158"/>
                  <a:gd name="T62" fmla="*/ 42 w 598"/>
                  <a:gd name="T63" fmla="*/ 304 h 2158"/>
                  <a:gd name="T64" fmla="*/ 27 w 598"/>
                  <a:gd name="T65" fmla="*/ 374 h 2158"/>
                  <a:gd name="T66" fmla="*/ 52 w 598"/>
                  <a:gd name="T67" fmla="*/ 524 h 2158"/>
                  <a:gd name="T68" fmla="*/ 46 w 598"/>
                  <a:gd name="T69" fmla="*/ 649 h 2158"/>
                  <a:gd name="T70" fmla="*/ 36 w 598"/>
                  <a:gd name="T71" fmla="*/ 718 h 2158"/>
                  <a:gd name="T72" fmla="*/ 52 w 598"/>
                  <a:gd name="T73" fmla="*/ 767 h 2158"/>
                  <a:gd name="T74" fmla="*/ 64 w 598"/>
                  <a:gd name="T75" fmla="*/ 871 h 2158"/>
                  <a:gd name="T76" fmla="*/ 81 w 598"/>
                  <a:gd name="T77" fmla="*/ 913 h 2158"/>
                  <a:gd name="T78" fmla="*/ 73 w 598"/>
                  <a:gd name="T79" fmla="*/ 1045 h 2158"/>
                  <a:gd name="T80" fmla="*/ 63 w 598"/>
                  <a:gd name="T81" fmla="*/ 1152 h 2158"/>
                  <a:gd name="T82" fmla="*/ 40 w 598"/>
                  <a:gd name="T83" fmla="*/ 1188 h 2158"/>
                  <a:gd name="T84" fmla="*/ 60 w 598"/>
                  <a:gd name="T85" fmla="*/ 1258 h 2158"/>
                  <a:gd name="T86" fmla="*/ 106 w 598"/>
                  <a:gd name="T87" fmla="*/ 1343 h 2158"/>
                  <a:gd name="T88" fmla="*/ 93 w 598"/>
                  <a:gd name="T89" fmla="*/ 1396 h 2158"/>
                  <a:gd name="T90" fmla="*/ 106 w 598"/>
                  <a:gd name="T91" fmla="*/ 1449 h 2158"/>
                  <a:gd name="T92" fmla="*/ 164 w 598"/>
                  <a:gd name="T93" fmla="*/ 1467 h 2158"/>
                  <a:gd name="T94" fmla="*/ 209 w 598"/>
                  <a:gd name="T95" fmla="*/ 1621 h 2158"/>
                  <a:gd name="T96" fmla="*/ 227 w 598"/>
                  <a:gd name="T97" fmla="*/ 1709 h 2158"/>
                  <a:gd name="T98" fmla="*/ 151 w 598"/>
                  <a:gd name="T99" fmla="*/ 1749 h 2158"/>
                  <a:gd name="T100" fmla="*/ 207 w 598"/>
                  <a:gd name="T101" fmla="*/ 1776 h 2158"/>
                  <a:gd name="T102" fmla="*/ 250 w 598"/>
                  <a:gd name="T103" fmla="*/ 1820 h 2158"/>
                  <a:gd name="T104" fmla="*/ 275 w 598"/>
                  <a:gd name="T105" fmla="*/ 1871 h 2158"/>
                  <a:gd name="T106" fmla="*/ 308 w 598"/>
                  <a:gd name="T107" fmla="*/ 1961 h 2158"/>
                  <a:gd name="T108" fmla="*/ 359 w 598"/>
                  <a:gd name="T109" fmla="*/ 2013 h 2158"/>
                  <a:gd name="T110" fmla="*/ 393 w 598"/>
                  <a:gd name="T111" fmla="*/ 2048 h 2158"/>
                  <a:gd name="T112" fmla="*/ 424 w 598"/>
                  <a:gd name="T113" fmla="*/ 2074 h 2158"/>
                  <a:gd name="T114" fmla="*/ 465 w 598"/>
                  <a:gd name="T115" fmla="*/ 2110 h 2158"/>
                  <a:gd name="T116" fmla="*/ 519 w 598"/>
                  <a:gd name="T117" fmla="*/ 2140 h 2158"/>
                  <a:gd name="T118" fmla="*/ 538 w 598"/>
                  <a:gd name="T119" fmla="*/ 2151 h 2158"/>
                  <a:gd name="T120" fmla="*/ 586 w 598"/>
                  <a:gd name="T121" fmla="*/ 2098 h 2158"/>
                  <a:gd name="T122" fmla="*/ 591 w 598"/>
                  <a:gd name="T123" fmla="*/ 2071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Freeform 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184025" y="3820282"/>
                <a:ext cx="1285861" cy="1203604"/>
              </a:xfrm>
              <a:custGeom>
                <a:avLst/>
                <a:gdLst>
                  <a:gd name="T0" fmla="*/ 440 w 2226"/>
                  <a:gd name="T1" fmla="*/ 896 h 2292"/>
                  <a:gd name="T2" fmla="*/ 505 w 2226"/>
                  <a:gd name="T3" fmla="*/ 985 h 2292"/>
                  <a:gd name="T4" fmla="*/ 572 w 2226"/>
                  <a:gd name="T5" fmla="*/ 1054 h 2292"/>
                  <a:gd name="T6" fmla="*/ 716 w 2226"/>
                  <a:gd name="T7" fmla="*/ 1098 h 2292"/>
                  <a:gd name="T8" fmla="*/ 798 w 2226"/>
                  <a:gd name="T9" fmla="*/ 1204 h 2292"/>
                  <a:gd name="T10" fmla="*/ 846 w 2226"/>
                  <a:gd name="T11" fmla="*/ 1292 h 2292"/>
                  <a:gd name="T12" fmla="*/ 939 w 2226"/>
                  <a:gd name="T13" fmla="*/ 1355 h 2292"/>
                  <a:gd name="T14" fmla="*/ 957 w 2226"/>
                  <a:gd name="T15" fmla="*/ 1466 h 2292"/>
                  <a:gd name="T16" fmla="*/ 976 w 2226"/>
                  <a:gd name="T17" fmla="*/ 1541 h 2292"/>
                  <a:gd name="T18" fmla="*/ 992 w 2226"/>
                  <a:gd name="T19" fmla="*/ 1632 h 2292"/>
                  <a:gd name="T20" fmla="*/ 1131 w 2226"/>
                  <a:gd name="T21" fmla="*/ 1698 h 2292"/>
                  <a:gd name="T22" fmla="*/ 1193 w 2226"/>
                  <a:gd name="T23" fmla="*/ 1805 h 2292"/>
                  <a:gd name="T24" fmla="*/ 1243 w 2226"/>
                  <a:gd name="T25" fmla="*/ 1864 h 2292"/>
                  <a:gd name="T26" fmla="*/ 1183 w 2226"/>
                  <a:gd name="T27" fmla="*/ 2003 h 2292"/>
                  <a:gd name="T28" fmla="*/ 1084 w 2226"/>
                  <a:gd name="T29" fmla="*/ 2128 h 2292"/>
                  <a:gd name="T30" fmla="*/ 1180 w 2226"/>
                  <a:gd name="T31" fmla="*/ 2161 h 2292"/>
                  <a:gd name="T32" fmla="*/ 1296 w 2226"/>
                  <a:gd name="T33" fmla="*/ 2234 h 2292"/>
                  <a:gd name="T34" fmla="*/ 1419 w 2226"/>
                  <a:gd name="T35" fmla="*/ 2198 h 2292"/>
                  <a:gd name="T36" fmla="*/ 1518 w 2226"/>
                  <a:gd name="T37" fmla="*/ 2036 h 2292"/>
                  <a:gd name="T38" fmla="*/ 1512 w 2226"/>
                  <a:gd name="T39" fmla="*/ 1918 h 2292"/>
                  <a:gd name="T40" fmla="*/ 1561 w 2226"/>
                  <a:gd name="T41" fmla="*/ 1793 h 2292"/>
                  <a:gd name="T42" fmla="*/ 1706 w 2226"/>
                  <a:gd name="T43" fmla="*/ 1727 h 2292"/>
                  <a:gd name="T44" fmla="*/ 1798 w 2226"/>
                  <a:gd name="T45" fmla="*/ 1681 h 2292"/>
                  <a:gd name="T46" fmla="*/ 1897 w 2226"/>
                  <a:gd name="T47" fmla="*/ 1641 h 2292"/>
                  <a:gd name="T48" fmla="*/ 1982 w 2226"/>
                  <a:gd name="T49" fmla="*/ 1400 h 2292"/>
                  <a:gd name="T50" fmla="*/ 2014 w 2226"/>
                  <a:gd name="T51" fmla="*/ 1288 h 2292"/>
                  <a:gd name="T52" fmla="*/ 2002 w 2226"/>
                  <a:gd name="T53" fmla="*/ 1090 h 2292"/>
                  <a:gd name="T54" fmla="*/ 2073 w 2226"/>
                  <a:gd name="T55" fmla="*/ 1009 h 2292"/>
                  <a:gd name="T56" fmla="*/ 2190 w 2226"/>
                  <a:gd name="T57" fmla="*/ 877 h 2292"/>
                  <a:gd name="T58" fmla="*/ 2222 w 2226"/>
                  <a:gd name="T59" fmla="*/ 732 h 2292"/>
                  <a:gd name="T60" fmla="*/ 2157 w 2226"/>
                  <a:gd name="T61" fmla="*/ 599 h 2292"/>
                  <a:gd name="T62" fmla="*/ 2059 w 2226"/>
                  <a:gd name="T63" fmla="*/ 563 h 2292"/>
                  <a:gd name="T64" fmla="*/ 1921 w 2226"/>
                  <a:gd name="T65" fmla="*/ 462 h 2292"/>
                  <a:gd name="T66" fmla="*/ 1742 w 2226"/>
                  <a:gd name="T67" fmla="*/ 450 h 2292"/>
                  <a:gd name="T68" fmla="*/ 1670 w 2226"/>
                  <a:gd name="T69" fmla="*/ 447 h 2292"/>
                  <a:gd name="T70" fmla="*/ 1636 w 2226"/>
                  <a:gd name="T71" fmla="*/ 394 h 2292"/>
                  <a:gd name="T72" fmla="*/ 1512 w 2226"/>
                  <a:gd name="T73" fmla="*/ 348 h 2292"/>
                  <a:gd name="T74" fmla="*/ 1411 w 2226"/>
                  <a:gd name="T75" fmla="*/ 409 h 2292"/>
                  <a:gd name="T76" fmla="*/ 1338 w 2226"/>
                  <a:gd name="T77" fmla="*/ 405 h 2292"/>
                  <a:gd name="T78" fmla="*/ 1247 w 2226"/>
                  <a:gd name="T79" fmla="*/ 384 h 2292"/>
                  <a:gd name="T80" fmla="*/ 1317 w 2226"/>
                  <a:gd name="T81" fmla="*/ 268 h 2292"/>
                  <a:gd name="T82" fmla="*/ 1338 w 2226"/>
                  <a:gd name="T83" fmla="*/ 184 h 2292"/>
                  <a:gd name="T84" fmla="*/ 1291 w 2226"/>
                  <a:gd name="T85" fmla="*/ 68 h 2292"/>
                  <a:gd name="T86" fmla="*/ 1124 w 2226"/>
                  <a:gd name="T87" fmla="*/ 135 h 2292"/>
                  <a:gd name="T88" fmla="*/ 1003 w 2226"/>
                  <a:gd name="T89" fmla="*/ 170 h 2292"/>
                  <a:gd name="T90" fmla="*/ 960 w 2226"/>
                  <a:gd name="T91" fmla="*/ 187 h 2292"/>
                  <a:gd name="T92" fmla="*/ 812 w 2226"/>
                  <a:gd name="T93" fmla="*/ 176 h 2292"/>
                  <a:gd name="T94" fmla="*/ 811 w 2226"/>
                  <a:gd name="T95" fmla="*/ 67 h 2292"/>
                  <a:gd name="T96" fmla="*/ 745 w 2226"/>
                  <a:gd name="T97" fmla="*/ 0 h 2292"/>
                  <a:gd name="T98" fmla="*/ 700 w 2226"/>
                  <a:gd name="T99" fmla="*/ 31 h 2292"/>
                  <a:gd name="T100" fmla="*/ 589 w 2226"/>
                  <a:gd name="T101" fmla="*/ 70 h 2292"/>
                  <a:gd name="T102" fmla="*/ 560 w 2226"/>
                  <a:gd name="T103" fmla="*/ 198 h 2292"/>
                  <a:gd name="T104" fmla="*/ 453 w 2226"/>
                  <a:gd name="T105" fmla="*/ 258 h 2292"/>
                  <a:gd name="T106" fmla="*/ 286 w 2226"/>
                  <a:gd name="T107" fmla="*/ 197 h 2292"/>
                  <a:gd name="T108" fmla="*/ 253 w 2226"/>
                  <a:gd name="T109" fmla="*/ 240 h 2292"/>
                  <a:gd name="T110" fmla="*/ 198 w 2226"/>
                  <a:gd name="T111" fmla="*/ 311 h 2292"/>
                  <a:gd name="T112" fmla="*/ 246 w 2226"/>
                  <a:gd name="T113" fmla="*/ 388 h 2292"/>
                  <a:gd name="T114" fmla="*/ 194 w 2226"/>
                  <a:gd name="T115" fmla="*/ 560 h 2292"/>
                  <a:gd name="T116" fmla="*/ 100 w 2226"/>
                  <a:gd name="T117" fmla="*/ 567 h 2292"/>
                  <a:gd name="T118" fmla="*/ 16 w 2226"/>
                  <a:gd name="T119" fmla="*/ 687 h 2292"/>
                  <a:gd name="T120" fmla="*/ 22 w 2226"/>
                  <a:gd name="T121" fmla="*/ 824 h 2292"/>
                  <a:gd name="T122" fmla="*/ 120 w 2226"/>
                  <a:gd name="T123" fmla="*/ 905 h 2292"/>
                  <a:gd name="T124" fmla="*/ 191 w 2226"/>
                  <a:gd name="T125" fmla="*/ 949 h 2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Freeform 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52916" y="2765938"/>
                <a:ext cx="92903" cy="49224"/>
              </a:xfrm>
              <a:custGeom>
                <a:avLst/>
                <a:gdLst>
                  <a:gd name="T0" fmla="*/ 94 w 161"/>
                  <a:gd name="T1" fmla="*/ 0 h 93"/>
                  <a:gd name="T2" fmla="*/ 107 w 161"/>
                  <a:gd name="T3" fmla="*/ 18 h 93"/>
                  <a:gd name="T4" fmla="*/ 112 w 161"/>
                  <a:gd name="T5" fmla="*/ 12 h 93"/>
                  <a:gd name="T6" fmla="*/ 117 w 161"/>
                  <a:gd name="T7" fmla="*/ 8 h 93"/>
                  <a:gd name="T8" fmla="*/ 122 w 161"/>
                  <a:gd name="T9" fmla="*/ 5 h 93"/>
                  <a:gd name="T10" fmla="*/ 127 w 161"/>
                  <a:gd name="T11" fmla="*/ 3 h 93"/>
                  <a:gd name="T12" fmla="*/ 137 w 161"/>
                  <a:gd name="T13" fmla="*/ 1 h 93"/>
                  <a:gd name="T14" fmla="*/ 148 w 161"/>
                  <a:gd name="T15" fmla="*/ 0 h 93"/>
                  <a:gd name="T16" fmla="*/ 151 w 161"/>
                  <a:gd name="T17" fmla="*/ 0 h 93"/>
                  <a:gd name="T18" fmla="*/ 161 w 161"/>
                  <a:gd name="T19" fmla="*/ 0 h 93"/>
                  <a:gd name="T20" fmla="*/ 161 w 161"/>
                  <a:gd name="T21" fmla="*/ 92 h 93"/>
                  <a:gd name="T22" fmla="*/ 155 w 161"/>
                  <a:gd name="T23" fmla="*/ 93 h 93"/>
                  <a:gd name="T24" fmla="*/ 150 w 161"/>
                  <a:gd name="T25" fmla="*/ 93 h 93"/>
                  <a:gd name="T26" fmla="*/ 145 w 161"/>
                  <a:gd name="T27" fmla="*/ 92 h 93"/>
                  <a:gd name="T28" fmla="*/ 140 w 161"/>
                  <a:gd name="T29" fmla="*/ 91 h 93"/>
                  <a:gd name="T30" fmla="*/ 129 w 161"/>
                  <a:gd name="T31" fmla="*/ 88 h 93"/>
                  <a:gd name="T32" fmla="*/ 120 w 161"/>
                  <a:gd name="T33" fmla="*/ 82 h 93"/>
                  <a:gd name="T34" fmla="*/ 111 w 161"/>
                  <a:gd name="T35" fmla="*/ 75 h 93"/>
                  <a:gd name="T36" fmla="*/ 104 w 161"/>
                  <a:gd name="T37" fmla="*/ 67 h 93"/>
                  <a:gd name="T38" fmla="*/ 97 w 161"/>
                  <a:gd name="T39" fmla="*/ 59 h 93"/>
                  <a:gd name="T40" fmla="*/ 94 w 161"/>
                  <a:gd name="T41" fmla="*/ 49 h 93"/>
                  <a:gd name="T42" fmla="*/ 92 w 161"/>
                  <a:gd name="T43" fmla="*/ 50 h 93"/>
                  <a:gd name="T44" fmla="*/ 89 w 161"/>
                  <a:gd name="T45" fmla="*/ 51 h 93"/>
                  <a:gd name="T46" fmla="*/ 86 w 161"/>
                  <a:gd name="T47" fmla="*/ 51 h 93"/>
                  <a:gd name="T48" fmla="*/ 84 w 161"/>
                  <a:gd name="T49" fmla="*/ 51 h 93"/>
                  <a:gd name="T50" fmla="*/ 78 w 161"/>
                  <a:gd name="T51" fmla="*/ 50 h 93"/>
                  <a:gd name="T52" fmla="*/ 74 w 161"/>
                  <a:gd name="T53" fmla="*/ 49 h 93"/>
                  <a:gd name="T54" fmla="*/ 65 w 161"/>
                  <a:gd name="T55" fmla="*/ 48 h 93"/>
                  <a:gd name="T56" fmla="*/ 55 w 161"/>
                  <a:gd name="T57" fmla="*/ 45 h 93"/>
                  <a:gd name="T58" fmla="*/ 44 w 161"/>
                  <a:gd name="T59" fmla="*/ 40 h 93"/>
                  <a:gd name="T60" fmla="*/ 32 w 161"/>
                  <a:gd name="T61" fmla="*/ 34 h 93"/>
                  <a:gd name="T62" fmla="*/ 21 w 161"/>
                  <a:gd name="T63" fmla="*/ 26 h 93"/>
                  <a:gd name="T64" fmla="*/ 12 w 161"/>
                  <a:gd name="T65" fmla="*/ 18 h 93"/>
                  <a:gd name="T66" fmla="*/ 8 w 161"/>
                  <a:gd name="T67" fmla="*/ 14 h 93"/>
                  <a:gd name="T68" fmla="*/ 5 w 161"/>
                  <a:gd name="T69" fmla="*/ 9 h 93"/>
                  <a:gd name="T70" fmla="*/ 3 w 161"/>
                  <a:gd name="T71" fmla="*/ 5 h 93"/>
                  <a:gd name="T72" fmla="*/ 0 w 161"/>
                  <a:gd name="T73" fmla="*/ 0 h 93"/>
                  <a:gd name="T74" fmla="*/ 94 w 161"/>
                  <a:gd name="T75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Freeform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185704" y="2640497"/>
                <a:ext cx="109794" cy="160374"/>
              </a:xfrm>
              <a:custGeom>
                <a:avLst/>
                <a:gdLst>
                  <a:gd name="T0" fmla="*/ 38 w 192"/>
                  <a:gd name="T1" fmla="*/ 3 h 307"/>
                  <a:gd name="T2" fmla="*/ 37 w 192"/>
                  <a:gd name="T3" fmla="*/ 0 h 307"/>
                  <a:gd name="T4" fmla="*/ 57 w 192"/>
                  <a:gd name="T5" fmla="*/ 3 h 307"/>
                  <a:gd name="T6" fmla="*/ 110 w 192"/>
                  <a:gd name="T7" fmla="*/ 14 h 307"/>
                  <a:gd name="T8" fmla="*/ 155 w 192"/>
                  <a:gd name="T9" fmla="*/ 25 h 307"/>
                  <a:gd name="T10" fmla="*/ 181 w 192"/>
                  <a:gd name="T11" fmla="*/ 28 h 307"/>
                  <a:gd name="T12" fmla="*/ 192 w 192"/>
                  <a:gd name="T13" fmla="*/ 35 h 307"/>
                  <a:gd name="T14" fmla="*/ 188 w 192"/>
                  <a:gd name="T15" fmla="*/ 47 h 307"/>
                  <a:gd name="T16" fmla="*/ 175 w 192"/>
                  <a:gd name="T17" fmla="*/ 82 h 307"/>
                  <a:gd name="T18" fmla="*/ 158 w 192"/>
                  <a:gd name="T19" fmla="*/ 127 h 307"/>
                  <a:gd name="T20" fmla="*/ 147 w 192"/>
                  <a:gd name="T21" fmla="*/ 165 h 307"/>
                  <a:gd name="T22" fmla="*/ 146 w 192"/>
                  <a:gd name="T23" fmla="*/ 207 h 307"/>
                  <a:gd name="T24" fmla="*/ 144 w 192"/>
                  <a:gd name="T25" fmla="*/ 249 h 307"/>
                  <a:gd name="T26" fmla="*/ 134 w 192"/>
                  <a:gd name="T27" fmla="*/ 277 h 307"/>
                  <a:gd name="T28" fmla="*/ 106 w 192"/>
                  <a:gd name="T29" fmla="*/ 296 h 307"/>
                  <a:gd name="T30" fmla="*/ 83 w 192"/>
                  <a:gd name="T31" fmla="*/ 303 h 307"/>
                  <a:gd name="T32" fmla="*/ 72 w 192"/>
                  <a:gd name="T33" fmla="*/ 307 h 307"/>
                  <a:gd name="T34" fmla="*/ 52 w 192"/>
                  <a:gd name="T35" fmla="*/ 305 h 307"/>
                  <a:gd name="T36" fmla="*/ 32 w 192"/>
                  <a:gd name="T37" fmla="*/ 291 h 307"/>
                  <a:gd name="T38" fmla="*/ 30 w 192"/>
                  <a:gd name="T39" fmla="*/ 277 h 307"/>
                  <a:gd name="T40" fmla="*/ 22 w 192"/>
                  <a:gd name="T41" fmla="*/ 257 h 307"/>
                  <a:gd name="T42" fmla="*/ 10 w 192"/>
                  <a:gd name="T43" fmla="*/ 231 h 307"/>
                  <a:gd name="T44" fmla="*/ 2 w 192"/>
                  <a:gd name="T45" fmla="*/ 211 h 307"/>
                  <a:gd name="T46" fmla="*/ 0 w 192"/>
                  <a:gd name="T47" fmla="*/ 197 h 307"/>
                  <a:gd name="T48" fmla="*/ 0 w 192"/>
                  <a:gd name="T49" fmla="*/ 180 h 307"/>
                  <a:gd name="T50" fmla="*/ 2 w 192"/>
                  <a:gd name="T51" fmla="*/ 165 h 307"/>
                  <a:gd name="T52" fmla="*/ 11 w 192"/>
                  <a:gd name="T53" fmla="*/ 145 h 307"/>
                  <a:gd name="T54" fmla="*/ 33 w 192"/>
                  <a:gd name="T55" fmla="*/ 109 h 307"/>
                  <a:gd name="T56" fmla="*/ 48 w 192"/>
                  <a:gd name="T57" fmla="*/ 81 h 307"/>
                  <a:gd name="T58" fmla="*/ 52 w 192"/>
                  <a:gd name="T59" fmla="*/ 62 h 307"/>
                  <a:gd name="T60" fmla="*/ 53 w 192"/>
                  <a:gd name="T61" fmla="*/ 41 h 307"/>
                  <a:gd name="T62" fmla="*/ 55 w 192"/>
                  <a:gd name="T63" fmla="*/ 30 h 307"/>
                  <a:gd name="T64" fmla="*/ 57 w 192"/>
                  <a:gd name="T65" fmla="*/ 26 h 307"/>
                  <a:gd name="T66" fmla="*/ 60 w 192"/>
                  <a:gd name="T67" fmla="*/ 22 h 307"/>
                  <a:gd name="T68" fmla="*/ 44 w 192"/>
                  <a:gd name="T69" fmla="*/ 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Freeform 1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93388" y="2126028"/>
                <a:ext cx="228034" cy="269937"/>
              </a:xfrm>
              <a:custGeom>
                <a:avLst/>
                <a:gdLst>
                  <a:gd name="T0" fmla="*/ 26 w 398"/>
                  <a:gd name="T1" fmla="*/ 2 h 518"/>
                  <a:gd name="T2" fmla="*/ 95 w 398"/>
                  <a:gd name="T3" fmla="*/ 13 h 518"/>
                  <a:gd name="T4" fmla="*/ 116 w 398"/>
                  <a:gd name="T5" fmla="*/ 23 h 518"/>
                  <a:gd name="T6" fmla="*/ 80 w 398"/>
                  <a:gd name="T7" fmla="*/ 47 h 518"/>
                  <a:gd name="T8" fmla="*/ 64 w 398"/>
                  <a:gd name="T9" fmla="*/ 62 h 518"/>
                  <a:gd name="T10" fmla="*/ 77 w 398"/>
                  <a:gd name="T11" fmla="*/ 69 h 518"/>
                  <a:gd name="T12" fmla="*/ 167 w 398"/>
                  <a:gd name="T13" fmla="*/ 79 h 518"/>
                  <a:gd name="T14" fmla="*/ 210 w 398"/>
                  <a:gd name="T15" fmla="*/ 109 h 518"/>
                  <a:gd name="T16" fmla="*/ 154 w 398"/>
                  <a:gd name="T17" fmla="*/ 127 h 518"/>
                  <a:gd name="T18" fmla="*/ 147 w 398"/>
                  <a:gd name="T19" fmla="*/ 138 h 518"/>
                  <a:gd name="T20" fmla="*/ 191 w 398"/>
                  <a:gd name="T21" fmla="*/ 143 h 518"/>
                  <a:gd name="T22" fmla="*/ 211 w 398"/>
                  <a:gd name="T23" fmla="*/ 156 h 518"/>
                  <a:gd name="T24" fmla="*/ 243 w 398"/>
                  <a:gd name="T25" fmla="*/ 191 h 518"/>
                  <a:gd name="T26" fmla="*/ 258 w 398"/>
                  <a:gd name="T27" fmla="*/ 212 h 518"/>
                  <a:gd name="T28" fmla="*/ 260 w 398"/>
                  <a:gd name="T29" fmla="*/ 237 h 518"/>
                  <a:gd name="T30" fmla="*/ 272 w 398"/>
                  <a:gd name="T31" fmla="*/ 254 h 518"/>
                  <a:gd name="T32" fmla="*/ 286 w 398"/>
                  <a:gd name="T33" fmla="*/ 279 h 518"/>
                  <a:gd name="T34" fmla="*/ 306 w 398"/>
                  <a:gd name="T35" fmla="*/ 297 h 518"/>
                  <a:gd name="T36" fmla="*/ 327 w 398"/>
                  <a:gd name="T37" fmla="*/ 320 h 518"/>
                  <a:gd name="T38" fmla="*/ 346 w 398"/>
                  <a:gd name="T39" fmla="*/ 337 h 518"/>
                  <a:gd name="T40" fmla="*/ 370 w 398"/>
                  <a:gd name="T41" fmla="*/ 341 h 518"/>
                  <a:gd name="T42" fmla="*/ 396 w 398"/>
                  <a:gd name="T43" fmla="*/ 365 h 518"/>
                  <a:gd name="T44" fmla="*/ 395 w 398"/>
                  <a:gd name="T45" fmla="*/ 395 h 518"/>
                  <a:gd name="T46" fmla="*/ 382 w 398"/>
                  <a:gd name="T47" fmla="*/ 404 h 518"/>
                  <a:gd name="T48" fmla="*/ 367 w 398"/>
                  <a:gd name="T49" fmla="*/ 415 h 518"/>
                  <a:gd name="T50" fmla="*/ 368 w 398"/>
                  <a:gd name="T51" fmla="*/ 426 h 518"/>
                  <a:gd name="T52" fmla="*/ 376 w 398"/>
                  <a:gd name="T53" fmla="*/ 443 h 518"/>
                  <a:gd name="T54" fmla="*/ 359 w 398"/>
                  <a:gd name="T55" fmla="*/ 463 h 518"/>
                  <a:gd name="T56" fmla="*/ 146 w 398"/>
                  <a:gd name="T57" fmla="*/ 500 h 518"/>
                  <a:gd name="T58" fmla="*/ 68 w 398"/>
                  <a:gd name="T59" fmla="*/ 508 h 518"/>
                  <a:gd name="T60" fmla="*/ 53 w 398"/>
                  <a:gd name="T61" fmla="*/ 518 h 518"/>
                  <a:gd name="T62" fmla="*/ 58 w 398"/>
                  <a:gd name="T63" fmla="*/ 493 h 518"/>
                  <a:gd name="T64" fmla="*/ 71 w 398"/>
                  <a:gd name="T65" fmla="*/ 476 h 518"/>
                  <a:gd name="T66" fmla="*/ 114 w 398"/>
                  <a:gd name="T67" fmla="*/ 458 h 518"/>
                  <a:gd name="T68" fmla="*/ 172 w 398"/>
                  <a:gd name="T69" fmla="*/ 439 h 518"/>
                  <a:gd name="T70" fmla="*/ 179 w 398"/>
                  <a:gd name="T71" fmla="*/ 426 h 518"/>
                  <a:gd name="T72" fmla="*/ 171 w 398"/>
                  <a:gd name="T73" fmla="*/ 434 h 518"/>
                  <a:gd name="T74" fmla="*/ 111 w 398"/>
                  <a:gd name="T75" fmla="*/ 432 h 518"/>
                  <a:gd name="T76" fmla="*/ 76 w 398"/>
                  <a:gd name="T77" fmla="*/ 420 h 518"/>
                  <a:gd name="T78" fmla="*/ 77 w 398"/>
                  <a:gd name="T79" fmla="*/ 402 h 518"/>
                  <a:gd name="T80" fmla="*/ 95 w 398"/>
                  <a:gd name="T81" fmla="*/ 391 h 518"/>
                  <a:gd name="T82" fmla="*/ 87 w 398"/>
                  <a:gd name="T83" fmla="*/ 352 h 518"/>
                  <a:gd name="T84" fmla="*/ 105 w 398"/>
                  <a:gd name="T85" fmla="*/ 329 h 518"/>
                  <a:gd name="T86" fmla="*/ 154 w 398"/>
                  <a:gd name="T87" fmla="*/ 309 h 518"/>
                  <a:gd name="T88" fmla="*/ 172 w 398"/>
                  <a:gd name="T89" fmla="*/ 291 h 518"/>
                  <a:gd name="T90" fmla="*/ 148 w 398"/>
                  <a:gd name="T91" fmla="*/ 271 h 518"/>
                  <a:gd name="T92" fmla="*/ 139 w 398"/>
                  <a:gd name="T93" fmla="*/ 247 h 518"/>
                  <a:gd name="T94" fmla="*/ 94 w 398"/>
                  <a:gd name="T95" fmla="*/ 239 h 518"/>
                  <a:gd name="T96" fmla="*/ 80 w 398"/>
                  <a:gd name="T97" fmla="*/ 216 h 518"/>
                  <a:gd name="T98" fmla="*/ 90 w 398"/>
                  <a:gd name="T99" fmla="*/ 192 h 518"/>
                  <a:gd name="T100" fmla="*/ 100 w 398"/>
                  <a:gd name="T101" fmla="*/ 168 h 518"/>
                  <a:gd name="T102" fmla="*/ 73 w 398"/>
                  <a:gd name="T103" fmla="*/ 186 h 518"/>
                  <a:gd name="T104" fmla="*/ 22 w 398"/>
                  <a:gd name="T105" fmla="*/ 162 h 518"/>
                  <a:gd name="T106" fmla="*/ 20 w 398"/>
                  <a:gd name="T107" fmla="*/ 142 h 518"/>
                  <a:gd name="T108" fmla="*/ 14 w 398"/>
                  <a:gd name="T109" fmla="*/ 131 h 518"/>
                  <a:gd name="T110" fmla="*/ 20 w 398"/>
                  <a:gd name="T111" fmla="*/ 63 h 518"/>
                  <a:gd name="T112" fmla="*/ 19 w 398"/>
                  <a:gd name="T113" fmla="*/ 49 h 518"/>
                  <a:gd name="T114" fmla="*/ 4 w 398"/>
                  <a:gd name="T115" fmla="*/ 40 h 518"/>
                  <a:gd name="T116" fmla="*/ 20 w 398"/>
                  <a:gd name="T117" fmla="*/ 19 h 518"/>
                  <a:gd name="T118" fmla="*/ 3 w 398"/>
                  <a:gd name="T119" fmla="*/ 9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Freeform 1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770570" y="2429311"/>
                <a:ext cx="225922" cy="76218"/>
              </a:xfrm>
              <a:custGeom>
                <a:avLst/>
                <a:gdLst>
                  <a:gd name="T0" fmla="*/ 190 w 382"/>
                  <a:gd name="T1" fmla="*/ 21 h 148"/>
                  <a:gd name="T2" fmla="*/ 177 w 382"/>
                  <a:gd name="T3" fmla="*/ 31 h 148"/>
                  <a:gd name="T4" fmla="*/ 174 w 382"/>
                  <a:gd name="T5" fmla="*/ 45 h 148"/>
                  <a:gd name="T6" fmla="*/ 168 w 382"/>
                  <a:gd name="T7" fmla="*/ 53 h 148"/>
                  <a:gd name="T8" fmla="*/ 166 w 382"/>
                  <a:gd name="T9" fmla="*/ 61 h 148"/>
                  <a:gd name="T10" fmla="*/ 177 w 382"/>
                  <a:gd name="T11" fmla="*/ 74 h 148"/>
                  <a:gd name="T12" fmla="*/ 155 w 382"/>
                  <a:gd name="T13" fmla="*/ 86 h 148"/>
                  <a:gd name="T14" fmla="*/ 108 w 382"/>
                  <a:gd name="T15" fmla="*/ 96 h 148"/>
                  <a:gd name="T16" fmla="*/ 77 w 382"/>
                  <a:gd name="T17" fmla="*/ 97 h 148"/>
                  <a:gd name="T18" fmla="*/ 52 w 382"/>
                  <a:gd name="T19" fmla="*/ 95 h 148"/>
                  <a:gd name="T20" fmla="*/ 4 w 382"/>
                  <a:gd name="T21" fmla="*/ 111 h 148"/>
                  <a:gd name="T22" fmla="*/ 0 w 382"/>
                  <a:gd name="T23" fmla="*/ 129 h 148"/>
                  <a:gd name="T24" fmla="*/ 4 w 382"/>
                  <a:gd name="T25" fmla="*/ 131 h 148"/>
                  <a:gd name="T26" fmla="*/ 12 w 382"/>
                  <a:gd name="T27" fmla="*/ 131 h 148"/>
                  <a:gd name="T28" fmla="*/ 51 w 382"/>
                  <a:gd name="T29" fmla="*/ 129 h 148"/>
                  <a:gd name="T30" fmla="*/ 114 w 382"/>
                  <a:gd name="T31" fmla="*/ 127 h 148"/>
                  <a:gd name="T32" fmla="*/ 123 w 382"/>
                  <a:gd name="T33" fmla="*/ 134 h 148"/>
                  <a:gd name="T34" fmla="*/ 137 w 382"/>
                  <a:gd name="T35" fmla="*/ 141 h 148"/>
                  <a:gd name="T36" fmla="*/ 159 w 382"/>
                  <a:gd name="T37" fmla="*/ 147 h 148"/>
                  <a:gd name="T38" fmla="*/ 185 w 382"/>
                  <a:gd name="T39" fmla="*/ 148 h 148"/>
                  <a:gd name="T40" fmla="*/ 210 w 382"/>
                  <a:gd name="T41" fmla="*/ 148 h 148"/>
                  <a:gd name="T42" fmla="*/ 233 w 382"/>
                  <a:gd name="T43" fmla="*/ 148 h 148"/>
                  <a:gd name="T44" fmla="*/ 255 w 382"/>
                  <a:gd name="T45" fmla="*/ 148 h 148"/>
                  <a:gd name="T46" fmla="*/ 275 w 382"/>
                  <a:gd name="T47" fmla="*/ 143 h 148"/>
                  <a:gd name="T48" fmla="*/ 301 w 382"/>
                  <a:gd name="T49" fmla="*/ 134 h 148"/>
                  <a:gd name="T50" fmla="*/ 334 w 382"/>
                  <a:gd name="T51" fmla="*/ 121 h 148"/>
                  <a:gd name="T52" fmla="*/ 353 w 382"/>
                  <a:gd name="T53" fmla="*/ 103 h 148"/>
                  <a:gd name="T54" fmla="*/ 372 w 382"/>
                  <a:gd name="T55" fmla="*/ 72 h 148"/>
                  <a:gd name="T56" fmla="*/ 376 w 382"/>
                  <a:gd name="T57" fmla="*/ 52 h 148"/>
                  <a:gd name="T58" fmla="*/ 363 w 382"/>
                  <a:gd name="T59" fmla="*/ 44 h 148"/>
                  <a:gd name="T60" fmla="*/ 357 w 382"/>
                  <a:gd name="T61" fmla="*/ 32 h 148"/>
                  <a:gd name="T62" fmla="*/ 347 w 382"/>
                  <a:gd name="T63" fmla="*/ 22 h 148"/>
                  <a:gd name="T64" fmla="*/ 334 w 382"/>
                  <a:gd name="T65" fmla="*/ 17 h 148"/>
                  <a:gd name="T66" fmla="*/ 319 w 382"/>
                  <a:gd name="T67" fmla="*/ 8 h 148"/>
                  <a:gd name="T68" fmla="*/ 203 w 382"/>
                  <a:gd name="T69" fmla="*/ 1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7755315" y="2278464"/>
                <a:ext cx="1703924" cy="1038464"/>
              </a:xfrm>
              <a:custGeom>
                <a:avLst/>
                <a:gdLst>
                  <a:gd name="T0" fmla="*/ 373 w 2936"/>
                  <a:gd name="T1" fmla="*/ 1071 h 1983"/>
                  <a:gd name="T2" fmla="*/ 385 w 2936"/>
                  <a:gd name="T3" fmla="*/ 1182 h 1983"/>
                  <a:gd name="T4" fmla="*/ 478 w 2936"/>
                  <a:gd name="T5" fmla="*/ 1358 h 1983"/>
                  <a:gd name="T6" fmla="*/ 768 w 2936"/>
                  <a:gd name="T7" fmla="*/ 1492 h 1983"/>
                  <a:gd name="T8" fmla="*/ 1036 w 2936"/>
                  <a:gd name="T9" fmla="*/ 1552 h 1983"/>
                  <a:gd name="T10" fmla="*/ 1124 w 2936"/>
                  <a:gd name="T11" fmla="*/ 1529 h 1983"/>
                  <a:gd name="T12" fmla="*/ 1401 w 2936"/>
                  <a:gd name="T13" fmla="*/ 1448 h 1983"/>
                  <a:gd name="T14" fmla="*/ 1547 w 2936"/>
                  <a:gd name="T15" fmla="*/ 1542 h 1983"/>
                  <a:gd name="T16" fmla="*/ 1577 w 2936"/>
                  <a:gd name="T17" fmla="*/ 1697 h 1983"/>
                  <a:gd name="T18" fmla="*/ 1607 w 2936"/>
                  <a:gd name="T19" fmla="*/ 1773 h 1983"/>
                  <a:gd name="T20" fmla="*/ 1706 w 2936"/>
                  <a:gd name="T21" fmla="*/ 1912 h 1983"/>
                  <a:gd name="T22" fmla="*/ 1842 w 2936"/>
                  <a:gd name="T23" fmla="*/ 1859 h 1983"/>
                  <a:gd name="T24" fmla="*/ 2072 w 2936"/>
                  <a:gd name="T25" fmla="*/ 1854 h 1983"/>
                  <a:gd name="T26" fmla="*/ 2265 w 2936"/>
                  <a:gd name="T27" fmla="*/ 1983 h 1983"/>
                  <a:gd name="T28" fmla="*/ 2357 w 2936"/>
                  <a:gd name="T29" fmla="*/ 1910 h 1983"/>
                  <a:gd name="T30" fmla="*/ 2457 w 2936"/>
                  <a:gd name="T31" fmla="*/ 1866 h 1983"/>
                  <a:gd name="T32" fmla="*/ 2546 w 2936"/>
                  <a:gd name="T33" fmla="*/ 1826 h 1983"/>
                  <a:gd name="T34" fmla="*/ 2683 w 2936"/>
                  <a:gd name="T35" fmla="*/ 1732 h 1983"/>
                  <a:gd name="T36" fmla="*/ 2719 w 2936"/>
                  <a:gd name="T37" fmla="*/ 1616 h 1983"/>
                  <a:gd name="T38" fmla="*/ 2794 w 2936"/>
                  <a:gd name="T39" fmla="*/ 1420 h 1983"/>
                  <a:gd name="T40" fmla="*/ 2705 w 2936"/>
                  <a:gd name="T41" fmla="*/ 1375 h 1983"/>
                  <a:gd name="T42" fmla="*/ 2640 w 2936"/>
                  <a:gd name="T43" fmla="*/ 1273 h 1983"/>
                  <a:gd name="T44" fmla="*/ 2669 w 2936"/>
                  <a:gd name="T45" fmla="*/ 1227 h 1983"/>
                  <a:gd name="T46" fmla="*/ 2532 w 2936"/>
                  <a:gd name="T47" fmla="*/ 1061 h 1983"/>
                  <a:gd name="T48" fmla="*/ 2583 w 2936"/>
                  <a:gd name="T49" fmla="*/ 993 h 1983"/>
                  <a:gd name="T50" fmla="*/ 2453 w 2936"/>
                  <a:gd name="T51" fmla="*/ 962 h 1983"/>
                  <a:gd name="T52" fmla="*/ 2333 w 2936"/>
                  <a:gd name="T53" fmla="*/ 887 h 1983"/>
                  <a:gd name="T54" fmla="*/ 2368 w 2936"/>
                  <a:gd name="T55" fmla="*/ 836 h 1983"/>
                  <a:gd name="T56" fmla="*/ 2443 w 2936"/>
                  <a:gd name="T57" fmla="*/ 756 h 1983"/>
                  <a:gd name="T58" fmla="*/ 2496 w 2936"/>
                  <a:gd name="T59" fmla="*/ 780 h 1983"/>
                  <a:gd name="T60" fmla="*/ 2532 w 2936"/>
                  <a:gd name="T61" fmla="*/ 853 h 1983"/>
                  <a:gd name="T62" fmla="*/ 2689 w 2936"/>
                  <a:gd name="T63" fmla="*/ 763 h 1983"/>
                  <a:gd name="T64" fmla="*/ 2828 w 2936"/>
                  <a:gd name="T65" fmla="*/ 673 h 1983"/>
                  <a:gd name="T66" fmla="*/ 2886 w 2936"/>
                  <a:gd name="T67" fmla="*/ 564 h 1983"/>
                  <a:gd name="T68" fmla="*/ 2928 w 2936"/>
                  <a:gd name="T69" fmla="*/ 494 h 1983"/>
                  <a:gd name="T70" fmla="*/ 2893 w 2936"/>
                  <a:gd name="T71" fmla="*/ 307 h 1983"/>
                  <a:gd name="T72" fmla="*/ 2722 w 2936"/>
                  <a:gd name="T73" fmla="*/ 341 h 1983"/>
                  <a:gd name="T74" fmla="*/ 2461 w 2936"/>
                  <a:gd name="T75" fmla="*/ 205 h 1983"/>
                  <a:gd name="T76" fmla="*/ 2300 w 2936"/>
                  <a:gd name="T77" fmla="*/ 89 h 1983"/>
                  <a:gd name="T78" fmla="*/ 1980 w 2936"/>
                  <a:gd name="T79" fmla="*/ 53 h 1983"/>
                  <a:gd name="T80" fmla="*/ 2007 w 2936"/>
                  <a:gd name="T81" fmla="*/ 155 h 1983"/>
                  <a:gd name="T82" fmla="*/ 1952 w 2936"/>
                  <a:gd name="T83" fmla="*/ 227 h 1983"/>
                  <a:gd name="T84" fmla="*/ 2025 w 2936"/>
                  <a:gd name="T85" fmla="*/ 350 h 1983"/>
                  <a:gd name="T86" fmla="*/ 2146 w 2936"/>
                  <a:gd name="T87" fmla="*/ 370 h 1983"/>
                  <a:gd name="T88" fmla="*/ 2041 w 2936"/>
                  <a:gd name="T89" fmla="*/ 455 h 1983"/>
                  <a:gd name="T90" fmla="*/ 1891 w 2936"/>
                  <a:gd name="T91" fmla="*/ 570 h 1983"/>
                  <a:gd name="T92" fmla="*/ 1630 w 2936"/>
                  <a:gd name="T93" fmla="*/ 713 h 1983"/>
                  <a:gd name="T94" fmla="*/ 1228 w 2936"/>
                  <a:gd name="T95" fmla="*/ 659 h 1983"/>
                  <a:gd name="T96" fmla="*/ 1036 w 2936"/>
                  <a:gd name="T97" fmla="*/ 560 h 1983"/>
                  <a:gd name="T98" fmla="*/ 752 w 2936"/>
                  <a:gd name="T99" fmla="*/ 495 h 1983"/>
                  <a:gd name="T100" fmla="*/ 686 w 2936"/>
                  <a:gd name="T101" fmla="*/ 379 h 1983"/>
                  <a:gd name="T102" fmla="*/ 512 w 2936"/>
                  <a:gd name="T103" fmla="*/ 299 h 1983"/>
                  <a:gd name="T104" fmla="*/ 430 w 2936"/>
                  <a:gd name="T105" fmla="*/ 311 h 1983"/>
                  <a:gd name="T106" fmla="*/ 423 w 2936"/>
                  <a:gd name="T107" fmla="*/ 388 h 1983"/>
                  <a:gd name="T108" fmla="*/ 305 w 2936"/>
                  <a:gd name="T109" fmla="*/ 382 h 1983"/>
                  <a:gd name="T110" fmla="*/ 227 w 2936"/>
                  <a:gd name="T111" fmla="*/ 507 h 1983"/>
                  <a:gd name="T112" fmla="*/ 260 w 2936"/>
                  <a:gd name="T113" fmla="*/ 595 h 1983"/>
                  <a:gd name="T114" fmla="*/ 252 w 2936"/>
                  <a:gd name="T115" fmla="*/ 716 h 1983"/>
                  <a:gd name="T116" fmla="*/ 118 w 2936"/>
                  <a:gd name="T117" fmla="*/ 781 h 1983"/>
                  <a:gd name="T118" fmla="*/ 40 w 2936"/>
                  <a:gd name="T119" fmla="*/ 894 h 1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Freeform 1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015497" y="1819568"/>
                <a:ext cx="293488" cy="273113"/>
              </a:xfrm>
              <a:custGeom>
                <a:avLst/>
                <a:gdLst>
                  <a:gd name="T0" fmla="*/ 345 w 504"/>
                  <a:gd name="T1" fmla="*/ 493 h 524"/>
                  <a:gd name="T2" fmla="*/ 256 w 504"/>
                  <a:gd name="T3" fmla="*/ 505 h 524"/>
                  <a:gd name="T4" fmla="*/ 235 w 504"/>
                  <a:gd name="T5" fmla="*/ 517 h 524"/>
                  <a:gd name="T6" fmla="*/ 210 w 504"/>
                  <a:gd name="T7" fmla="*/ 522 h 524"/>
                  <a:gd name="T8" fmla="*/ 155 w 504"/>
                  <a:gd name="T9" fmla="*/ 524 h 524"/>
                  <a:gd name="T10" fmla="*/ 106 w 504"/>
                  <a:gd name="T11" fmla="*/ 522 h 524"/>
                  <a:gd name="T12" fmla="*/ 94 w 504"/>
                  <a:gd name="T13" fmla="*/ 516 h 524"/>
                  <a:gd name="T14" fmla="*/ 71 w 504"/>
                  <a:gd name="T15" fmla="*/ 509 h 524"/>
                  <a:gd name="T16" fmla="*/ 36 w 504"/>
                  <a:gd name="T17" fmla="*/ 496 h 524"/>
                  <a:gd name="T18" fmla="*/ 22 w 504"/>
                  <a:gd name="T19" fmla="*/ 486 h 524"/>
                  <a:gd name="T20" fmla="*/ 20 w 504"/>
                  <a:gd name="T21" fmla="*/ 477 h 524"/>
                  <a:gd name="T22" fmla="*/ 27 w 504"/>
                  <a:gd name="T23" fmla="*/ 463 h 524"/>
                  <a:gd name="T24" fmla="*/ 32 w 504"/>
                  <a:gd name="T25" fmla="*/ 445 h 524"/>
                  <a:gd name="T26" fmla="*/ 28 w 504"/>
                  <a:gd name="T27" fmla="*/ 432 h 524"/>
                  <a:gd name="T28" fmla="*/ 10 w 504"/>
                  <a:gd name="T29" fmla="*/ 417 h 524"/>
                  <a:gd name="T30" fmla="*/ 1 w 504"/>
                  <a:gd name="T31" fmla="*/ 407 h 524"/>
                  <a:gd name="T32" fmla="*/ 1 w 504"/>
                  <a:gd name="T33" fmla="*/ 391 h 524"/>
                  <a:gd name="T34" fmla="*/ 17 w 504"/>
                  <a:gd name="T35" fmla="*/ 360 h 524"/>
                  <a:gd name="T36" fmla="*/ 48 w 504"/>
                  <a:gd name="T37" fmla="*/ 328 h 524"/>
                  <a:gd name="T38" fmla="*/ 86 w 504"/>
                  <a:gd name="T39" fmla="*/ 299 h 524"/>
                  <a:gd name="T40" fmla="*/ 124 w 504"/>
                  <a:gd name="T41" fmla="*/ 279 h 524"/>
                  <a:gd name="T42" fmla="*/ 160 w 504"/>
                  <a:gd name="T43" fmla="*/ 272 h 524"/>
                  <a:gd name="T44" fmla="*/ 155 w 504"/>
                  <a:gd name="T45" fmla="*/ 264 h 524"/>
                  <a:gd name="T46" fmla="*/ 142 w 504"/>
                  <a:gd name="T47" fmla="*/ 259 h 524"/>
                  <a:gd name="T48" fmla="*/ 133 w 504"/>
                  <a:gd name="T49" fmla="*/ 251 h 524"/>
                  <a:gd name="T50" fmla="*/ 127 w 504"/>
                  <a:gd name="T51" fmla="*/ 229 h 524"/>
                  <a:gd name="T52" fmla="*/ 124 w 504"/>
                  <a:gd name="T53" fmla="*/ 195 h 524"/>
                  <a:gd name="T54" fmla="*/ 115 w 504"/>
                  <a:gd name="T55" fmla="*/ 161 h 524"/>
                  <a:gd name="T56" fmla="*/ 100 w 504"/>
                  <a:gd name="T57" fmla="*/ 134 h 524"/>
                  <a:gd name="T58" fmla="*/ 68 w 504"/>
                  <a:gd name="T59" fmla="*/ 90 h 524"/>
                  <a:gd name="T60" fmla="*/ 86 w 504"/>
                  <a:gd name="T61" fmla="*/ 60 h 524"/>
                  <a:gd name="T62" fmla="*/ 106 w 504"/>
                  <a:gd name="T63" fmla="*/ 56 h 524"/>
                  <a:gd name="T64" fmla="*/ 130 w 504"/>
                  <a:gd name="T65" fmla="*/ 58 h 524"/>
                  <a:gd name="T66" fmla="*/ 139 w 504"/>
                  <a:gd name="T67" fmla="*/ 61 h 524"/>
                  <a:gd name="T68" fmla="*/ 160 w 504"/>
                  <a:gd name="T69" fmla="*/ 56 h 524"/>
                  <a:gd name="T70" fmla="*/ 164 w 504"/>
                  <a:gd name="T71" fmla="*/ 33 h 524"/>
                  <a:gd name="T72" fmla="*/ 171 w 504"/>
                  <a:gd name="T73" fmla="*/ 13 h 524"/>
                  <a:gd name="T74" fmla="*/ 187 w 504"/>
                  <a:gd name="T75" fmla="*/ 0 h 524"/>
                  <a:gd name="T76" fmla="*/ 225 w 504"/>
                  <a:gd name="T77" fmla="*/ 0 h 524"/>
                  <a:gd name="T78" fmla="*/ 254 w 504"/>
                  <a:gd name="T79" fmla="*/ 8 h 524"/>
                  <a:gd name="T80" fmla="*/ 280 w 504"/>
                  <a:gd name="T81" fmla="*/ 21 h 524"/>
                  <a:gd name="T82" fmla="*/ 279 w 504"/>
                  <a:gd name="T83" fmla="*/ 62 h 524"/>
                  <a:gd name="T84" fmla="*/ 292 w 504"/>
                  <a:gd name="T85" fmla="*/ 77 h 524"/>
                  <a:gd name="T86" fmla="*/ 319 w 504"/>
                  <a:gd name="T87" fmla="*/ 94 h 524"/>
                  <a:gd name="T88" fmla="*/ 356 w 504"/>
                  <a:gd name="T89" fmla="*/ 119 h 524"/>
                  <a:gd name="T90" fmla="*/ 346 w 504"/>
                  <a:gd name="T91" fmla="*/ 135 h 524"/>
                  <a:gd name="T92" fmla="*/ 340 w 504"/>
                  <a:gd name="T93" fmla="*/ 153 h 524"/>
                  <a:gd name="T94" fmla="*/ 344 w 504"/>
                  <a:gd name="T95" fmla="*/ 176 h 524"/>
                  <a:gd name="T96" fmla="*/ 363 w 504"/>
                  <a:gd name="T97" fmla="*/ 200 h 524"/>
                  <a:gd name="T98" fmla="*/ 378 w 504"/>
                  <a:gd name="T99" fmla="*/ 210 h 524"/>
                  <a:gd name="T100" fmla="*/ 386 w 504"/>
                  <a:gd name="T101" fmla="*/ 256 h 524"/>
                  <a:gd name="T102" fmla="*/ 404 w 504"/>
                  <a:gd name="T103" fmla="*/ 289 h 524"/>
                  <a:gd name="T104" fmla="*/ 432 w 504"/>
                  <a:gd name="T105" fmla="*/ 315 h 524"/>
                  <a:gd name="T106" fmla="*/ 463 w 504"/>
                  <a:gd name="T107" fmla="*/ 335 h 524"/>
                  <a:gd name="T108" fmla="*/ 466 w 504"/>
                  <a:gd name="T109" fmla="*/ 390 h 524"/>
                  <a:gd name="T110" fmla="*/ 397 w 504"/>
                  <a:gd name="T111" fmla="*/ 457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3" name="Freeform 1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664999" y="2237178"/>
                <a:ext cx="242815" cy="238180"/>
              </a:xfrm>
              <a:custGeom>
                <a:avLst/>
                <a:gdLst>
                  <a:gd name="T0" fmla="*/ 426 w 438"/>
                  <a:gd name="T1" fmla="*/ 190 h 451"/>
                  <a:gd name="T2" fmla="*/ 408 w 438"/>
                  <a:gd name="T3" fmla="*/ 128 h 451"/>
                  <a:gd name="T4" fmla="*/ 387 w 438"/>
                  <a:gd name="T5" fmla="*/ 85 h 451"/>
                  <a:gd name="T6" fmla="*/ 367 w 438"/>
                  <a:gd name="T7" fmla="*/ 62 h 451"/>
                  <a:gd name="T8" fmla="*/ 356 w 438"/>
                  <a:gd name="T9" fmla="*/ 58 h 451"/>
                  <a:gd name="T10" fmla="*/ 335 w 438"/>
                  <a:gd name="T11" fmla="*/ 45 h 451"/>
                  <a:gd name="T12" fmla="*/ 314 w 438"/>
                  <a:gd name="T13" fmla="*/ 38 h 451"/>
                  <a:gd name="T14" fmla="*/ 293 w 438"/>
                  <a:gd name="T15" fmla="*/ 38 h 451"/>
                  <a:gd name="T16" fmla="*/ 276 w 438"/>
                  <a:gd name="T17" fmla="*/ 42 h 451"/>
                  <a:gd name="T18" fmla="*/ 251 w 438"/>
                  <a:gd name="T19" fmla="*/ 58 h 451"/>
                  <a:gd name="T20" fmla="*/ 235 w 438"/>
                  <a:gd name="T21" fmla="*/ 67 h 451"/>
                  <a:gd name="T22" fmla="*/ 217 w 438"/>
                  <a:gd name="T23" fmla="*/ 66 h 451"/>
                  <a:gd name="T24" fmla="*/ 174 w 438"/>
                  <a:gd name="T25" fmla="*/ 37 h 451"/>
                  <a:gd name="T26" fmla="*/ 113 w 438"/>
                  <a:gd name="T27" fmla="*/ 0 h 451"/>
                  <a:gd name="T28" fmla="*/ 95 w 438"/>
                  <a:gd name="T29" fmla="*/ 23 h 451"/>
                  <a:gd name="T30" fmla="*/ 93 w 438"/>
                  <a:gd name="T31" fmla="*/ 43 h 451"/>
                  <a:gd name="T32" fmla="*/ 98 w 438"/>
                  <a:gd name="T33" fmla="*/ 52 h 451"/>
                  <a:gd name="T34" fmla="*/ 119 w 438"/>
                  <a:gd name="T35" fmla="*/ 69 h 451"/>
                  <a:gd name="T36" fmla="*/ 99 w 438"/>
                  <a:gd name="T37" fmla="*/ 73 h 451"/>
                  <a:gd name="T38" fmla="*/ 66 w 438"/>
                  <a:gd name="T39" fmla="*/ 93 h 451"/>
                  <a:gd name="T40" fmla="*/ 58 w 438"/>
                  <a:gd name="T41" fmla="*/ 119 h 451"/>
                  <a:gd name="T42" fmla="*/ 45 w 438"/>
                  <a:gd name="T43" fmla="*/ 138 h 451"/>
                  <a:gd name="T44" fmla="*/ 35 w 438"/>
                  <a:gd name="T45" fmla="*/ 156 h 451"/>
                  <a:gd name="T46" fmla="*/ 33 w 438"/>
                  <a:gd name="T47" fmla="*/ 179 h 451"/>
                  <a:gd name="T48" fmla="*/ 7 w 438"/>
                  <a:gd name="T49" fmla="*/ 238 h 451"/>
                  <a:gd name="T50" fmla="*/ 15 w 438"/>
                  <a:gd name="T51" fmla="*/ 246 h 451"/>
                  <a:gd name="T52" fmla="*/ 26 w 438"/>
                  <a:gd name="T53" fmla="*/ 247 h 451"/>
                  <a:gd name="T54" fmla="*/ 33 w 438"/>
                  <a:gd name="T55" fmla="*/ 346 h 451"/>
                  <a:gd name="T56" fmla="*/ 93 w 438"/>
                  <a:gd name="T57" fmla="*/ 353 h 451"/>
                  <a:gd name="T58" fmla="*/ 104 w 438"/>
                  <a:gd name="T59" fmla="*/ 376 h 451"/>
                  <a:gd name="T60" fmla="*/ 89 w 438"/>
                  <a:gd name="T61" fmla="*/ 425 h 451"/>
                  <a:gd name="T62" fmla="*/ 109 w 438"/>
                  <a:gd name="T63" fmla="*/ 447 h 451"/>
                  <a:gd name="T64" fmla="*/ 152 w 438"/>
                  <a:gd name="T65" fmla="*/ 447 h 451"/>
                  <a:gd name="T66" fmla="*/ 205 w 438"/>
                  <a:gd name="T67" fmla="*/ 444 h 451"/>
                  <a:gd name="T68" fmla="*/ 276 w 438"/>
                  <a:gd name="T69" fmla="*/ 446 h 451"/>
                  <a:gd name="T70" fmla="*/ 343 w 438"/>
                  <a:gd name="T71" fmla="*/ 442 h 451"/>
                  <a:gd name="T72" fmla="*/ 372 w 438"/>
                  <a:gd name="T73" fmla="*/ 432 h 451"/>
                  <a:gd name="T74" fmla="*/ 359 w 438"/>
                  <a:gd name="T75" fmla="*/ 413 h 451"/>
                  <a:gd name="T76" fmla="*/ 369 w 438"/>
                  <a:gd name="T77" fmla="*/ 403 h 451"/>
                  <a:gd name="T78" fmla="*/ 372 w 438"/>
                  <a:gd name="T79" fmla="*/ 382 h 451"/>
                  <a:gd name="T80" fmla="*/ 380 w 438"/>
                  <a:gd name="T81" fmla="*/ 367 h 451"/>
                  <a:gd name="T82" fmla="*/ 343 w 438"/>
                  <a:gd name="T83" fmla="*/ 344 h 451"/>
                  <a:gd name="T84" fmla="*/ 325 w 438"/>
                  <a:gd name="T85" fmla="*/ 323 h 451"/>
                  <a:gd name="T86" fmla="*/ 311 w 438"/>
                  <a:gd name="T87" fmla="*/ 294 h 451"/>
                  <a:gd name="T88" fmla="*/ 294 w 438"/>
                  <a:gd name="T89" fmla="*/ 277 h 451"/>
                  <a:gd name="T90" fmla="*/ 314 w 438"/>
                  <a:gd name="T91" fmla="*/ 275 h 451"/>
                  <a:gd name="T92" fmla="*/ 346 w 438"/>
                  <a:gd name="T93" fmla="*/ 271 h 451"/>
                  <a:gd name="T94" fmla="*/ 369 w 438"/>
                  <a:gd name="T95" fmla="*/ 260 h 451"/>
                  <a:gd name="T96" fmla="*/ 407 w 438"/>
                  <a:gd name="T97" fmla="*/ 240 h 451"/>
                  <a:gd name="T98" fmla="*/ 438 w 438"/>
                  <a:gd name="T99" fmla="*/ 23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C0C0C0"/>
                  </a:solidFill>
                </a:endParaRPr>
              </a:p>
            </p:txBody>
          </p:sp>
          <p:sp>
            <p:nvSpPr>
              <p:cNvPr id="604" name="Freeform 17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5698783" y="2494414"/>
                <a:ext cx="333606" cy="274701"/>
              </a:xfrm>
              <a:custGeom>
                <a:avLst/>
                <a:gdLst>
                  <a:gd name="T0" fmla="*/ 327 w 578"/>
                  <a:gd name="T1" fmla="*/ 88 h 524"/>
                  <a:gd name="T2" fmla="*/ 312 w 578"/>
                  <a:gd name="T3" fmla="*/ 85 h 524"/>
                  <a:gd name="T4" fmla="*/ 301 w 578"/>
                  <a:gd name="T5" fmla="*/ 79 h 524"/>
                  <a:gd name="T6" fmla="*/ 275 w 578"/>
                  <a:gd name="T7" fmla="*/ 66 h 524"/>
                  <a:gd name="T8" fmla="*/ 251 w 578"/>
                  <a:gd name="T9" fmla="*/ 78 h 524"/>
                  <a:gd name="T10" fmla="*/ 246 w 578"/>
                  <a:gd name="T11" fmla="*/ 105 h 524"/>
                  <a:gd name="T12" fmla="*/ 253 w 578"/>
                  <a:gd name="T13" fmla="*/ 153 h 524"/>
                  <a:gd name="T14" fmla="*/ 270 w 578"/>
                  <a:gd name="T15" fmla="*/ 172 h 524"/>
                  <a:gd name="T16" fmla="*/ 287 w 578"/>
                  <a:gd name="T17" fmla="*/ 178 h 524"/>
                  <a:gd name="T18" fmla="*/ 298 w 578"/>
                  <a:gd name="T19" fmla="*/ 191 h 524"/>
                  <a:gd name="T20" fmla="*/ 351 w 578"/>
                  <a:gd name="T21" fmla="*/ 225 h 524"/>
                  <a:gd name="T22" fmla="*/ 449 w 578"/>
                  <a:gd name="T23" fmla="*/ 309 h 524"/>
                  <a:gd name="T24" fmla="*/ 477 w 578"/>
                  <a:gd name="T25" fmla="*/ 322 h 524"/>
                  <a:gd name="T26" fmla="*/ 504 w 578"/>
                  <a:gd name="T27" fmla="*/ 328 h 524"/>
                  <a:gd name="T28" fmla="*/ 536 w 578"/>
                  <a:gd name="T29" fmla="*/ 356 h 524"/>
                  <a:gd name="T30" fmla="*/ 578 w 578"/>
                  <a:gd name="T31" fmla="*/ 376 h 524"/>
                  <a:gd name="T32" fmla="*/ 565 w 578"/>
                  <a:gd name="T33" fmla="*/ 407 h 524"/>
                  <a:gd name="T34" fmla="*/ 526 w 578"/>
                  <a:gd name="T35" fmla="*/ 383 h 524"/>
                  <a:gd name="T36" fmla="*/ 508 w 578"/>
                  <a:gd name="T37" fmla="*/ 376 h 524"/>
                  <a:gd name="T38" fmla="*/ 498 w 578"/>
                  <a:gd name="T39" fmla="*/ 397 h 524"/>
                  <a:gd name="T40" fmla="*/ 506 w 578"/>
                  <a:gd name="T41" fmla="*/ 426 h 524"/>
                  <a:gd name="T42" fmla="*/ 514 w 578"/>
                  <a:gd name="T43" fmla="*/ 442 h 524"/>
                  <a:gd name="T44" fmla="*/ 500 w 578"/>
                  <a:gd name="T45" fmla="*/ 468 h 524"/>
                  <a:gd name="T46" fmla="*/ 483 w 578"/>
                  <a:gd name="T47" fmla="*/ 505 h 524"/>
                  <a:gd name="T48" fmla="*/ 465 w 578"/>
                  <a:gd name="T49" fmla="*/ 522 h 524"/>
                  <a:gd name="T50" fmla="*/ 436 w 578"/>
                  <a:gd name="T51" fmla="*/ 505 h 524"/>
                  <a:gd name="T52" fmla="*/ 456 w 578"/>
                  <a:gd name="T53" fmla="*/ 484 h 524"/>
                  <a:gd name="T54" fmla="*/ 465 w 578"/>
                  <a:gd name="T55" fmla="*/ 467 h 524"/>
                  <a:gd name="T56" fmla="*/ 461 w 578"/>
                  <a:gd name="T57" fmla="*/ 441 h 524"/>
                  <a:gd name="T58" fmla="*/ 427 w 578"/>
                  <a:gd name="T59" fmla="*/ 395 h 524"/>
                  <a:gd name="T60" fmla="*/ 385 w 578"/>
                  <a:gd name="T61" fmla="*/ 369 h 524"/>
                  <a:gd name="T62" fmla="*/ 355 w 578"/>
                  <a:gd name="T63" fmla="*/ 356 h 524"/>
                  <a:gd name="T64" fmla="*/ 318 w 578"/>
                  <a:gd name="T65" fmla="*/ 330 h 524"/>
                  <a:gd name="T66" fmla="*/ 268 w 578"/>
                  <a:gd name="T67" fmla="*/ 315 h 524"/>
                  <a:gd name="T68" fmla="*/ 218 w 578"/>
                  <a:gd name="T69" fmla="*/ 285 h 524"/>
                  <a:gd name="T70" fmla="*/ 162 w 578"/>
                  <a:gd name="T71" fmla="*/ 229 h 524"/>
                  <a:gd name="T72" fmla="*/ 126 w 578"/>
                  <a:gd name="T73" fmla="*/ 168 h 524"/>
                  <a:gd name="T74" fmla="*/ 77 w 578"/>
                  <a:gd name="T75" fmla="*/ 154 h 524"/>
                  <a:gd name="T76" fmla="*/ 51 w 578"/>
                  <a:gd name="T77" fmla="*/ 157 h 524"/>
                  <a:gd name="T78" fmla="*/ 15 w 578"/>
                  <a:gd name="T79" fmla="*/ 165 h 524"/>
                  <a:gd name="T80" fmla="*/ 3 w 578"/>
                  <a:gd name="T81" fmla="*/ 133 h 524"/>
                  <a:gd name="T82" fmla="*/ 1 w 578"/>
                  <a:gd name="T83" fmla="*/ 93 h 524"/>
                  <a:gd name="T84" fmla="*/ 6 w 578"/>
                  <a:gd name="T85" fmla="*/ 49 h 524"/>
                  <a:gd name="T86" fmla="*/ 45 w 578"/>
                  <a:gd name="T87" fmla="*/ 41 h 524"/>
                  <a:gd name="T88" fmla="*/ 68 w 578"/>
                  <a:gd name="T89" fmla="*/ 33 h 524"/>
                  <a:gd name="T90" fmla="*/ 83 w 578"/>
                  <a:gd name="T91" fmla="*/ 48 h 524"/>
                  <a:gd name="T92" fmla="*/ 104 w 578"/>
                  <a:gd name="T93" fmla="*/ 44 h 524"/>
                  <a:gd name="T94" fmla="*/ 149 w 578"/>
                  <a:gd name="T95" fmla="*/ 16 h 524"/>
                  <a:gd name="T96" fmla="*/ 239 w 578"/>
                  <a:gd name="T97" fmla="*/ 0 h 524"/>
                  <a:gd name="T98" fmla="*/ 257 w 578"/>
                  <a:gd name="T99" fmla="*/ 13 h 524"/>
                  <a:gd name="T100" fmla="*/ 332 w 578"/>
                  <a:gd name="T101" fmla="*/ 19 h 524"/>
                  <a:gd name="T102" fmla="*/ 322 w 578"/>
                  <a:gd name="T103" fmla="*/ 65 h 524"/>
                  <a:gd name="T104" fmla="*/ 325 w 578"/>
                  <a:gd name="T105" fmla="*/ 90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5" name="Freeform 18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722008" y="2662727"/>
                <a:ext cx="44341" cy="82569"/>
              </a:xfrm>
              <a:custGeom>
                <a:avLst/>
                <a:gdLst>
                  <a:gd name="T0" fmla="*/ 0 w 79"/>
                  <a:gd name="T1" fmla="*/ 37 h 160"/>
                  <a:gd name="T2" fmla="*/ 6 w 79"/>
                  <a:gd name="T3" fmla="*/ 37 h 160"/>
                  <a:gd name="T4" fmla="*/ 11 w 79"/>
                  <a:gd name="T5" fmla="*/ 36 h 160"/>
                  <a:gd name="T6" fmla="*/ 16 w 79"/>
                  <a:gd name="T7" fmla="*/ 35 h 160"/>
                  <a:gd name="T8" fmla="*/ 19 w 79"/>
                  <a:gd name="T9" fmla="*/ 33 h 160"/>
                  <a:gd name="T10" fmla="*/ 26 w 79"/>
                  <a:gd name="T11" fmla="*/ 28 h 160"/>
                  <a:gd name="T12" fmla="*/ 31 w 79"/>
                  <a:gd name="T13" fmla="*/ 22 h 160"/>
                  <a:gd name="T14" fmla="*/ 37 w 79"/>
                  <a:gd name="T15" fmla="*/ 16 h 160"/>
                  <a:gd name="T16" fmla="*/ 41 w 79"/>
                  <a:gd name="T17" fmla="*/ 10 h 160"/>
                  <a:gd name="T18" fmla="*/ 46 w 79"/>
                  <a:gd name="T19" fmla="*/ 5 h 160"/>
                  <a:gd name="T20" fmla="*/ 53 w 79"/>
                  <a:gd name="T21" fmla="*/ 0 h 160"/>
                  <a:gd name="T22" fmla="*/ 57 w 79"/>
                  <a:gd name="T23" fmla="*/ 3 h 160"/>
                  <a:gd name="T24" fmla="*/ 62 w 79"/>
                  <a:gd name="T25" fmla="*/ 7 h 160"/>
                  <a:gd name="T26" fmla="*/ 64 w 79"/>
                  <a:gd name="T27" fmla="*/ 10 h 160"/>
                  <a:gd name="T28" fmla="*/ 66 w 79"/>
                  <a:gd name="T29" fmla="*/ 14 h 160"/>
                  <a:gd name="T30" fmla="*/ 69 w 79"/>
                  <a:gd name="T31" fmla="*/ 22 h 160"/>
                  <a:gd name="T32" fmla="*/ 72 w 79"/>
                  <a:gd name="T33" fmla="*/ 32 h 160"/>
                  <a:gd name="T34" fmla="*/ 73 w 79"/>
                  <a:gd name="T35" fmla="*/ 40 h 160"/>
                  <a:gd name="T36" fmla="*/ 74 w 79"/>
                  <a:gd name="T37" fmla="*/ 49 h 160"/>
                  <a:gd name="T38" fmla="*/ 76 w 79"/>
                  <a:gd name="T39" fmla="*/ 58 h 160"/>
                  <a:gd name="T40" fmla="*/ 79 w 79"/>
                  <a:gd name="T41" fmla="*/ 67 h 160"/>
                  <a:gd name="T42" fmla="*/ 79 w 79"/>
                  <a:gd name="T43" fmla="*/ 98 h 160"/>
                  <a:gd name="T44" fmla="*/ 68 w 79"/>
                  <a:gd name="T45" fmla="*/ 115 h 160"/>
                  <a:gd name="T46" fmla="*/ 59 w 79"/>
                  <a:gd name="T47" fmla="*/ 129 h 160"/>
                  <a:gd name="T48" fmla="*/ 53 w 79"/>
                  <a:gd name="T49" fmla="*/ 136 h 160"/>
                  <a:gd name="T50" fmla="*/ 50 w 79"/>
                  <a:gd name="T51" fmla="*/ 144 h 160"/>
                  <a:gd name="T52" fmla="*/ 48 w 79"/>
                  <a:gd name="T53" fmla="*/ 151 h 160"/>
                  <a:gd name="T54" fmla="*/ 46 w 79"/>
                  <a:gd name="T55" fmla="*/ 160 h 160"/>
                  <a:gd name="T56" fmla="*/ 40 w 79"/>
                  <a:gd name="T57" fmla="*/ 155 h 160"/>
                  <a:gd name="T58" fmla="*/ 33 w 79"/>
                  <a:gd name="T59" fmla="*/ 150 h 160"/>
                  <a:gd name="T60" fmla="*/ 28 w 79"/>
                  <a:gd name="T61" fmla="*/ 144 h 160"/>
                  <a:gd name="T62" fmla="*/ 22 w 79"/>
                  <a:gd name="T63" fmla="*/ 137 h 160"/>
                  <a:gd name="T64" fmla="*/ 18 w 79"/>
                  <a:gd name="T65" fmla="*/ 130 h 160"/>
                  <a:gd name="T66" fmla="*/ 15 w 79"/>
                  <a:gd name="T67" fmla="*/ 123 h 160"/>
                  <a:gd name="T68" fmla="*/ 11 w 79"/>
                  <a:gd name="T69" fmla="*/ 115 h 160"/>
                  <a:gd name="T70" fmla="*/ 8 w 79"/>
                  <a:gd name="T71" fmla="*/ 108 h 160"/>
                  <a:gd name="T72" fmla="*/ 4 w 79"/>
                  <a:gd name="T73" fmla="*/ 91 h 160"/>
                  <a:gd name="T74" fmla="*/ 1 w 79"/>
                  <a:gd name="T75" fmla="*/ 73 h 160"/>
                  <a:gd name="T76" fmla="*/ 0 w 79"/>
                  <a:gd name="T77" fmla="*/ 55 h 160"/>
                  <a:gd name="T78" fmla="*/ 0 w 79"/>
                  <a:gd name="T79" fmla="*/ 3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06" name="Group 19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8806810" y="3723422"/>
                <a:ext cx="629206" cy="212774"/>
                <a:chOff x="4488" y="2394"/>
                <a:chExt cx="358" cy="124"/>
              </a:xfrm>
              <a:grpFill/>
            </p:grpSpPr>
            <p:sp>
              <p:nvSpPr>
                <p:cNvPr id="1133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424 w 512"/>
                    <a:gd name="T1" fmla="*/ 198 h 408"/>
                    <a:gd name="T2" fmla="*/ 387 w 512"/>
                    <a:gd name="T3" fmla="*/ 193 h 408"/>
                    <a:gd name="T4" fmla="*/ 367 w 512"/>
                    <a:gd name="T5" fmla="*/ 203 h 408"/>
                    <a:gd name="T6" fmla="*/ 354 w 512"/>
                    <a:gd name="T7" fmla="*/ 217 h 408"/>
                    <a:gd name="T8" fmla="*/ 347 w 512"/>
                    <a:gd name="T9" fmla="*/ 254 h 408"/>
                    <a:gd name="T10" fmla="*/ 327 w 512"/>
                    <a:gd name="T11" fmla="*/ 306 h 408"/>
                    <a:gd name="T12" fmla="*/ 305 w 512"/>
                    <a:gd name="T13" fmla="*/ 335 h 408"/>
                    <a:gd name="T14" fmla="*/ 289 w 512"/>
                    <a:gd name="T15" fmla="*/ 350 h 408"/>
                    <a:gd name="T16" fmla="*/ 271 w 512"/>
                    <a:gd name="T17" fmla="*/ 359 h 408"/>
                    <a:gd name="T18" fmla="*/ 256 w 512"/>
                    <a:gd name="T19" fmla="*/ 368 h 408"/>
                    <a:gd name="T20" fmla="*/ 253 w 512"/>
                    <a:gd name="T21" fmla="*/ 376 h 408"/>
                    <a:gd name="T22" fmla="*/ 215 w 512"/>
                    <a:gd name="T23" fmla="*/ 370 h 408"/>
                    <a:gd name="T24" fmla="*/ 183 w 512"/>
                    <a:gd name="T25" fmla="*/ 367 h 408"/>
                    <a:gd name="T26" fmla="*/ 155 w 512"/>
                    <a:gd name="T27" fmla="*/ 373 h 408"/>
                    <a:gd name="T28" fmla="*/ 138 w 512"/>
                    <a:gd name="T29" fmla="*/ 388 h 408"/>
                    <a:gd name="T30" fmla="*/ 97 w 512"/>
                    <a:gd name="T31" fmla="*/ 405 h 408"/>
                    <a:gd name="T32" fmla="*/ 62 w 512"/>
                    <a:gd name="T33" fmla="*/ 407 h 408"/>
                    <a:gd name="T34" fmla="*/ 45 w 512"/>
                    <a:gd name="T35" fmla="*/ 400 h 408"/>
                    <a:gd name="T36" fmla="*/ 15 w 512"/>
                    <a:gd name="T37" fmla="*/ 368 h 408"/>
                    <a:gd name="T38" fmla="*/ 2 w 512"/>
                    <a:gd name="T39" fmla="*/ 344 h 408"/>
                    <a:gd name="T40" fmla="*/ 8 w 512"/>
                    <a:gd name="T41" fmla="*/ 335 h 408"/>
                    <a:gd name="T42" fmla="*/ 34 w 512"/>
                    <a:gd name="T43" fmla="*/ 344 h 408"/>
                    <a:gd name="T44" fmla="*/ 53 w 512"/>
                    <a:gd name="T45" fmla="*/ 336 h 408"/>
                    <a:gd name="T46" fmla="*/ 56 w 512"/>
                    <a:gd name="T47" fmla="*/ 314 h 408"/>
                    <a:gd name="T48" fmla="*/ 71 w 512"/>
                    <a:gd name="T49" fmla="*/ 300 h 408"/>
                    <a:gd name="T50" fmla="*/ 82 w 512"/>
                    <a:gd name="T51" fmla="*/ 286 h 408"/>
                    <a:gd name="T52" fmla="*/ 89 w 512"/>
                    <a:gd name="T53" fmla="*/ 272 h 408"/>
                    <a:gd name="T54" fmla="*/ 101 w 512"/>
                    <a:gd name="T55" fmla="*/ 262 h 408"/>
                    <a:gd name="T56" fmla="*/ 137 w 512"/>
                    <a:gd name="T57" fmla="*/ 246 h 408"/>
                    <a:gd name="T58" fmla="*/ 175 w 512"/>
                    <a:gd name="T59" fmla="*/ 232 h 408"/>
                    <a:gd name="T60" fmla="*/ 202 w 512"/>
                    <a:gd name="T61" fmla="*/ 217 h 408"/>
                    <a:gd name="T62" fmla="*/ 213 w 512"/>
                    <a:gd name="T63" fmla="*/ 205 h 408"/>
                    <a:gd name="T64" fmla="*/ 219 w 512"/>
                    <a:gd name="T65" fmla="*/ 191 h 408"/>
                    <a:gd name="T66" fmla="*/ 227 w 512"/>
                    <a:gd name="T67" fmla="*/ 161 h 408"/>
                    <a:gd name="T68" fmla="*/ 229 w 512"/>
                    <a:gd name="T69" fmla="*/ 149 h 408"/>
                    <a:gd name="T70" fmla="*/ 231 w 512"/>
                    <a:gd name="T71" fmla="*/ 152 h 408"/>
                    <a:gd name="T72" fmla="*/ 239 w 512"/>
                    <a:gd name="T73" fmla="*/ 143 h 408"/>
                    <a:gd name="T74" fmla="*/ 237 w 512"/>
                    <a:gd name="T75" fmla="*/ 155 h 408"/>
                    <a:gd name="T76" fmla="*/ 240 w 512"/>
                    <a:gd name="T77" fmla="*/ 174 h 408"/>
                    <a:gd name="T78" fmla="*/ 251 w 512"/>
                    <a:gd name="T79" fmla="*/ 193 h 408"/>
                    <a:gd name="T80" fmla="*/ 272 w 512"/>
                    <a:gd name="T81" fmla="*/ 205 h 408"/>
                    <a:gd name="T82" fmla="*/ 306 w 512"/>
                    <a:gd name="T83" fmla="*/ 204 h 408"/>
                    <a:gd name="T84" fmla="*/ 320 w 512"/>
                    <a:gd name="T85" fmla="*/ 205 h 408"/>
                    <a:gd name="T86" fmla="*/ 327 w 512"/>
                    <a:gd name="T87" fmla="*/ 198 h 408"/>
                    <a:gd name="T88" fmla="*/ 324 w 512"/>
                    <a:gd name="T89" fmla="*/ 176 h 408"/>
                    <a:gd name="T90" fmla="*/ 299 w 512"/>
                    <a:gd name="T91" fmla="*/ 130 h 408"/>
                    <a:gd name="T92" fmla="*/ 319 w 512"/>
                    <a:gd name="T93" fmla="*/ 109 h 408"/>
                    <a:gd name="T94" fmla="*/ 344 w 512"/>
                    <a:gd name="T95" fmla="*/ 66 h 408"/>
                    <a:gd name="T96" fmla="*/ 374 w 512"/>
                    <a:gd name="T97" fmla="*/ 22 h 408"/>
                    <a:gd name="T98" fmla="*/ 399 w 512"/>
                    <a:gd name="T99" fmla="*/ 0 h 408"/>
                    <a:gd name="T100" fmla="*/ 401 w 512"/>
                    <a:gd name="T101" fmla="*/ 23 h 408"/>
                    <a:gd name="T102" fmla="*/ 413 w 512"/>
                    <a:gd name="T103" fmla="*/ 50 h 408"/>
                    <a:gd name="T104" fmla="*/ 439 w 512"/>
                    <a:gd name="T105" fmla="*/ 75 h 408"/>
                    <a:gd name="T106" fmla="*/ 486 w 512"/>
                    <a:gd name="T107" fmla="*/ 106 h 408"/>
                    <a:gd name="T108" fmla="*/ 508 w 512"/>
                    <a:gd name="T109" fmla="*/ 132 h 408"/>
                    <a:gd name="T110" fmla="*/ 499 w 512"/>
                    <a:gd name="T111" fmla="*/ 149 h 408"/>
                    <a:gd name="T112" fmla="*/ 478 w 512"/>
                    <a:gd name="T113" fmla="*/ 152 h 408"/>
                    <a:gd name="T114" fmla="*/ 458 w 512"/>
                    <a:gd name="T115" fmla="*/ 180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4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151 w 232"/>
                    <a:gd name="T1" fmla="*/ 24 h 289"/>
                    <a:gd name="T2" fmla="*/ 165 w 232"/>
                    <a:gd name="T3" fmla="*/ 48 h 289"/>
                    <a:gd name="T4" fmla="*/ 174 w 232"/>
                    <a:gd name="T5" fmla="*/ 56 h 289"/>
                    <a:gd name="T6" fmla="*/ 181 w 232"/>
                    <a:gd name="T7" fmla="*/ 60 h 289"/>
                    <a:gd name="T8" fmla="*/ 186 w 232"/>
                    <a:gd name="T9" fmla="*/ 166 h 289"/>
                    <a:gd name="T10" fmla="*/ 189 w 232"/>
                    <a:gd name="T11" fmla="*/ 196 h 289"/>
                    <a:gd name="T12" fmla="*/ 193 w 232"/>
                    <a:gd name="T13" fmla="*/ 207 h 289"/>
                    <a:gd name="T14" fmla="*/ 199 w 232"/>
                    <a:gd name="T15" fmla="*/ 216 h 289"/>
                    <a:gd name="T16" fmla="*/ 232 w 232"/>
                    <a:gd name="T17" fmla="*/ 246 h 289"/>
                    <a:gd name="T18" fmla="*/ 219 w 232"/>
                    <a:gd name="T19" fmla="*/ 288 h 289"/>
                    <a:gd name="T20" fmla="*/ 186 w 232"/>
                    <a:gd name="T21" fmla="*/ 282 h 289"/>
                    <a:gd name="T22" fmla="*/ 151 w 232"/>
                    <a:gd name="T23" fmla="*/ 264 h 289"/>
                    <a:gd name="T24" fmla="*/ 113 w 232"/>
                    <a:gd name="T25" fmla="*/ 235 h 289"/>
                    <a:gd name="T26" fmla="*/ 81 w 232"/>
                    <a:gd name="T27" fmla="*/ 207 h 289"/>
                    <a:gd name="T28" fmla="*/ 56 w 232"/>
                    <a:gd name="T29" fmla="*/ 176 h 289"/>
                    <a:gd name="T30" fmla="*/ 31 w 232"/>
                    <a:gd name="T31" fmla="*/ 145 h 289"/>
                    <a:gd name="T32" fmla="*/ 9 w 232"/>
                    <a:gd name="T33" fmla="*/ 126 h 289"/>
                    <a:gd name="T34" fmla="*/ 2 w 232"/>
                    <a:gd name="T35" fmla="*/ 117 h 289"/>
                    <a:gd name="T36" fmla="*/ 0 w 232"/>
                    <a:gd name="T37" fmla="*/ 109 h 289"/>
                    <a:gd name="T38" fmla="*/ 0 w 232"/>
                    <a:gd name="T39" fmla="*/ 100 h 289"/>
                    <a:gd name="T40" fmla="*/ 3 w 232"/>
                    <a:gd name="T41" fmla="*/ 92 h 289"/>
                    <a:gd name="T42" fmla="*/ 11 w 232"/>
                    <a:gd name="T43" fmla="*/ 79 h 289"/>
                    <a:gd name="T44" fmla="*/ 12 w 232"/>
                    <a:gd name="T45" fmla="*/ 52 h 289"/>
                    <a:gd name="T46" fmla="*/ 7 w 232"/>
                    <a:gd name="T47" fmla="*/ 15 h 289"/>
                    <a:gd name="T48" fmla="*/ 13 w 232"/>
                    <a:gd name="T49" fmla="*/ 0 h 289"/>
                    <a:gd name="T50" fmla="*/ 26 w 232"/>
                    <a:gd name="T51" fmla="*/ 3 h 289"/>
                    <a:gd name="T52" fmla="*/ 42 w 232"/>
                    <a:gd name="T53" fmla="*/ 10 h 289"/>
                    <a:gd name="T54" fmla="*/ 59 w 232"/>
                    <a:gd name="T55" fmla="*/ 21 h 289"/>
                    <a:gd name="T56" fmla="*/ 73 w 232"/>
                    <a:gd name="T57" fmla="*/ 28 h 289"/>
                    <a:gd name="T58" fmla="*/ 81 w 232"/>
                    <a:gd name="T59" fmla="*/ 31 h 289"/>
                    <a:gd name="T60" fmla="*/ 91 w 232"/>
                    <a:gd name="T61" fmla="*/ 31 h 289"/>
                    <a:gd name="T62" fmla="*/ 105 w 232"/>
                    <a:gd name="T63" fmla="*/ 26 h 289"/>
                    <a:gd name="T64" fmla="*/ 120 w 232"/>
                    <a:gd name="T65" fmla="*/ 19 h 289"/>
                    <a:gd name="T66" fmla="*/ 133 w 232"/>
                    <a:gd name="T67" fmla="*/ 11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07" name="Freeform 2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175967" y="1598856"/>
                <a:ext cx="4077173" cy="1074985"/>
              </a:xfrm>
              <a:custGeom>
                <a:avLst/>
                <a:gdLst>
                  <a:gd name="T0" fmla="*/ 725 w 7049"/>
                  <a:gd name="T1" fmla="*/ 1733 h 2048"/>
                  <a:gd name="T2" fmla="*/ 1070 w 7049"/>
                  <a:gd name="T3" fmla="*/ 1937 h 2048"/>
                  <a:gd name="T4" fmla="*/ 1212 w 7049"/>
                  <a:gd name="T5" fmla="*/ 1814 h 2048"/>
                  <a:gd name="T6" fmla="*/ 1674 w 7049"/>
                  <a:gd name="T7" fmla="*/ 1469 h 2048"/>
                  <a:gd name="T8" fmla="*/ 2618 w 7049"/>
                  <a:gd name="T9" fmla="*/ 1315 h 2048"/>
                  <a:gd name="T10" fmla="*/ 3350 w 7049"/>
                  <a:gd name="T11" fmla="*/ 1494 h 2048"/>
                  <a:gd name="T12" fmla="*/ 3676 w 7049"/>
                  <a:gd name="T13" fmla="*/ 1438 h 2048"/>
                  <a:gd name="T14" fmla="*/ 4136 w 7049"/>
                  <a:gd name="T15" fmla="*/ 1492 h 2048"/>
                  <a:gd name="T16" fmla="*/ 4577 w 7049"/>
                  <a:gd name="T17" fmla="*/ 1509 h 2048"/>
                  <a:gd name="T18" fmla="*/ 4759 w 7049"/>
                  <a:gd name="T19" fmla="*/ 1372 h 2048"/>
                  <a:gd name="T20" fmla="*/ 5156 w 7049"/>
                  <a:gd name="T21" fmla="*/ 1476 h 2048"/>
                  <a:gd name="T22" fmla="*/ 5614 w 7049"/>
                  <a:gd name="T23" fmla="*/ 1598 h 2048"/>
                  <a:gd name="T24" fmla="*/ 5604 w 7049"/>
                  <a:gd name="T25" fmla="*/ 1844 h 2048"/>
                  <a:gd name="T26" fmla="*/ 5853 w 7049"/>
                  <a:gd name="T27" fmla="*/ 1612 h 2048"/>
                  <a:gd name="T28" fmla="*/ 5570 w 7049"/>
                  <a:gd name="T29" fmla="*/ 1256 h 2048"/>
                  <a:gd name="T30" fmla="*/ 5331 w 7049"/>
                  <a:gd name="T31" fmla="*/ 1147 h 2048"/>
                  <a:gd name="T32" fmla="*/ 5857 w 7049"/>
                  <a:gd name="T33" fmla="*/ 982 h 2048"/>
                  <a:gd name="T34" fmla="*/ 5974 w 7049"/>
                  <a:gd name="T35" fmla="*/ 822 h 2048"/>
                  <a:gd name="T36" fmla="*/ 6132 w 7049"/>
                  <a:gd name="T37" fmla="*/ 761 h 2048"/>
                  <a:gd name="T38" fmla="*/ 6195 w 7049"/>
                  <a:gd name="T39" fmla="*/ 974 h 2048"/>
                  <a:gd name="T40" fmla="*/ 6352 w 7049"/>
                  <a:gd name="T41" fmla="*/ 1251 h 2048"/>
                  <a:gd name="T42" fmla="*/ 6575 w 7049"/>
                  <a:gd name="T43" fmla="*/ 1410 h 2048"/>
                  <a:gd name="T44" fmla="*/ 6566 w 7049"/>
                  <a:gd name="T45" fmla="*/ 1214 h 2048"/>
                  <a:gd name="T46" fmla="*/ 6373 w 7049"/>
                  <a:gd name="T47" fmla="*/ 1037 h 2048"/>
                  <a:gd name="T48" fmla="*/ 6547 w 7049"/>
                  <a:gd name="T49" fmla="*/ 885 h 2048"/>
                  <a:gd name="T50" fmla="*/ 6801 w 7049"/>
                  <a:gd name="T51" fmla="*/ 784 h 2048"/>
                  <a:gd name="T52" fmla="*/ 6628 w 7049"/>
                  <a:gd name="T53" fmla="*/ 618 h 2048"/>
                  <a:gd name="T54" fmla="*/ 6799 w 7049"/>
                  <a:gd name="T55" fmla="*/ 636 h 2048"/>
                  <a:gd name="T56" fmla="*/ 6861 w 7049"/>
                  <a:gd name="T57" fmla="*/ 543 h 2048"/>
                  <a:gd name="T58" fmla="*/ 6500 w 7049"/>
                  <a:gd name="T59" fmla="*/ 462 h 2048"/>
                  <a:gd name="T60" fmla="*/ 5843 w 7049"/>
                  <a:gd name="T61" fmla="*/ 410 h 2048"/>
                  <a:gd name="T62" fmla="*/ 5693 w 7049"/>
                  <a:gd name="T63" fmla="*/ 415 h 2048"/>
                  <a:gd name="T64" fmla="*/ 4991 w 7049"/>
                  <a:gd name="T65" fmla="*/ 351 h 2048"/>
                  <a:gd name="T66" fmla="*/ 4728 w 7049"/>
                  <a:gd name="T67" fmla="*/ 290 h 2048"/>
                  <a:gd name="T68" fmla="*/ 4412 w 7049"/>
                  <a:gd name="T69" fmla="*/ 290 h 2048"/>
                  <a:gd name="T70" fmla="*/ 4009 w 7049"/>
                  <a:gd name="T71" fmla="*/ 318 h 2048"/>
                  <a:gd name="T72" fmla="*/ 3574 w 7049"/>
                  <a:gd name="T73" fmla="*/ 261 h 2048"/>
                  <a:gd name="T74" fmla="*/ 3290 w 7049"/>
                  <a:gd name="T75" fmla="*/ 244 h 2048"/>
                  <a:gd name="T76" fmla="*/ 3008 w 7049"/>
                  <a:gd name="T77" fmla="*/ 235 h 2048"/>
                  <a:gd name="T78" fmla="*/ 2724 w 7049"/>
                  <a:gd name="T79" fmla="*/ 58 h 2048"/>
                  <a:gd name="T80" fmla="*/ 2617 w 7049"/>
                  <a:gd name="T81" fmla="*/ 140 h 2048"/>
                  <a:gd name="T82" fmla="*/ 2134 w 7049"/>
                  <a:gd name="T83" fmla="*/ 167 h 2048"/>
                  <a:gd name="T84" fmla="*/ 2159 w 7049"/>
                  <a:gd name="T85" fmla="*/ 200 h 2048"/>
                  <a:gd name="T86" fmla="*/ 2198 w 7049"/>
                  <a:gd name="T87" fmla="*/ 342 h 2048"/>
                  <a:gd name="T88" fmla="*/ 1933 w 7049"/>
                  <a:gd name="T89" fmla="*/ 256 h 2048"/>
                  <a:gd name="T90" fmla="*/ 1787 w 7049"/>
                  <a:gd name="T91" fmla="*/ 273 h 2048"/>
                  <a:gd name="T92" fmla="*/ 1917 w 7049"/>
                  <a:gd name="T93" fmla="*/ 446 h 2048"/>
                  <a:gd name="T94" fmla="*/ 2076 w 7049"/>
                  <a:gd name="T95" fmla="*/ 529 h 2048"/>
                  <a:gd name="T96" fmla="*/ 1883 w 7049"/>
                  <a:gd name="T97" fmla="*/ 593 h 2048"/>
                  <a:gd name="T98" fmla="*/ 1832 w 7049"/>
                  <a:gd name="T99" fmla="*/ 464 h 2048"/>
                  <a:gd name="T100" fmla="*/ 1621 w 7049"/>
                  <a:gd name="T101" fmla="*/ 231 h 2048"/>
                  <a:gd name="T102" fmla="*/ 1623 w 7049"/>
                  <a:gd name="T103" fmla="*/ 451 h 2048"/>
                  <a:gd name="T104" fmla="*/ 1238 w 7049"/>
                  <a:gd name="T105" fmla="*/ 397 h 2048"/>
                  <a:gd name="T106" fmla="*/ 1198 w 7049"/>
                  <a:gd name="T107" fmla="*/ 477 h 2048"/>
                  <a:gd name="T108" fmla="*/ 908 w 7049"/>
                  <a:gd name="T109" fmla="*/ 500 h 2048"/>
                  <a:gd name="T110" fmla="*/ 692 w 7049"/>
                  <a:gd name="T111" fmla="*/ 483 h 2048"/>
                  <a:gd name="T112" fmla="*/ 602 w 7049"/>
                  <a:gd name="T113" fmla="*/ 585 h 2048"/>
                  <a:gd name="T114" fmla="*/ 407 w 7049"/>
                  <a:gd name="T115" fmla="*/ 739 h 2048"/>
                  <a:gd name="T116" fmla="*/ 390 w 7049"/>
                  <a:gd name="T117" fmla="*/ 612 h 2048"/>
                  <a:gd name="T118" fmla="*/ 150 w 7049"/>
                  <a:gd name="T119" fmla="*/ 440 h 2048"/>
                  <a:gd name="T120" fmla="*/ 71 w 7049"/>
                  <a:gd name="T121" fmla="*/ 605 h 2048"/>
                  <a:gd name="T122" fmla="*/ 112 w 7049"/>
                  <a:gd name="T123" fmla="*/ 958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8" name="Freeform 2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196261" y="2586510"/>
                <a:ext cx="373722" cy="247707"/>
              </a:xfrm>
              <a:custGeom>
                <a:avLst/>
                <a:gdLst>
                  <a:gd name="T0" fmla="*/ 406 w 647"/>
                  <a:gd name="T1" fmla="*/ 27 h 470"/>
                  <a:gd name="T2" fmla="*/ 428 w 647"/>
                  <a:gd name="T3" fmla="*/ 45 h 470"/>
                  <a:gd name="T4" fmla="*/ 458 w 647"/>
                  <a:gd name="T5" fmla="*/ 60 h 470"/>
                  <a:gd name="T6" fmla="*/ 512 w 647"/>
                  <a:gd name="T7" fmla="*/ 78 h 470"/>
                  <a:gd name="T8" fmla="*/ 538 w 647"/>
                  <a:gd name="T9" fmla="*/ 81 h 470"/>
                  <a:gd name="T10" fmla="*/ 562 w 647"/>
                  <a:gd name="T11" fmla="*/ 99 h 470"/>
                  <a:gd name="T12" fmla="*/ 567 w 647"/>
                  <a:gd name="T13" fmla="*/ 97 h 470"/>
                  <a:gd name="T14" fmla="*/ 575 w 647"/>
                  <a:gd name="T15" fmla="*/ 85 h 470"/>
                  <a:gd name="T16" fmla="*/ 583 w 647"/>
                  <a:gd name="T17" fmla="*/ 78 h 470"/>
                  <a:gd name="T18" fmla="*/ 603 w 647"/>
                  <a:gd name="T19" fmla="*/ 80 h 470"/>
                  <a:gd name="T20" fmla="*/ 624 w 647"/>
                  <a:gd name="T21" fmla="*/ 79 h 470"/>
                  <a:gd name="T22" fmla="*/ 640 w 647"/>
                  <a:gd name="T23" fmla="*/ 84 h 470"/>
                  <a:gd name="T24" fmla="*/ 646 w 647"/>
                  <a:gd name="T25" fmla="*/ 103 h 470"/>
                  <a:gd name="T26" fmla="*/ 646 w 647"/>
                  <a:gd name="T27" fmla="*/ 123 h 470"/>
                  <a:gd name="T28" fmla="*/ 618 w 647"/>
                  <a:gd name="T29" fmla="*/ 131 h 470"/>
                  <a:gd name="T30" fmla="*/ 586 w 647"/>
                  <a:gd name="T31" fmla="*/ 146 h 470"/>
                  <a:gd name="T32" fmla="*/ 560 w 647"/>
                  <a:gd name="T33" fmla="*/ 165 h 470"/>
                  <a:gd name="T34" fmla="*/ 504 w 647"/>
                  <a:gd name="T35" fmla="*/ 214 h 470"/>
                  <a:gd name="T36" fmla="*/ 489 w 647"/>
                  <a:gd name="T37" fmla="*/ 227 h 470"/>
                  <a:gd name="T38" fmla="*/ 474 w 647"/>
                  <a:gd name="T39" fmla="*/ 254 h 470"/>
                  <a:gd name="T40" fmla="*/ 473 w 647"/>
                  <a:gd name="T41" fmla="*/ 282 h 470"/>
                  <a:gd name="T42" fmla="*/ 473 w 647"/>
                  <a:gd name="T43" fmla="*/ 311 h 470"/>
                  <a:gd name="T44" fmla="*/ 463 w 647"/>
                  <a:gd name="T45" fmla="*/ 340 h 470"/>
                  <a:gd name="T46" fmla="*/ 450 w 647"/>
                  <a:gd name="T47" fmla="*/ 354 h 470"/>
                  <a:gd name="T48" fmla="*/ 411 w 647"/>
                  <a:gd name="T49" fmla="*/ 384 h 470"/>
                  <a:gd name="T50" fmla="*/ 383 w 647"/>
                  <a:gd name="T51" fmla="*/ 411 h 470"/>
                  <a:gd name="T52" fmla="*/ 374 w 647"/>
                  <a:gd name="T53" fmla="*/ 425 h 470"/>
                  <a:gd name="T54" fmla="*/ 369 w 647"/>
                  <a:gd name="T55" fmla="*/ 432 h 470"/>
                  <a:gd name="T56" fmla="*/ 310 w 647"/>
                  <a:gd name="T57" fmla="*/ 429 h 470"/>
                  <a:gd name="T58" fmla="*/ 257 w 647"/>
                  <a:gd name="T59" fmla="*/ 434 h 470"/>
                  <a:gd name="T60" fmla="*/ 224 w 647"/>
                  <a:gd name="T61" fmla="*/ 446 h 470"/>
                  <a:gd name="T62" fmla="*/ 193 w 647"/>
                  <a:gd name="T63" fmla="*/ 467 h 470"/>
                  <a:gd name="T64" fmla="*/ 179 w 647"/>
                  <a:gd name="T65" fmla="*/ 469 h 470"/>
                  <a:gd name="T66" fmla="*/ 169 w 647"/>
                  <a:gd name="T67" fmla="*/ 461 h 470"/>
                  <a:gd name="T68" fmla="*/ 153 w 647"/>
                  <a:gd name="T69" fmla="*/ 432 h 470"/>
                  <a:gd name="T70" fmla="*/ 140 w 647"/>
                  <a:gd name="T71" fmla="*/ 414 h 470"/>
                  <a:gd name="T72" fmla="*/ 122 w 647"/>
                  <a:gd name="T73" fmla="*/ 400 h 470"/>
                  <a:gd name="T74" fmla="*/ 114 w 647"/>
                  <a:gd name="T75" fmla="*/ 379 h 470"/>
                  <a:gd name="T76" fmla="*/ 126 w 647"/>
                  <a:gd name="T77" fmla="*/ 336 h 470"/>
                  <a:gd name="T78" fmla="*/ 127 w 647"/>
                  <a:gd name="T79" fmla="*/ 267 h 470"/>
                  <a:gd name="T80" fmla="*/ 147 w 647"/>
                  <a:gd name="T81" fmla="*/ 206 h 470"/>
                  <a:gd name="T82" fmla="*/ 168 w 647"/>
                  <a:gd name="T83" fmla="*/ 149 h 470"/>
                  <a:gd name="T84" fmla="*/ 172 w 647"/>
                  <a:gd name="T85" fmla="*/ 131 h 470"/>
                  <a:gd name="T86" fmla="*/ 116 w 647"/>
                  <a:gd name="T87" fmla="*/ 123 h 470"/>
                  <a:gd name="T88" fmla="*/ 62 w 647"/>
                  <a:gd name="T89" fmla="*/ 109 h 470"/>
                  <a:gd name="T90" fmla="*/ 17 w 647"/>
                  <a:gd name="T91" fmla="*/ 93 h 470"/>
                  <a:gd name="T92" fmla="*/ 0 w 647"/>
                  <a:gd name="T93" fmla="*/ 38 h 470"/>
                  <a:gd name="T94" fmla="*/ 23 w 647"/>
                  <a:gd name="T95" fmla="*/ 34 h 470"/>
                  <a:gd name="T96" fmla="*/ 51 w 647"/>
                  <a:gd name="T97" fmla="*/ 20 h 470"/>
                  <a:gd name="T98" fmla="*/ 73 w 647"/>
                  <a:gd name="T99" fmla="*/ 4 h 470"/>
                  <a:gd name="T100" fmla="*/ 86 w 647"/>
                  <a:gd name="T101" fmla="*/ 0 h 470"/>
                  <a:gd name="T102" fmla="*/ 132 w 647"/>
                  <a:gd name="T103" fmla="*/ 7 h 470"/>
                  <a:gd name="T104" fmla="*/ 171 w 647"/>
                  <a:gd name="T105" fmla="*/ 17 h 470"/>
                  <a:gd name="T106" fmla="*/ 209 w 647"/>
                  <a:gd name="T107" fmla="*/ 20 h 470"/>
                  <a:gd name="T108" fmla="*/ 235 w 647"/>
                  <a:gd name="T109" fmla="*/ 29 h 470"/>
                  <a:gd name="T110" fmla="*/ 258 w 647"/>
                  <a:gd name="T111" fmla="*/ 37 h 470"/>
                  <a:gd name="T112" fmla="*/ 385 w 647"/>
                  <a:gd name="T113" fmla="*/ 2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9" name="Freeform 2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8697014" y="3324868"/>
                <a:ext cx="276597" cy="455718"/>
              </a:xfrm>
              <a:custGeom>
                <a:avLst/>
                <a:gdLst>
                  <a:gd name="T0" fmla="*/ 379 w 479"/>
                  <a:gd name="T1" fmla="*/ 357 h 868"/>
                  <a:gd name="T2" fmla="*/ 333 w 479"/>
                  <a:gd name="T3" fmla="*/ 370 h 868"/>
                  <a:gd name="T4" fmla="*/ 314 w 479"/>
                  <a:gd name="T5" fmla="*/ 390 h 868"/>
                  <a:gd name="T6" fmla="*/ 316 w 479"/>
                  <a:gd name="T7" fmla="*/ 428 h 868"/>
                  <a:gd name="T8" fmla="*/ 352 w 479"/>
                  <a:gd name="T9" fmla="*/ 492 h 868"/>
                  <a:gd name="T10" fmla="*/ 359 w 479"/>
                  <a:gd name="T11" fmla="*/ 530 h 868"/>
                  <a:gd name="T12" fmla="*/ 366 w 479"/>
                  <a:gd name="T13" fmla="*/ 555 h 868"/>
                  <a:gd name="T14" fmla="*/ 323 w 479"/>
                  <a:gd name="T15" fmla="*/ 526 h 868"/>
                  <a:gd name="T16" fmla="*/ 309 w 479"/>
                  <a:gd name="T17" fmla="*/ 492 h 868"/>
                  <a:gd name="T18" fmla="*/ 269 w 479"/>
                  <a:gd name="T19" fmla="*/ 467 h 868"/>
                  <a:gd name="T20" fmla="*/ 210 w 479"/>
                  <a:gd name="T21" fmla="*/ 439 h 868"/>
                  <a:gd name="T22" fmla="*/ 193 w 479"/>
                  <a:gd name="T23" fmla="*/ 406 h 868"/>
                  <a:gd name="T24" fmla="*/ 156 w 479"/>
                  <a:gd name="T25" fmla="*/ 477 h 868"/>
                  <a:gd name="T26" fmla="*/ 156 w 479"/>
                  <a:gd name="T27" fmla="*/ 524 h 868"/>
                  <a:gd name="T28" fmla="*/ 132 w 479"/>
                  <a:gd name="T29" fmla="*/ 575 h 868"/>
                  <a:gd name="T30" fmla="*/ 128 w 479"/>
                  <a:gd name="T31" fmla="*/ 621 h 868"/>
                  <a:gd name="T32" fmla="*/ 154 w 479"/>
                  <a:gd name="T33" fmla="*/ 650 h 868"/>
                  <a:gd name="T34" fmla="*/ 175 w 479"/>
                  <a:gd name="T35" fmla="*/ 685 h 868"/>
                  <a:gd name="T36" fmla="*/ 185 w 479"/>
                  <a:gd name="T37" fmla="*/ 730 h 868"/>
                  <a:gd name="T38" fmla="*/ 226 w 479"/>
                  <a:gd name="T39" fmla="*/ 780 h 868"/>
                  <a:gd name="T40" fmla="*/ 281 w 479"/>
                  <a:gd name="T41" fmla="*/ 825 h 868"/>
                  <a:gd name="T42" fmla="*/ 340 w 479"/>
                  <a:gd name="T43" fmla="*/ 850 h 868"/>
                  <a:gd name="T44" fmla="*/ 298 w 479"/>
                  <a:gd name="T45" fmla="*/ 867 h 868"/>
                  <a:gd name="T46" fmla="*/ 269 w 479"/>
                  <a:gd name="T47" fmla="*/ 864 h 868"/>
                  <a:gd name="T48" fmla="*/ 229 w 479"/>
                  <a:gd name="T49" fmla="*/ 841 h 868"/>
                  <a:gd name="T50" fmla="*/ 200 w 479"/>
                  <a:gd name="T51" fmla="*/ 823 h 868"/>
                  <a:gd name="T52" fmla="*/ 137 w 479"/>
                  <a:gd name="T53" fmla="*/ 759 h 868"/>
                  <a:gd name="T54" fmla="*/ 83 w 479"/>
                  <a:gd name="T55" fmla="*/ 730 h 868"/>
                  <a:gd name="T56" fmla="*/ 74 w 479"/>
                  <a:gd name="T57" fmla="*/ 688 h 868"/>
                  <a:gd name="T58" fmla="*/ 80 w 479"/>
                  <a:gd name="T59" fmla="*/ 653 h 868"/>
                  <a:gd name="T60" fmla="*/ 88 w 479"/>
                  <a:gd name="T61" fmla="*/ 617 h 868"/>
                  <a:gd name="T62" fmla="*/ 120 w 479"/>
                  <a:gd name="T63" fmla="*/ 498 h 868"/>
                  <a:gd name="T64" fmla="*/ 108 w 479"/>
                  <a:gd name="T65" fmla="*/ 404 h 868"/>
                  <a:gd name="T66" fmla="*/ 62 w 479"/>
                  <a:gd name="T67" fmla="*/ 319 h 868"/>
                  <a:gd name="T68" fmla="*/ 64 w 479"/>
                  <a:gd name="T69" fmla="*/ 285 h 868"/>
                  <a:gd name="T70" fmla="*/ 74 w 479"/>
                  <a:gd name="T71" fmla="*/ 265 h 868"/>
                  <a:gd name="T72" fmla="*/ 56 w 479"/>
                  <a:gd name="T73" fmla="*/ 202 h 868"/>
                  <a:gd name="T74" fmla="*/ 23 w 479"/>
                  <a:gd name="T75" fmla="*/ 158 h 868"/>
                  <a:gd name="T76" fmla="*/ 1 w 479"/>
                  <a:gd name="T77" fmla="*/ 102 h 868"/>
                  <a:gd name="T78" fmla="*/ 11 w 479"/>
                  <a:gd name="T79" fmla="*/ 44 h 868"/>
                  <a:gd name="T80" fmla="*/ 49 w 479"/>
                  <a:gd name="T81" fmla="*/ 16 h 868"/>
                  <a:gd name="T82" fmla="*/ 120 w 479"/>
                  <a:gd name="T83" fmla="*/ 0 h 868"/>
                  <a:gd name="T84" fmla="*/ 156 w 479"/>
                  <a:gd name="T85" fmla="*/ 28 h 868"/>
                  <a:gd name="T86" fmla="*/ 179 w 479"/>
                  <a:gd name="T87" fmla="*/ 36 h 868"/>
                  <a:gd name="T88" fmla="*/ 197 w 479"/>
                  <a:gd name="T89" fmla="*/ 136 h 868"/>
                  <a:gd name="T90" fmla="*/ 213 w 479"/>
                  <a:gd name="T91" fmla="*/ 166 h 868"/>
                  <a:gd name="T92" fmla="*/ 231 w 479"/>
                  <a:gd name="T93" fmla="*/ 155 h 868"/>
                  <a:gd name="T94" fmla="*/ 258 w 479"/>
                  <a:gd name="T95" fmla="*/ 126 h 868"/>
                  <a:gd name="T96" fmla="*/ 281 w 479"/>
                  <a:gd name="T97" fmla="*/ 141 h 868"/>
                  <a:gd name="T98" fmla="*/ 298 w 479"/>
                  <a:gd name="T99" fmla="*/ 136 h 868"/>
                  <a:gd name="T100" fmla="*/ 316 w 479"/>
                  <a:gd name="T101" fmla="*/ 108 h 868"/>
                  <a:gd name="T102" fmla="*/ 346 w 479"/>
                  <a:gd name="T103" fmla="*/ 108 h 868"/>
                  <a:gd name="T104" fmla="*/ 387 w 479"/>
                  <a:gd name="T105" fmla="*/ 157 h 868"/>
                  <a:gd name="T106" fmla="*/ 454 w 479"/>
                  <a:gd name="T107" fmla="*/ 246 h 868"/>
                  <a:gd name="T108" fmla="*/ 478 w 479"/>
                  <a:gd name="T109" fmla="*/ 307 h 868"/>
                  <a:gd name="T110" fmla="*/ 468 w 479"/>
                  <a:gd name="T111" fmla="*/ 33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0" name="Freeform 2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776457" y="5713020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1" name="Line 26" descr="Horizontal dunkel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17344" y="2634146"/>
                <a:ext cx="4223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2" name="Freeform 2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21566" y="2630969"/>
                <a:ext cx="4223" cy="55575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19 h 24"/>
                  <a:gd name="T4" fmla="*/ 1 w 6"/>
                  <a:gd name="T5" fmla="*/ 14 h 24"/>
                  <a:gd name="T6" fmla="*/ 3 w 6"/>
                  <a:gd name="T7" fmla="*/ 8 h 24"/>
                  <a:gd name="T8" fmla="*/ 6 w 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3" name="Freeform 2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589894" y="2684958"/>
                <a:ext cx="31672" cy="57162"/>
              </a:xfrm>
              <a:custGeom>
                <a:avLst/>
                <a:gdLst>
                  <a:gd name="T0" fmla="*/ 0 w 47"/>
                  <a:gd name="T1" fmla="*/ 24 h 67"/>
                  <a:gd name="T2" fmla="*/ 0 w 47"/>
                  <a:gd name="T3" fmla="*/ 30 h 67"/>
                  <a:gd name="T4" fmla="*/ 2 w 47"/>
                  <a:gd name="T5" fmla="*/ 36 h 67"/>
                  <a:gd name="T6" fmla="*/ 3 w 47"/>
                  <a:gd name="T7" fmla="*/ 42 h 67"/>
                  <a:gd name="T8" fmla="*/ 5 w 47"/>
                  <a:gd name="T9" fmla="*/ 47 h 67"/>
                  <a:gd name="T10" fmla="*/ 9 w 47"/>
                  <a:gd name="T11" fmla="*/ 58 h 67"/>
                  <a:gd name="T12" fmla="*/ 14 w 47"/>
                  <a:gd name="T13" fmla="*/ 67 h 67"/>
                  <a:gd name="T14" fmla="*/ 47 w 47"/>
                  <a:gd name="T15" fmla="*/ 67 h 67"/>
                  <a:gd name="T16" fmla="*/ 47 w 47"/>
                  <a:gd name="T17" fmla="*/ 0 h 67"/>
                  <a:gd name="T18" fmla="*/ 36 w 47"/>
                  <a:gd name="T19" fmla="*/ 2 h 67"/>
                  <a:gd name="T20" fmla="*/ 26 w 47"/>
                  <a:gd name="T21" fmla="*/ 4 h 67"/>
                  <a:gd name="T22" fmla="*/ 18 w 47"/>
                  <a:gd name="T23" fmla="*/ 7 h 67"/>
                  <a:gd name="T24" fmla="*/ 11 w 47"/>
                  <a:gd name="T25" fmla="*/ 9 h 67"/>
                  <a:gd name="T26" fmla="*/ 6 w 47"/>
                  <a:gd name="T27" fmla="*/ 12 h 67"/>
                  <a:gd name="T28" fmla="*/ 3 w 47"/>
                  <a:gd name="T29" fmla="*/ 16 h 67"/>
                  <a:gd name="T30" fmla="*/ 0 w 47"/>
                  <a:gd name="T31" fmla="*/ 20 h 67"/>
                  <a:gd name="T32" fmla="*/ 0 w 47"/>
                  <a:gd name="T33" fmla="*/ 2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4" name="Freeform 30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6853734" y="2237179"/>
                <a:ext cx="1163399" cy="452542"/>
              </a:xfrm>
              <a:custGeom>
                <a:avLst/>
                <a:gdLst>
                  <a:gd name="T0" fmla="*/ 433 w 2006"/>
                  <a:gd name="T1" fmla="*/ 765 h 863"/>
                  <a:gd name="T2" fmla="*/ 412 w 2006"/>
                  <a:gd name="T3" fmla="*/ 764 h 863"/>
                  <a:gd name="T4" fmla="*/ 390 w 2006"/>
                  <a:gd name="T5" fmla="*/ 794 h 863"/>
                  <a:gd name="T6" fmla="*/ 375 w 2006"/>
                  <a:gd name="T7" fmla="*/ 792 h 863"/>
                  <a:gd name="T8" fmla="*/ 370 w 2006"/>
                  <a:gd name="T9" fmla="*/ 751 h 863"/>
                  <a:gd name="T10" fmla="*/ 324 w 2006"/>
                  <a:gd name="T11" fmla="*/ 724 h 863"/>
                  <a:gd name="T12" fmla="*/ 312 w 2006"/>
                  <a:gd name="T13" fmla="*/ 708 h 863"/>
                  <a:gd name="T14" fmla="*/ 288 w 2006"/>
                  <a:gd name="T15" fmla="*/ 692 h 863"/>
                  <a:gd name="T16" fmla="*/ 251 w 2006"/>
                  <a:gd name="T17" fmla="*/ 641 h 863"/>
                  <a:gd name="T18" fmla="*/ 232 w 2006"/>
                  <a:gd name="T19" fmla="*/ 610 h 863"/>
                  <a:gd name="T20" fmla="*/ 253 w 2006"/>
                  <a:gd name="T21" fmla="*/ 594 h 863"/>
                  <a:gd name="T22" fmla="*/ 279 w 2006"/>
                  <a:gd name="T23" fmla="*/ 573 h 863"/>
                  <a:gd name="T24" fmla="*/ 338 w 2006"/>
                  <a:gd name="T25" fmla="*/ 544 h 863"/>
                  <a:gd name="T26" fmla="*/ 319 w 2006"/>
                  <a:gd name="T27" fmla="*/ 487 h 863"/>
                  <a:gd name="T28" fmla="*/ 258 w 2006"/>
                  <a:gd name="T29" fmla="*/ 475 h 863"/>
                  <a:gd name="T30" fmla="*/ 209 w 2006"/>
                  <a:gd name="T31" fmla="*/ 470 h 863"/>
                  <a:gd name="T32" fmla="*/ 157 w 2006"/>
                  <a:gd name="T33" fmla="*/ 495 h 863"/>
                  <a:gd name="T34" fmla="*/ 106 w 2006"/>
                  <a:gd name="T35" fmla="*/ 505 h 863"/>
                  <a:gd name="T36" fmla="*/ 27 w 2006"/>
                  <a:gd name="T37" fmla="*/ 413 h 863"/>
                  <a:gd name="T38" fmla="*/ 20 w 2006"/>
                  <a:gd name="T39" fmla="*/ 283 h 863"/>
                  <a:gd name="T40" fmla="*/ 113 w 2006"/>
                  <a:gd name="T41" fmla="*/ 259 h 863"/>
                  <a:gd name="T42" fmla="*/ 292 w 2006"/>
                  <a:gd name="T43" fmla="*/ 222 h 863"/>
                  <a:gd name="T44" fmla="*/ 498 w 2006"/>
                  <a:gd name="T45" fmla="*/ 253 h 863"/>
                  <a:gd name="T46" fmla="*/ 717 w 2006"/>
                  <a:gd name="T47" fmla="*/ 253 h 863"/>
                  <a:gd name="T48" fmla="*/ 658 w 2006"/>
                  <a:gd name="T49" fmla="*/ 185 h 863"/>
                  <a:gd name="T50" fmla="*/ 830 w 2006"/>
                  <a:gd name="T51" fmla="*/ 68 h 863"/>
                  <a:gd name="T52" fmla="*/ 1050 w 2006"/>
                  <a:gd name="T53" fmla="*/ 13 h 863"/>
                  <a:gd name="T54" fmla="*/ 1176 w 2006"/>
                  <a:gd name="T55" fmla="*/ 61 h 863"/>
                  <a:gd name="T56" fmla="*/ 1296 w 2006"/>
                  <a:gd name="T57" fmla="*/ 111 h 863"/>
                  <a:gd name="T58" fmla="*/ 1442 w 2006"/>
                  <a:gd name="T59" fmla="*/ 99 h 863"/>
                  <a:gd name="T60" fmla="*/ 1647 w 2006"/>
                  <a:gd name="T61" fmla="*/ 271 h 863"/>
                  <a:gd name="T62" fmla="*/ 1793 w 2006"/>
                  <a:gd name="T63" fmla="*/ 265 h 863"/>
                  <a:gd name="T64" fmla="*/ 2000 w 2006"/>
                  <a:gd name="T65" fmla="*/ 339 h 863"/>
                  <a:gd name="T66" fmla="*/ 2002 w 2006"/>
                  <a:gd name="T67" fmla="*/ 381 h 863"/>
                  <a:gd name="T68" fmla="*/ 1981 w 2006"/>
                  <a:gd name="T69" fmla="*/ 399 h 863"/>
                  <a:gd name="T70" fmla="*/ 1960 w 2006"/>
                  <a:gd name="T71" fmla="*/ 404 h 863"/>
                  <a:gd name="T72" fmla="*/ 1963 w 2006"/>
                  <a:gd name="T73" fmla="*/ 425 h 863"/>
                  <a:gd name="T74" fmla="*/ 1985 w 2006"/>
                  <a:gd name="T75" fmla="*/ 466 h 863"/>
                  <a:gd name="T76" fmla="*/ 1979 w 2006"/>
                  <a:gd name="T77" fmla="*/ 478 h 863"/>
                  <a:gd name="T78" fmla="*/ 1939 w 2006"/>
                  <a:gd name="T79" fmla="*/ 481 h 863"/>
                  <a:gd name="T80" fmla="*/ 1893 w 2006"/>
                  <a:gd name="T81" fmla="*/ 474 h 863"/>
                  <a:gd name="T82" fmla="*/ 1864 w 2006"/>
                  <a:gd name="T83" fmla="*/ 474 h 863"/>
                  <a:gd name="T84" fmla="*/ 1878 w 2006"/>
                  <a:gd name="T85" fmla="*/ 548 h 863"/>
                  <a:gd name="T86" fmla="*/ 1880 w 2006"/>
                  <a:gd name="T87" fmla="*/ 586 h 863"/>
                  <a:gd name="T88" fmla="*/ 1789 w 2006"/>
                  <a:gd name="T89" fmla="*/ 588 h 863"/>
                  <a:gd name="T90" fmla="*/ 1768 w 2006"/>
                  <a:gd name="T91" fmla="*/ 604 h 863"/>
                  <a:gd name="T92" fmla="*/ 1795 w 2006"/>
                  <a:gd name="T93" fmla="*/ 619 h 863"/>
                  <a:gd name="T94" fmla="*/ 1814 w 2006"/>
                  <a:gd name="T95" fmla="*/ 650 h 863"/>
                  <a:gd name="T96" fmla="*/ 1834 w 2006"/>
                  <a:gd name="T97" fmla="*/ 689 h 863"/>
                  <a:gd name="T98" fmla="*/ 1837 w 2006"/>
                  <a:gd name="T99" fmla="*/ 706 h 863"/>
                  <a:gd name="T100" fmla="*/ 1837 w 2006"/>
                  <a:gd name="T101" fmla="*/ 754 h 863"/>
                  <a:gd name="T102" fmla="*/ 1741 w 2006"/>
                  <a:gd name="T103" fmla="*/ 740 h 863"/>
                  <a:gd name="T104" fmla="*/ 1475 w 2006"/>
                  <a:gd name="T105" fmla="*/ 764 h 863"/>
                  <a:gd name="T106" fmla="*/ 1316 w 2006"/>
                  <a:gd name="T107" fmla="*/ 795 h 863"/>
                  <a:gd name="T108" fmla="*/ 1142 w 2006"/>
                  <a:gd name="T109" fmla="*/ 838 h 863"/>
                  <a:gd name="T110" fmla="*/ 963 w 2006"/>
                  <a:gd name="T111" fmla="*/ 697 h 863"/>
                  <a:gd name="T112" fmla="*/ 684 w 2006"/>
                  <a:gd name="T113" fmla="*/ 586 h 863"/>
                  <a:gd name="T114" fmla="*/ 584 w 2006"/>
                  <a:gd name="T115" fmla="*/ 832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5" name="Freeform 31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7159893" y="2540460"/>
                <a:ext cx="544749" cy="249296"/>
              </a:xfrm>
              <a:custGeom>
                <a:avLst/>
                <a:gdLst>
                  <a:gd name="T0" fmla="*/ 638 w 950"/>
                  <a:gd name="T1" fmla="*/ 443 h 468"/>
                  <a:gd name="T2" fmla="*/ 558 w 950"/>
                  <a:gd name="T3" fmla="*/ 418 h 468"/>
                  <a:gd name="T4" fmla="*/ 471 w 950"/>
                  <a:gd name="T5" fmla="*/ 376 h 468"/>
                  <a:gd name="T6" fmla="*/ 392 w 950"/>
                  <a:gd name="T7" fmla="*/ 307 h 468"/>
                  <a:gd name="T8" fmla="*/ 305 w 950"/>
                  <a:gd name="T9" fmla="*/ 258 h 468"/>
                  <a:gd name="T10" fmla="*/ 253 w 950"/>
                  <a:gd name="T11" fmla="*/ 209 h 468"/>
                  <a:gd name="T12" fmla="*/ 186 w 950"/>
                  <a:gd name="T13" fmla="*/ 172 h 468"/>
                  <a:gd name="T14" fmla="*/ 133 w 950"/>
                  <a:gd name="T15" fmla="*/ 190 h 468"/>
                  <a:gd name="T16" fmla="*/ 99 w 950"/>
                  <a:gd name="T17" fmla="*/ 240 h 468"/>
                  <a:gd name="T18" fmla="*/ 40 w 950"/>
                  <a:gd name="T19" fmla="*/ 246 h 468"/>
                  <a:gd name="T20" fmla="*/ 0 w 950"/>
                  <a:gd name="T21" fmla="*/ 24 h 468"/>
                  <a:gd name="T22" fmla="*/ 79 w 950"/>
                  <a:gd name="T23" fmla="*/ 6 h 468"/>
                  <a:gd name="T24" fmla="*/ 133 w 950"/>
                  <a:gd name="T25" fmla="*/ 55 h 468"/>
                  <a:gd name="T26" fmla="*/ 157 w 950"/>
                  <a:gd name="T27" fmla="*/ 15 h 468"/>
                  <a:gd name="T28" fmla="*/ 332 w 950"/>
                  <a:gd name="T29" fmla="*/ 117 h 468"/>
                  <a:gd name="T30" fmla="*/ 438 w 950"/>
                  <a:gd name="T31" fmla="*/ 117 h 468"/>
                  <a:gd name="T32" fmla="*/ 525 w 950"/>
                  <a:gd name="T33" fmla="*/ 135 h 468"/>
                  <a:gd name="T34" fmla="*/ 597 w 950"/>
                  <a:gd name="T35" fmla="*/ 228 h 468"/>
                  <a:gd name="T36" fmla="*/ 671 w 950"/>
                  <a:gd name="T37" fmla="*/ 252 h 468"/>
                  <a:gd name="T38" fmla="*/ 730 w 950"/>
                  <a:gd name="T39" fmla="*/ 258 h 468"/>
                  <a:gd name="T40" fmla="*/ 791 w 950"/>
                  <a:gd name="T41" fmla="*/ 215 h 468"/>
                  <a:gd name="T42" fmla="*/ 843 w 950"/>
                  <a:gd name="T43" fmla="*/ 196 h 468"/>
                  <a:gd name="T44" fmla="*/ 824 w 950"/>
                  <a:gd name="T45" fmla="*/ 252 h 468"/>
                  <a:gd name="T46" fmla="*/ 870 w 950"/>
                  <a:gd name="T47" fmla="*/ 240 h 468"/>
                  <a:gd name="T48" fmla="*/ 950 w 950"/>
                  <a:gd name="T49" fmla="*/ 283 h 468"/>
                  <a:gd name="T50" fmla="*/ 883 w 950"/>
                  <a:gd name="T51" fmla="*/ 320 h 468"/>
                  <a:gd name="T52" fmla="*/ 824 w 950"/>
                  <a:gd name="T53" fmla="*/ 283 h 468"/>
                  <a:gd name="T54" fmla="*/ 764 w 950"/>
                  <a:gd name="T55" fmla="*/ 277 h 468"/>
                  <a:gd name="T56" fmla="*/ 737 w 950"/>
                  <a:gd name="T57" fmla="*/ 320 h 468"/>
                  <a:gd name="T58" fmla="*/ 684 w 950"/>
                  <a:gd name="T59" fmla="*/ 357 h 468"/>
                  <a:gd name="T60" fmla="*/ 710 w 950"/>
                  <a:gd name="T61" fmla="*/ 388 h 468"/>
                  <a:gd name="T62" fmla="*/ 743 w 950"/>
                  <a:gd name="T63" fmla="*/ 437 h 468"/>
                  <a:gd name="T64" fmla="*/ 717 w 950"/>
                  <a:gd name="T65" fmla="*/ 468 h 468"/>
                  <a:gd name="T66" fmla="*/ 703 w 950"/>
                  <a:gd name="T67" fmla="*/ 465 h 468"/>
                  <a:gd name="T68" fmla="*/ 684 w 950"/>
                  <a:gd name="T69" fmla="*/ 461 h 468"/>
                  <a:gd name="T70" fmla="*/ 658 w 950"/>
                  <a:gd name="T71" fmla="*/ 461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6" name="Freeform 3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574206" y="3543993"/>
                <a:ext cx="394838" cy="288992"/>
              </a:xfrm>
              <a:custGeom>
                <a:avLst/>
                <a:gdLst>
                  <a:gd name="T0" fmla="*/ 6 w 671"/>
                  <a:gd name="T1" fmla="*/ 383 h 549"/>
                  <a:gd name="T2" fmla="*/ 8 w 671"/>
                  <a:gd name="T3" fmla="*/ 316 h 549"/>
                  <a:gd name="T4" fmla="*/ 17 w 671"/>
                  <a:gd name="T5" fmla="*/ 287 h 549"/>
                  <a:gd name="T6" fmla="*/ 52 w 671"/>
                  <a:gd name="T7" fmla="*/ 238 h 549"/>
                  <a:gd name="T8" fmla="*/ 71 w 671"/>
                  <a:gd name="T9" fmla="*/ 205 h 549"/>
                  <a:gd name="T10" fmla="*/ 73 w 671"/>
                  <a:gd name="T11" fmla="*/ 167 h 549"/>
                  <a:gd name="T12" fmla="*/ 73 w 671"/>
                  <a:gd name="T13" fmla="*/ 137 h 549"/>
                  <a:gd name="T14" fmla="*/ 54 w 671"/>
                  <a:gd name="T15" fmla="*/ 108 h 549"/>
                  <a:gd name="T16" fmla="*/ 61 w 671"/>
                  <a:gd name="T17" fmla="*/ 79 h 549"/>
                  <a:gd name="T18" fmla="*/ 76 w 671"/>
                  <a:gd name="T19" fmla="*/ 50 h 549"/>
                  <a:gd name="T20" fmla="*/ 96 w 671"/>
                  <a:gd name="T21" fmla="*/ 25 h 549"/>
                  <a:gd name="T22" fmla="*/ 120 w 671"/>
                  <a:gd name="T23" fmla="*/ 7 h 549"/>
                  <a:gd name="T24" fmla="*/ 146 w 671"/>
                  <a:gd name="T25" fmla="*/ 0 h 549"/>
                  <a:gd name="T26" fmla="*/ 173 w 671"/>
                  <a:gd name="T27" fmla="*/ 5 h 549"/>
                  <a:gd name="T28" fmla="*/ 206 w 671"/>
                  <a:gd name="T29" fmla="*/ 26 h 549"/>
                  <a:gd name="T30" fmla="*/ 236 w 671"/>
                  <a:gd name="T31" fmla="*/ 45 h 549"/>
                  <a:gd name="T32" fmla="*/ 259 w 671"/>
                  <a:gd name="T33" fmla="*/ 50 h 549"/>
                  <a:gd name="T34" fmla="*/ 272 w 671"/>
                  <a:gd name="T35" fmla="*/ 44 h 549"/>
                  <a:gd name="T36" fmla="*/ 284 w 671"/>
                  <a:gd name="T37" fmla="*/ 35 h 549"/>
                  <a:gd name="T38" fmla="*/ 300 w 671"/>
                  <a:gd name="T39" fmla="*/ 32 h 549"/>
                  <a:gd name="T40" fmla="*/ 318 w 671"/>
                  <a:gd name="T41" fmla="*/ 39 h 549"/>
                  <a:gd name="T42" fmla="*/ 337 w 671"/>
                  <a:gd name="T43" fmla="*/ 65 h 549"/>
                  <a:gd name="T44" fmla="*/ 353 w 671"/>
                  <a:gd name="T45" fmla="*/ 79 h 549"/>
                  <a:gd name="T46" fmla="*/ 370 w 671"/>
                  <a:gd name="T47" fmla="*/ 81 h 549"/>
                  <a:gd name="T48" fmla="*/ 381 w 671"/>
                  <a:gd name="T49" fmla="*/ 75 h 549"/>
                  <a:gd name="T50" fmla="*/ 397 w 671"/>
                  <a:gd name="T51" fmla="*/ 56 h 549"/>
                  <a:gd name="T52" fmla="*/ 419 w 671"/>
                  <a:gd name="T53" fmla="*/ 38 h 549"/>
                  <a:gd name="T54" fmla="*/ 458 w 671"/>
                  <a:gd name="T55" fmla="*/ 22 h 549"/>
                  <a:gd name="T56" fmla="*/ 487 w 671"/>
                  <a:gd name="T57" fmla="*/ 25 h 549"/>
                  <a:gd name="T58" fmla="*/ 511 w 671"/>
                  <a:gd name="T59" fmla="*/ 35 h 549"/>
                  <a:gd name="T60" fmla="*/ 537 w 671"/>
                  <a:gd name="T61" fmla="*/ 43 h 549"/>
                  <a:gd name="T62" fmla="*/ 571 w 671"/>
                  <a:gd name="T63" fmla="*/ 39 h 549"/>
                  <a:gd name="T64" fmla="*/ 646 w 671"/>
                  <a:gd name="T65" fmla="*/ 67 h 549"/>
                  <a:gd name="T66" fmla="*/ 665 w 671"/>
                  <a:gd name="T67" fmla="*/ 105 h 549"/>
                  <a:gd name="T68" fmla="*/ 623 w 671"/>
                  <a:gd name="T69" fmla="*/ 183 h 549"/>
                  <a:gd name="T70" fmla="*/ 593 w 671"/>
                  <a:gd name="T71" fmla="*/ 233 h 549"/>
                  <a:gd name="T72" fmla="*/ 570 w 671"/>
                  <a:gd name="T73" fmla="*/ 291 h 549"/>
                  <a:gd name="T74" fmla="*/ 550 w 671"/>
                  <a:gd name="T75" fmla="*/ 343 h 549"/>
                  <a:gd name="T76" fmla="*/ 525 w 671"/>
                  <a:gd name="T77" fmla="*/ 407 h 549"/>
                  <a:gd name="T78" fmla="*/ 516 w 671"/>
                  <a:gd name="T79" fmla="*/ 422 h 549"/>
                  <a:gd name="T80" fmla="*/ 500 w 671"/>
                  <a:gd name="T81" fmla="*/ 439 h 549"/>
                  <a:gd name="T82" fmla="*/ 482 w 671"/>
                  <a:gd name="T83" fmla="*/ 443 h 549"/>
                  <a:gd name="T84" fmla="*/ 459 w 671"/>
                  <a:gd name="T85" fmla="*/ 432 h 549"/>
                  <a:gd name="T86" fmla="*/ 440 w 671"/>
                  <a:gd name="T87" fmla="*/ 421 h 549"/>
                  <a:gd name="T88" fmla="*/ 408 w 671"/>
                  <a:gd name="T89" fmla="*/ 424 h 549"/>
                  <a:gd name="T90" fmla="*/ 381 w 671"/>
                  <a:gd name="T91" fmla="*/ 441 h 549"/>
                  <a:gd name="T92" fmla="*/ 364 w 671"/>
                  <a:gd name="T93" fmla="*/ 469 h 549"/>
                  <a:gd name="T94" fmla="*/ 342 w 671"/>
                  <a:gd name="T95" fmla="*/ 521 h 549"/>
                  <a:gd name="T96" fmla="*/ 325 w 671"/>
                  <a:gd name="T97" fmla="*/ 549 h 549"/>
                  <a:gd name="T98" fmla="*/ 229 w 671"/>
                  <a:gd name="T99" fmla="*/ 546 h 549"/>
                  <a:gd name="T100" fmla="*/ 217 w 671"/>
                  <a:gd name="T101" fmla="*/ 548 h 549"/>
                  <a:gd name="T102" fmla="*/ 179 w 671"/>
                  <a:gd name="T103" fmla="*/ 543 h 549"/>
                  <a:gd name="T104" fmla="*/ 161 w 671"/>
                  <a:gd name="T105" fmla="*/ 540 h 549"/>
                  <a:gd name="T106" fmla="*/ 144 w 671"/>
                  <a:gd name="T107" fmla="*/ 531 h 549"/>
                  <a:gd name="T108" fmla="*/ 129 w 671"/>
                  <a:gd name="T109" fmla="*/ 515 h 549"/>
                  <a:gd name="T110" fmla="*/ 119 w 671"/>
                  <a:gd name="T111" fmla="*/ 496 h 549"/>
                  <a:gd name="T112" fmla="*/ 113 w 671"/>
                  <a:gd name="T113" fmla="*/ 472 h 549"/>
                  <a:gd name="T114" fmla="*/ 100 w 671"/>
                  <a:gd name="T115" fmla="*/ 460 h 549"/>
                  <a:gd name="T116" fmla="*/ 83 w 671"/>
                  <a:gd name="T117" fmla="*/ 447 h 549"/>
                  <a:gd name="T118" fmla="*/ 63 w 671"/>
                  <a:gd name="T119" fmla="*/ 432 h 549"/>
                  <a:gd name="T120" fmla="*/ 39 w 671"/>
                  <a:gd name="T121" fmla="*/ 429 h 549"/>
                  <a:gd name="T122" fmla="*/ 0 w 671"/>
                  <a:gd name="T123" fmla="*/ 43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7" name="Freeform 33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695378" y="3409024"/>
                <a:ext cx="202698" cy="169901"/>
              </a:xfrm>
              <a:custGeom>
                <a:avLst/>
                <a:gdLst>
                  <a:gd name="T0" fmla="*/ 326 w 358"/>
                  <a:gd name="T1" fmla="*/ 324 h 327"/>
                  <a:gd name="T2" fmla="*/ 331 w 358"/>
                  <a:gd name="T3" fmla="*/ 321 h 327"/>
                  <a:gd name="T4" fmla="*/ 337 w 358"/>
                  <a:gd name="T5" fmla="*/ 318 h 327"/>
                  <a:gd name="T6" fmla="*/ 346 w 358"/>
                  <a:gd name="T7" fmla="*/ 318 h 327"/>
                  <a:gd name="T8" fmla="*/ 356 w 358"/>
                  <a:gd name="T9" fmla="*/ 324 h 327"/>
                  <a:gd name="T10" fmla="*/ 319 w 358"/>
                  <a:gd name="T11" fmla="*/ 285 h 327"/>
                  <a:gd name="T12" fmla="*/ 278 w 358"/>
                  <a:gd name="T13" fmla="*/ 235 h 327"/>
                  <a:gd name="T14" fmla="*/ 253 w 358"/>
                  <a:gd name="T15" fmla="*/ 204 h 327"/>
                  <a:gd name="T16" fmla="*/ 232 w 358"/>
                  <a:gd name="T17" fmla="*/ 186 h 327"/>
                  <a:gd name="T18" fmla="*/ 219 w 358"/>
                  <a:gd name="T19" fmla="*/ 181 h 327"/>
                  <a:gd name="T20" fmla="*/ 208 w 358"/>
                  <a:gd name="T21" fmla="*/ 180 h 327"/>
                  <a:gd name="T22" fmla="*/ 201 w 358"/>
                  <a:gd name="T23" fmla="*/ 179 h 327"/>
                  <a:gd name="T24" fmla="*/ 199 w 358"/>
                  <a:gd name="T25" fmla="*/ 174 h 327"/>
                  <a:gd name="T26" fmla="*/ 198 w 358"/>
                  <a:gd name="T27" fmla="*/ 170 h 327"/>
                  <a:gd name="T28" fmla="*/ 195 w 358"/>
                  <a:gd name="T29" fmla="*/ 169 h 327"/>
                  <a:gd name="T30" fmla="*/ 184 w 358"/>
                  <a:gd name="T31" fmla="*/ 172 h 327"/>
                  <a:gd name="T32" fmla="*/ 171 w 358"/>
                  <a:gd name="T33" fmla="*/ 172 h 327"/>
                  <a:gd name="T34" fmla="*/ 165 w 358"/>
                  <a:gd name="T35" fmla="*/ 168 h 327"/>
                  <a:gd name="T36" fmla="*/ 160 w 358"/>
                  <a:gd name="T37" fmla="*/ 161 h 327"/>
                  <a:gd name="T38" fmla="*/ 152 w 358"/>
                  <a:gd name="T39" fmla="*/ 144 h 327"/>
                  <a:gd name="T40" fmla="*/ 143 w 358"/>
                  <a:gd name="T41" fmla="*/ 131 h 327"/>
                  <a:gd name="T42" fmla="*/ 133 w 358"/>
                  <a:gd name="T43" fmla="*/ 119 h 327"/>
                  <a:gd name="T44" fmla="*/ 127 w 358"/>
                  <a:gd name="T45" fmla="*/ 105 h 327"/>
                  <a:gd name="T46" fmla="*/ 122 w 358"/>
                  <a:gd name="T47" fmla="*/ 84 h 327"/>
                  <a:gd name="T48" fmla="*/ 119 w 358"/>
                  <a:gd name="T49" fmla="*/ 53 h 327"/>
                  <a:gd name="T50" fmla="*/ 117 w 358"/>
                  <a:gd name="T51" fmla="*/ 23 h 327"/>
                  <a:gd name="T52" fmla="*/ 112 w 358"/>
                  <a:gd name="T53" fmla="*/ 0 h 327"/>
                  <a:gd name="T54" fmla="*/ 73 w 358"/>
                  <a:gd name="T55" fmla="*/ 26 h 327"/>
                  <a:gd name="T56" fmla="*/ 61 w 358"/>
                  <a:gd name="T57" fmla="*/ 33 h 327"/>
                  <a:gd name="T58" fmla="*/ 33 w 358"/>
                  <a:gd name="T59" fmla="*/ 50 h 327"/>
                  <a:gd name="T60" fmla="*/ 21 w 358"/>
                  <a:gd name="T61" fmla="*/ 61 h 327"/>
                  <a:gd name="T62" fmla="*/ 17 w 358"/>
                  <a:gd name="T63" fmla="*/ 72 h 327"/>
                  <a:gd name="T64" fmla="*/ 16 w 358"/>
                  <a:gd name="T65" fmla="*/ 83 h 327"/>
                  <a:gd name="T66" fmla="*/ 20 w 358"/>
                  <a:gd name="T67" fmla="*/ 93 h 327"/>
                  <a:gd name="T68" fmla="*/ 22 w 358"/>
                  <a:gd name="T69" fmla="*/ 100 h 327"/>
                  <a:gd name="T70" fmla="*/ 20 w 358"/>
                  <a:gd name="T71" fmla="*/ 110 h 327"/>
                  <a:gd name="T72" fmla="*/ 15 w 358"/>
                  <a:gd name="T73" fmla="*/ 123 h 327"/>
                  <a:gd name="T74" fmla="*/ 7 w 358"/>
                  <a:gd name="T75" fmla="*/ 136 h 327"/>
                  <a:gd name="T76" fmla="*/ 0 w 358"/>
                  <a:gd name="T77" fmla="*/ 155 h 327"/>
                  <a:gd name="T78" fmla="*/ 0 w 358"/>
                  <a:gd name="T79" fmla="*/ 174 h 327"/>
                  <a:gd name="T80" fmla="*/ 5 w 358"/>
                  <a:gd name="T81" fmla="*/ 182 h 327"/>
                  <a:gd name="T82" fmla="*/ 11 w 358"/>
                  <a:gd name="T83" fmla="*/ 187 h 327"/>
                  <a:gd name="T84" fmla="*/ 20 w 358"/>
                  <a:gd name="T85" fmla="*/ 186 h 327"/>
                  <a:gd name="T86" fmla="*/ 44 w 358"/>
                  <a:gd name="T87" fmla="*/ 168 h 327"/>
                  <a:gd name="T88" fmla="*/ 60 w 358"/>
                  <a:gd name="T89" fmla="*/ 161 h 327"/>
                  <a:gd name="T90" fmla="*/ 76 w 358"/>
                  <a:gd name="T91" fmla="*/ 150 h 327"/>
                  <a:gd name="T92" fmla="*/ 93 w 358"/>
                  <a:gd name="T93" fmla="*/ 159 h 327"/>
                  <a:gd name="T94" fmla="*/ 110 w 358"/>
                  <a:gd name="T95" fmla="*/ 164 h 327"/>
                  <a:gd name="T96" fmla="*/ 142 w 358"/>
                  <a:gd name="T97" fmla="*/ 180 h 327"/>
                  <a:gd name="T98" fmla="*/ 163 w 358"/>
                  <a:gd name="T99" fmla="*/ 190 h 327"/>
                  <a:gd name="T100" fmla="*/ 196 w 358"/>
                  <a:gd name="T101" fmla="*/ 209 h 327"/>
                  <a:gd name="T102" fmla="*/ 219 w 358"/>
                  <a:gd name="T103" fmla="*/ 225 h 327"/>
                  <a:gd name="T104" fmla="*/ 245 w 358"/>
                  <a:gd name="T105" fmla="*/ 244 h 327"/>
                  <a:gd name="T106" fmla="*/ 256 w 358"/>
                  <a:gd name="T107" fmla="*/ 254 h 327"/>
                  <a:gd name="T108" fmla="*/ 267 w 358"/>
                  <a:gd name="T109" fmla="*/ 270 h 327"/>
                  <a:gd name="T110" fmla="*/ 269 w 358"/>
                  <a:gd name="T111" fmla="*/ 279 h 327"/>
                  <a:gd name="T112" fmla="*/ 269 w 358"/>
                  <a:gd name="T113" fmla="*/ 286 h 327"/>
                  <a:gd name="T114" fmla="*/ 270 w 358"/>
                  <a:gd name="T115" fmla="*/ 290 h 327"/>
                  <a:gd name="T116" fmla="*/ 276 w 358"/>
                  <a:gd name="T117" fmla="*/ 292 h 327"/>
                  <a:gd name="T118" fmla="*/ 292 w 358"/>
                  <a:gd name="T119" fmla="*/ 302 h 327"/>
                  <a:gd name="T120" fmla="*/ 318 w 358"/>
                  <a:gd name="T121" fmla="*/ 321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8" name="Freeform 34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979601" y="2413431"/>
                <a:ext cx="166804" cy="57162"/>
              </a:xfrm>
              <a:custGeom>
                <a:avLst/>
                <a:gdLst>
                  <a:gd name="T0" fmla="*/ 126 w 292"/>
                  <a:gd name="T1" fmla="*/ 0 h 99"/>
                  <a:gd name="T2" fmla="*/ 153 w 292"/>
                  <a:gd name="T3" fmla="*/ 0 h 99"/>
                  <a:gd name="T4" fmla="*/ 198 w 292"/>
                  <a:gd name="T5" fmla="*/ 1 h 99"/>
                  <a:gd name="T6" fmla="*/ 250 w 292"/>
                  <a:gd name="T7" fmla="*/ 6 h 99"/>
                  <a:gd name="T8" fmla="*/ 292 w 292"/>
                  <a:gd name="T9" fmla="*/ 7 h 99"/>
                  <a:gd name="T10" fmla="*/ 290 w 292"/>
                  <a:gd name="T11" fmla="*/ 20 h 99"/>
                  <a:gd name="T12" fmla="*/ 285 w 292"/>
                  <a:gd name="T13" fmla="*/ 33 h 99"/>
                  <a:gd name="T14" fmla="*/ 279 w 292"/>
                  <a:gd name="T15" fmla="*/ 55 h 99"/>
                  <a:gd name="T16" fmla="*/ 135 w 292"/>
                  <a:gd name="T17" fmla="*/ 70 h 99"/>
                  <a:gd name="T18" fmla="*/ 99 w 292"/>
                  <a:gd name="T19" fmla="*/ 89 h 99"/>
                  <a:gd name="T20" fmla="*/ 79 w 292"/>
                  <a:gd name="T21" fmla="*/ 96 h 99"/>
                  <a:gd name="T22" fmla="*/ 66 w 292"/>
                  <a:gd name="T23" fmla="*/ 98 h 99"/>
                  <a:gd name="T24" fmla="*/ 55 w 292"/>
                  <a:gd name="T25" fmla="*/ 98 h 99"/>
                  <a:gd name="T26" fmla="*/ 45 w 292"/>
                  <a:gd name="T27" fmla="*/ 94 h 99"/>
                  <a:gd name="T28" fmla="*/ 33 w 292"/>
                  <a:gd name="T29" fmla="*/ 86 h 99"/>
                  <a:gd name="T30" fmla="*/ 20 w 292"/>
                  <a:gd name="T31" fmla="*/ 77 h 99"/>
                  <a:gd name="T32" fmla="*/ 7 w 292"/>
                  <a:gd name="T33" fmla="*/ 69 h 99"/>
                  <a:gd name="T34" fmla="*/ 1 w 292"/>
                  <a:gd name="T35" fmla="*/ 57 h 99"/>
                  <a:gd name="T36" fmla="*/ 0 w 292"/>
                  <a:gd name="T37" fmla="*/ 42 h 99"/>
                  <a:gd name="T38" fmla="*/ 1 w 292"/>
                  <a:gd name="T39" fmla="*/ 25 h 99"/>
                  <a:gd name="T40" fmla="*/ 3 w 292"/>
                  <a:gd name="T41" fmla="*/ 20 h 99"/>
                  <a:gd name="T42" fmla="*/ 9 w 292"/>
                  <a:gd name="T43" fmla="*/ 18 h 99"/>
                  <a:gd name="T44" fmla="*/ 15 w 292"/>
                  <a:gd name="T45" fmla="*/ 21 h 99"/>
                  <a:gd name="T46" fmla="*/ 25 w 292"/>
                  <a:gd name="T47" fmla="*/ 28 h 99"/>
                  <a:gd name="T48" fmla="*/ 35 w 292"/>
                  <a:gd name="T49" fmla="*/ 32 h 99"/>
                  <a:gd name="T50" fmla="*/ 45 w 292"/>
                  <a:gd name="T51" fmla="*/ 34 h 99"/>
                  <a:gd name="T52" fmla="*/ 54 w 292"/>
                  <a:gd name="T53" fmla="*/ 33 h 99"/>
                  <a:gd name="T54" fmla="*/ 67 w 292"/>
                  <a:gd name="T55" fmla="*/ 29 h 99"/>
                  <a:gd name="T56" fmla="*/ 81 w 292"/>
                  <a:gd name="T57" fmla="*/ 19 h 99"/>
                  <a:gd name="T58" fmla="*/ 88 w 292"/>
                  <a:gd name="T59" fmla="*/ 11 h 99"/>
                  <a:gd name="T60" fmla="*/ 94 w 292"/>
                  <a:gd name="T61" fmla="*/ 6 h 99"/>
                  <a:gd name="T62" fmla="*/ 109 w 292"/>
                  <a:gd name="T63" fmla="*/ 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9" name="Freeform 35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7128220" y="3134323"/>
                <a:ext cx="25337" cy="57162"/>
              </a:xfrm>
              <a:custGeom>
                <a:avLst/>
                <a:gdLst>
                  <a:gd name="T0" fmla="*/ 39 w 43"/>
                  <a:gd name="T1" fmla="*/ 93 h 93"/>
                  <a:gd name="T2" fmla="*/ 31 w 43"/>
                  <a:gd name="T3" fmla="*/ 91 h 93"/>
                  <a:gd name="T4" fmla="*/ 26 w 43"/>
                  <a:gd name="T5" fmla="*/ 89 h 93"/>
                  <a:gd name="T6" fmla="*/ 21 w 43"/>
                  <a:gd name="T7" fmla="*/ 87 h 93"/>
                  <a:gd name="T8" fmla="*/ 18 w 43"/>
                  <a:gd name="T9" fmla="*/ 84 h 93"/>
                  <a:gd name="T10" fmla="*/ 15 w 43"/>
                  <a:gd name="T11" fmla="*/ 79 h 93"/>
                  <a:gd name="T12" fmla="*/ 14 w 43"/>
                  <a:gd name="T13" fmla="*/ 73 h 93"/>
                  <a:gd name="T14" fmla="*/ 13 w 43"/>
                  <a:gd name="T15" fmla="*/ 65 h 93"/>
                  <a:gd name="T16" fmla="*/ 11 w 43"/>
                  <a:gd name="T17" fmla="*/ 55 h 93"/>
                  <a:gd name="T18" fmla="*/ 11 w 43"/>
                  <a:gd name="T19" fmla="*/ 48 h 93"/>
                  <a:gd name="T20" fmla="*/ 9 w 43"/>
                  <a:gd name="T21" fmla="*/ 42 h 93"/>
                  <a:gd name="T22" fmla="*/ 6 w 43"/>
                  <a:gd name="T23" fmla="*/ 38 h 93"/>
                  <a:gd name="T24" fmla="*/ 4 w 43"/>
                  <a:gd name="T25" fmla="*/ 36 h 93"/>
                  <a:gd name="T26" fmla="*/ 2 w 43"/>
                  <a:gd name="T27" fmla="*/ 34 h 93"/>
                  <a:gd name="T28" fmla="*/ 0 w 43"/>
                  <a:gd name="T29" fmla="*/ 32 h 93"/>
                  <a:gd name="T30" fmla="*/ 2 w 43"/>
                  <a:gd name="T31" fmla="*/ 29 h 93"/>
                  <a:gd name="T32" fmla="*/ 5 w 43"/>
                  <a:gd name="T33" fmla="*/ 24 h 93"/>
                  <a:gd name="T34" fmla="*/ 6 w 43"/>
                  <a:gd name="T35" fmla="*/ 28 h 93"/>
                  <a:gd name="T36" fmla="*/ 7 w 43"/>
                  <a:gd name="T37" fmla="*/ 29 h 93"/>
                  <a:gd name="T38" fmla="*/ 8 w 43"/>
                  <a:gd name="T39" fmla="*/ 30 h 93"/>
                  <a:gd name="T40" fmla="*/ 9 w 43"/>
                  <a:gd name="T41" fmla="*/ 29 h 93"/>
                  <a:gd name="T42" fmla="*/ 11 w 43"/>
                  <a:gd name="T43" fmla="*/ 25 h 93"/>
                  <a:gd name="T44" fmla="*/ 14 w 43"/>
                  <a:gd name="T45" fmla="*/ 19 h 93"/>
                  <a:gd name="T46" fmla="*/ 16 w 43"/>
                  <a:gd name="T47" fmla="*/ 12 h 93"/>
                  <a:gd name="T48" fmla="*/ 20 w 43"/>
                  <a:gd name="T49" fmla="*/ 6 h 93"/>
                  <a:gd name="T50" fmla="*/ 22 w 43"/>
                  <a:gd name="T51" fmla="*/ 4 h 93"/>
                  <a:gd name="T52" fmla="*/ 25 w 43"/>
                  <a:gd name="T53" fmla="*/ 2 h 93"/>
                  <a:gd name="T54" fmla="*/ 28 w 43"/>
                  <a:gd name="T55" fmla="*/ 0 h 93"/>
                  <a:gd name="T56" fmla="*/ 32 w 43"/>
                  <a:gd name="T57" fmla="*/ 0 h 93"/>
                  <a:gd name="T58" fmla="*/ 33 w 43"/>
                  <a:gd name="T59" fmla="*/ 10 h 93"/>
                  <a:gd name="T60" fmla="*/ 33 w 43"/>
                  <a:gd name="T61" fmla="*/ 16 h 93"/>
                  <a:gd name="T62" fmla="*/ 33 w 43"/>
                  <a:gd name="T63" fmla="*/ 20 h 93"/>
                  <a:gd name="T64" fmla="*/ 32 w 43"/>
                  <a:gd name="T65" fmla="*/ 23 h 93"/>
                  <a:gd name="T66" fmla="*/ 32 w 43"/>
                  <a:gd name="T67" fmla="*/ 27 h 93"/>
                  <a:gd name="T68" fmla="*/ 32 w 43"/>
                  <a:gd name="T69" fmla="*/ 31 h 93"/>
                  <a:gd name="T70" fmla="*/ 35 w 43"/>
                  <a:gd name="T71" fmla="*/ 36 h 93"/>
                  <a:gd name="T72" fmla="*/ 39 w 43"/>
                  <a:gd name="T73" fmla="*/ 43 h 93"/>
                  <a:gd name="T74" fmla="*/ 38 w 43"/>
                  <a:gd name="T75" fmla="*/ 44 h 93"/>
                  <a:gd name="T76" fmla="*/ 37 w 43"/>
                  <a:gd name="T77" fmla="*/ 45 h 93"/>
                  <a:gd name="T78" fmla="*/ 37 w 43"/>
                  <a:gd name="T79" fmla="*/ 48 h 93"/>
                  <a:gd name="T80" fmla="*/ 38 w 43"/>
                  <a:gd name="T81" fmla="*/ 51 h 93"/>
                  <a:gd name="T82" fmla="*/ 39 w 43"/>
                  <a:gd name="T83" fmla="*/ 59 h 93"/>
                  <a:gd name="T84" fmla="*/ 41 w 43"/>
                  <a:gd name="T85" fmla="*/ 68 h 93"/>
                  <a:gd name="T86" fmla="*/ 42 w 43"/>
                  <a:gd name="T87" fmla="*/ 76 h 93"/>
                  <a:gd name="T88" fmla="*/ 43 w 43"/>
                  <a:gd name="T89" fmla="*/ 85 h 93"/>
                  <a:gd name="T90" fmla="*/ 43 w 43"/>
                  <a:gd name="T91" fmla="*/ 88 h 93"/>
                  <a:gd name="T92" fmla="*/ 42 w 43"/>
                  <a:gd name="T93" fmla="*/ 91 h 93"/>
                  <a:gd name="T94" fmla="*/ 40 w 43"/>
                  <a:gd name="T95" fmla="*/ 92 h 93"/>
                  <a:gd name="T96" fmla="*/ 39 w 43"/>
                  <a:gd name="T9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0" name="Freeform 36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286578" y="3139087"/>
                <a:ext cx="19001" cy="57162"/>
              </a:xfrm>
              <a:custGeom>
                <a:avLst/>
                <a:gdLst>
                  <a:gd name="T0" fmla="*/ 40 w 40"/>
                  <a:gd name="T1" fmla="*/ 56 h 56"/>
                  <a:gd name="T2" fmla="*/ 37 w 40"/>
                  <a:gd name="T3" fmla="*/ 46 h 56"/>
                  <a:gd name="T4" fmla="*/ 33 w 40"/>
                  <a:gd name="T5" fmla="*/ 38 h 56"/>
                  <a:gd name="T6" fmla="*/ 28 w 40"/>
                  <a:gd name="T7" fmla="*/ 32 h 56"/>
                  <a:gd name="T8" fmla="*/ 23 w 40"/>
                  <a:gd name="T9" fmla="*/ 28 h 56"/>
                  <a:gd name="T10" fmla="*/ 11 w 40"/>
                  <a:gd name="T11" fmla="*/ 21 h 56"/>
                  <a:gd name="T12" fmla="*/ 0 w 40"/>
                  <a:gd name="T13" fmla="*/ 12 h 56"/>
                  <a:gd name="T14" fmla="*/ 13 w 40"/>
                  <a:gd name="T15" fmla="*/ 4 h 56"/>
                  <a:gd name="T16" fmla="*/ 20 w 40"/>
                  <a:gd name="T17" fmla="*/ 0 h 56"/>
                  <a:gd name="T18" fmla="*/ 28 w 40"/>
                  <a:gd name="T19" fmla="*/ 12 h 56"/>
                  <a:gd name="T20" fmla="*/ 35 w 40"/>
                  <a:gd name="T21" fmla="*/ 22 h 56"/>
                  <a:gd name="T22" fmla="*/ 37 w 40"/>
                  <a:gd name="T23" fmla="*/ 25 h 56"/>
                  <a:gd name="T24" fmla="*/ 39 w 40"/>
                  <a:gd name="T25" fmla="*/ 29 h 56"/>
                  <a:gd name="T26" fmla="*/ 39 w 40"/>
                  <a:gd name="T27" fmla="*/ 33 h 56"/>
                  <a:gd name="T28" fmla="*/ 40 w 40"/>
                  <a:gd name="T29" fmla="*/ 37 h 56"/>
                  <a:gd name="T30" fmla="*/ 40 w 40"/>
                  <a:gd name="T31" fmla="*/ 44 h 56"/>
                  <a:gd name="T32" fmla="*/ 40 w 40"/>
                  <a:gd name="T33" fmla="*/ 46 h 56"/>
                  <a:gd name="T34" fmla="*/ 40 w 40"/>
                  <a:gd name="T35" fmla="*/ 49 h 56"/>
                  <a:gd name="T36" fmla="*/ 40 w 40"/>
                  <a:gd name="T3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1" name="Freeform 37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264988" y="3799640"/>
                <a:ext cx="59120" cy="57162"/>
              </a:xfrm>
              <a:custGeom>
                <a:avLst/>
                <a:gdLst>
                  <a:gd name="T0" fmla="*/ 0 w 106"/>
                  <a:gd name="T1" fmla="*/ 7 h 71"/>
                  <a:gd name="T2" fmla="*/ 12 w 106"/>
                  <a:gd name="T3" fmla="*/ 10 h 71"/>
                  <a:gd name="T4" fmla="*/ 24 w 106"/>
                  <a:gd name="T5" fmla="*/ 12 h 71"/>
                  <a:gd name="T6" fmla="*/ 35 w 106"/>
                  <a:gd name="T7" fmla="*/ 13 h 71"/>
                  <a:gd name="T8" fmla="*/ 45 w 106"/>
                  <a:gd name="T9" fmla="*/ 13 h 71"/>
                  <a:gd name="T10" fmla="*/ 54 w 106"/>
                  <a:gd name="T11" fmla="*/ 11 h 71"/>
                  <a:gd name="T12" fmla="*/ 61 w 106"/>
                  <a:gd name="T13" fmla="*/ 8 h 71"/>
                  <a:gd name="T14" fmla="*/ 68 w 106"/>
                  <a:gd name="T15" fmla="*/ 5 h 71"/>
                  <a:gd name="T16" fmla="*/ 74 w 106"/>
                  <a:gd name="T17" fmla="*/ 0 h 71"/>
                  <a:gd name="T18" fmla="*/ 84 w 106"/>
                  <a:gd name="T19" fmla="*/ 16 h 71"/>
                  <a:gd name="T20" fmla="*/ 94 w 106"/>
                  <a:gd name="T21" fmla="*/ 30 h 71"/>
                  <a:gd name="T22" fmla="*/ 101 w 106"/>
                  <a:gd name="T23" fmla="*/ 44 h 71"/>
                  <a:gd name="T24" fmla="*/ 105 w 106"/>
                  <a:gd name="T25" fmla="*/ 55 h 71"/>
                  <a:gd name="T26" fmla="*/ 106 w 106"/>
                  <a:gd name="T27" fmla="*/ 60 h 71"/>
                  <a:gd name="T28" fmla="*/ 106 w 106"/>
                  <a:gd name="T29" fmla="*/ 63 h 71"/>
                  <a:gd name="T30" fmla="*/ 105 w 106"/>
                  <a:gd name="T31" fmla="*/ 67 h 71"/>
                  <a:gd name="T32" fmla="*/ 103 w 106"/>
                  <a:gd name="T33" fmla="*/ 69 h 71"/>
                  <a:gd name="T34" fmla="*/ 101 w 106"/>
                  <a:gd name="T35" fmla="*/ 70 h 71"/>
                  <a:gd name="T36" fmla="*/ 98 w 106"/>
                  <a:gd name="T37" fmla="*/ 70 h 71"/>
                  <a:gd name="T38" fmla="*/ 92 w 106"/>
                  <a:gd name="T39" fmla="*/ 70 h 71"/>
                  <a:gd name="T40" fmla="*/ 87 w 106"/>
                  <a:gd name="T41" fmla="*/ 68 h 71"/>
                  <a:gd name="T42" fmla="*/ 74 w 106"/>
                  <a:gd name="T43" fmla="*/ 70 h 71"/>
                  <a:gd name="T44" fmla="*/ 63 w 106"/>
                  <a:gd name="T45" fmla="*/ 71 h 71"/>
                  <a:gd name="T46" fmla="*/ 53 w 106"/>
                  <a:gd name="T47" fmla="*/ 69 h 71"/>
                  <a:gd name="T48" fmla="*/ 45 w 106"/>
                  <a:gd name="T49" fmla="*/ 66 h 71"/>
                  <a:gd name="T50" fmla="*/ 37 w 106"/>
                  <a:gd name="T51" fmla="*/ 62 h 71"/>
                  <a:gd name="T52" fmla="*/ 32 w 106"/>
                  <a:gd name="T53" fmla="*/ 57 h 71"/>
                  <a:gd name="T54" fmla="*/ 27 w 106"/>
                  <a:gd name="T55" fmla="*/ 51 h 71"/>
                  <a:gd name="T56" fmla="*/ 24 w 106"/>
                  <a:gd name="T57" fmla="*/ 45 h 71"/>
                  <a:gd name="T58" fmla="*/ 21 w 106"/>
                  <a:gd name="T59" fmla="*/ 38 h 71"/>
                  <a:gd name="T60" fmla="*/ 20 w 106"/>
                  <a:gd name="T61" fmla="*/ 30 h 71"/>
                  <a:gd name="T62" fmla="*/ 19 w 106"/>
                  <a:gd name="T63" fmla="*/ 24 h 71"/>
                  <a:gd name="T64" fmla="*/ 18 w 106"/>
                  <a:gd name="T65" fmla="*/ 19 h 71"/>
                  <a:gd name="T66" fmla="*/ 18 w 106"/>
                  <a:gd name="T67" fmla="*/ 14 h 71"/>
                  <a:gd name="T68" fmla="*/ 19 w 106"/>
                  <a:gd name="T69" fmla="*/ 10 h 71"/>
                  <a:gd name="T70" fmla="*/ 20 w 106"/>
                  <a:gd name="T71" fmla="*/ 7 h 71"/>
                  <a:gd name="T72" fmla="*/ 21 w 106"/>
                  <a:gd name="T73" fmla="*/ 7 h 71"/>
                  <a:gd name="T74" fmla="*/ 20 w 106"/>
                  <a:gd name="T75" fmla="*/ 10 h 71"/>
                  <a:gd name="T76" fmla="*/ 19 w 106"/>
                  <a:gd name="T77" fmla="*/ 16 h 71"/>
                  <a:gd name="T78" fmla="*/ 19 w 106"/>
                  <a:gd name="T79" fmla="*/ 17 h 71"/>
                  <a:gd name="T80" fmla="*/ 19 w 106"/>
                  <a:gd name="T81" fmla="*/ 17 h 71"/>
                  <a:gd name="T82" fmla="*/ 20 w 106"/>
                  <a:gd name="T83" fmla="*/ 17 h 71"/>
                  <a:gd name="T84" fmla="*/ 21 w 106"/>
                  <a:gd name="T85" fmla="*/ 17 h 71"/>
                  <a:gd name="T86" fmla="*/ 23 w 106"/>
                  <a:gd name="T87" fmla="*/ 13 h 71"/>
                  <a:gd name="T88" fmla="*/ 27 w 106"/>
                  <a:gd name="T89" fmla="*/ 7 h 71"/>
                  <a:gd name="T90" fmla="*/ 0 w 106"/>
                  <a:gd name="T91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22" name="Group 38"/>
              <p:cNvGrpSpPr>
                <a:grpSpLocks/>
              </p:cNvGrpSpPr>
              <p:nvPr>
                <p:custDataLst>
                  <p:tags r:id="rId34"/>
                </p:custDataLst>
              </p:nvPr>
            </p:nvGrpSpPr>
            <p:grpSpPr bwMode="auto">
              <a:xfrm>
                <a:off x="4002380" y="5608220"/>
                <a:ext cx="86568" cy="55576"/>
                <a:chOff x="1654" y="3671"/>
                <a:chExt cx="49" cy="17"/>
              </a:xfrm>
              <a:grpFill/>
            </p:grpSpPr>
            <p:sp>
              <p:nvSpPr>
                <p:cNvPr id="1131" name="Freeform 39"/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26 w 59"/>
                    <a:gd name="T1" fmla="*/ 43 h 43"/>
                    <a:gd name="T2" fmla="*/ 59 w 59"/>
                    <a:gd name="T3" fmla="*/ 18 h 43"/>
                    <a:gd name="T4" fmla="*/ 55 w 59"/>
                    <a:gd name="T5" fmla="*/ 14 h 43"/>
                    <a:gd name="T6" fmla="*/ 51 w 59"/>
                    <a:gd name="T7" fmla="*/ 9 h 43"/>
                    <a:gd name="T8" fmla="*/ 47 w 59"/>
                    <a:gd name="T9" fmla="*/ 5 h 43"/>
                    <a:gd name="T10" fmla="*/ 46 w 59"/>
                    <a:gd name="T11" fmla="*/ 0 h 43"/>
                    <a:gd name="T12" fmla="*/ 41 w 59"/>
                    <a:gd name="T13" fmla="*/ 1 h 43"/>
                    <a:gd name="T14" fmla="*/ 34 w 59"/>
                    <a:gd name="T15" fmla="*/ 4 h 43"/>
                    <a:gd name="T16" fmla="*/ 31 w 59"/>
                    <a:gd name="T17" fmla="*/ 6 h 43"/>
                    <a:gd name="T18" fmla="*/ 29 w 59"/>
                    <a:gd name="T19" fmla="*/ 8 h 43"/>
                    <a:gd name="T20" fmla="*/ 26 w 59"/>
                    <a:gd name="T21" fmla="*/ 10 h 43"/>
                    <a:gd name="T22" fmla="*/ 26 w 59"/>
                    <a:gd name="T23" fmla="*/ 12 h 43"/>
                    <a:gd name="T24" fmla="*/ 20 w 59"/>
                    <a:gd name="T25" fmla="*/ 13 h 43"/>
                    <a:gd name="T26" fmla="*/ 13 w 59"/>
                    <a:gd name="T27" fmla="*/ 16 h 43"/>
                    <a:gd name="T28" fmla="*/ 6 w 59"/>
                    <a:gd name="T29" fmla="*/ 20 h 43"/>
                    <a:gd name="T30" fmla="*/ 0 w 59"/>
                    <a:gd name="T31" fmla="*/ 24 h 43"/>
                    <a:gd name="T32" fmla="*/ 5 w 59"/>
                    <a:gd name="T33" fmla="*/ 29 h 43"/>
                    <a:gd name="T34" fmla="*/ 10 w 59"/>
                    <a:gd name="T35" fmla="*/ 34 h 43"/>
                    <a:gd name="T36" fmla="*/ 18 w 59"/>
                    <a:gd name="T37" fmla="*/ 39 h 43"/>
                    <a:gd name="T38" fmla="*/ 26 w 59"/>
                    <a:gd name="T3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2" name="Freeform 40"/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2 h 51"/>
                    <a:gd name="T2" fmla="*/ 24 w 67"/>
                    <a:gd name="T3" fmla="*/ 1 h 51"/>
                    <a:gd name="T4" fmla="*/ 39 w 67"/>
                    <a:gd name="T5" fmla="*/ 0 h 51"/>
                    <a:gd name="T6" fmla="*/ 45 w 67"/>
                    <a:gd name="T7" fmla="*/ 1 h 51"/>
                    <a:gd name="T8" fmla="*/ 51 w 67"/>
                    <a:gd name="T9" fmla="*/ 2 h 51"/>
                    <a:gd name="T10" fmla="*/ 58 w 67"/>
                    <a:gd name="T11" fmla="*/ 4 h 51"/>
                    <a:gd name="T12" fmla="*/ 67 w 67"/>
                    <a:gd name="T13" fmla="*/ 8 h 51"/>
                    <a:gd name="T14" fmla="*/ 55 w 67"/>
                    <a:gd name="T15" fmla="*/ 13 h 51"/>
                    <a:gd name="T16" fmla="*/ 46 w 67"/>
                    <a:gd name="T17" fmla="*/ 19 h 51"/>
                    <a:gd name="T18" fmla="*/ 42 w 67"/>
                    <a:gd name="T19" fmla="*/ 22 h 51"/>
                    <a:gd name="T20" fmla="*/ 36 w 67"/>
                    <a:gd name="T21" fmla="*/ 24 h 51"/>
                    <a:gd name="T22" fmla="*/ 29 w 67"/>
                    <a:gd name="T23" fmla="*/ 26 h 51"/>
                    <a:gd name="T24" fmla="*/ 20 w 67"/>
                    <a:gd name="T25" fmla="*/ 26 h 51"/>
                    <a:gd name="T26" fmla="*/ 24 w 67"/>
                    <a:gd name="T27" fmla="*/ 26 h 51"/>
                    <a:gd name="T28" fmla="*/ 34 w 67"/>
                    <a:gd name="T29" fmla="*/ 26 h 51"/>
                    <a:gd name="T30" fmla="*/ 29 w 67"/>
                    <a:gd name="T31" fmla="*/ 34 h 51"/>
                    <a:gd name="T32" fmla="*/ 25 w 67"/>
                    <a:gd name="T33" fmla="*/ 40 h 51"/>
                    <a:gd name="T34" fmla="*/ 22 w 67"/>
                    <a:gd name="T35" fmla="*/ 44 h 51"/>
                    <a:gd name="T36" fmla="*/ 20 w 67"/>
                    <a:gd name="T37" fmla="*/ 46 h 51"/>
                    <a:gd name="T38" fmla="*/ 12 w 67"/>
                    <a:gd name="T39" fmla="*/ 48 h 51"/>
                    <a:gd name="T40" fmla="*/ 0 w 67"/>
                    <a:gd name="T41" fmla="*/ 51 h 51"/>
                    <a:gd name="T42" fmla="*/ 0 w 67"/>
                    <a:gd name="T43" fmla="*/ 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23" name="Freeform 41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420505" y="3402673"/>
                <a:ext cx="42229" cy="58751"/>
              </a:xfrm>
              <a:custGeom>
                <a:avLst/>
                <a:gdLst>
                  <a:gd name="T0" fmla="*/ 0 w 80"/>
                  <a:gd name="T1" fmla="*/ 15 h 34"/>
                  <a:gd name="T2" fmla="*/ 1 w 80"/>
                  <a:gd name="T3" fmla="*/ 19 h 34"/>
                  <a:gd name="T4" fmla="*/ 2 w 80"/>
                  <a:gd name="T5" fmla="*/ 21 h 34"/>
                  <a:gd name="T6" fmla="*/ 4 w 80"/>
                  <a:gd name="T7" fmla="*/ 24 h 34"/>
                  <a:gd name="T8" fmla="*/ 7 w 80"/>
                  <a:gd name="T9" fmla="*/ 26 h 34"/>
                  <a:gd name="T10" fmla="*/ 13 w 80"/>
                  <a:gd name="T11" fmla="*/ 29 h 34"/>
                  <a:gd name="T12" fmla="*/ 22 w 80"/>
                  <a:gd name="T13" fmla="*/ 31 h 34"/>
                  <a:gd name="T14" fmla="*/ 40 w 80"/>
                  <a:gd name="T15" fmla="*/ 33 h 34"/>
                  <a:gd name="T16" fmla="*/ 54 w 80"/>
                  <a:gd name="T17" fmla="*/ 34 h 34"/>
                  <a:gd name="T18" fmla="*/ 58 w 80"/>
                  <a:gd name="T19" fmla="*/ 33 h 34"/>
                  <a:gd name="T20" fmla="*/ 62 w 80"/>
                  <a:gd name="T21" fmla="*/ 32 h 34"/>
                  <a:gd name="T22" fmla="*/ 65 w 80"/>
                  <a:gd name="T23" fmla="*/ 29 h 34"/>
                  <a:gd name="T24" fmla="*/ 67 w 80"/>
                  <a:gd name="T25" fmla="*/ 27 h 34"/>
                  <a:gd name="T26" fmla="*/ 73 w 80"/>
                  <a:gd name="T27" fmla="*/ 21 h 34"/>
                  <a:gd name="T28" fmla="*/ 80 w 80"/>
                  <a:gd name="T29" fmla="*/ 15 h 34"/>
                  <a:gd name="T30" fmla="*/ 75 w 80"/>
                  <a:gd name="T31" fmla="*/ 10 h 34"/>
                  <a:gd name="T32" fmla="*/ 70 w 80"/>
                  <a:gd name="T33" fmla="*/ 7 h 34"/>
                  <a:gd name="T34" fmla="*/ 65 w 80"/>
                  <a:gd name="T35" fmla="*/ 4 h 34"/>
                  <a:gd name="T36" fmla="*/ 60 w 80"/>
                  <a:gd name="T37" fmla="*/ 2 h 34"/>
                  <a:gd name="T38" fmla="*/ 55 w 80"/>
                  <a:gd name="T39" fmla="*/ 0 h 34"/>
                  <a:gd name="T40" fmla="*/ 51 w 80"/>
                  <a:gd name="T41" fmla="*/ 0 h 34"/>
                  <a:gd name="T42" fmla="*/ 45 w 80"/>
                  <a:gd name="T43" fmla="*/ 1 h 34"/>
                  <a:gd name="T44" fmla="*/ 41 w 80"/>
                  <a:gd name="T45" fmla="*/ 2 h 34"/>
                  <a:gd name="T46" fmla="*/ 34 w 80"/>
                  <a:gd name="T47" fmla="*/ 2 h 34"/>
                  <a:gd name="T48" fmla="*/ 21 w 80"/>
                  <a:gd name="T49" fmla="*/ 2 h 34"/>
                  <a:gd name="T50" fmla="*/ 13 w 80"/>
                  <a:gd name="T51" fmla="*/ 3 h 34"/>
                  <a:gd name="T52" fmla="*/ 7 w 80"/>
                  <a:gd name="T53" fmla="*/ 5 h 34"/>
                  <a:gd name="T54" fmla="*/ 4 w 80"/>
                  <a:gd name="T55" fmla="*/ 7 h 34"/>
                  <a:gd name="T56" fmla="*/ 2 w 80"/>
                  <a:gd name="T57" fmla="*/ 9 h 34"/>
                  <a:gd name="T58" fmla="*/ 1 w 80"/>
                  <a:gd name="T59" fmla="*/ 11 h 34"/>
                  <a:gd name="T60" fmla="*/ 0 w 80"/>
                  <a:gd name="T61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Freeform 42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494404" y="3409024"/>
                <a:ext cx="2112" cy="58751"/>
              </a:xfrm>
              <a:custGeom>
                <a:avLst/>
                <a:gdLst>
                  <a:gd name="T0" fmla="*/ 0 w 7"/>
                  <a:gd name="T1" fmla="*/ 0 h 13"/>
                  <a:gd name="T2" fmla="*/ 7 w 7"/>
                  <a:gd name="T3" fmla="*/ 13 h 13"/>
                  <a:gd name="T4" fmla="*/ 7 w 7"/>
                  <a:gd name="T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Freeform 43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511295" y="3410612"/>
                <a:ext cx="8446" cy="58752"/>
              </a:xfrm>
              <a:custGeom>
                <a:avLst/>
                <a:gdLst>
                  <a:gd name="T0" fmla="*/ 0 w 20"/>
                  <a:gd name="T1" fmla="*/ 0 h 6"/>
                  <a:gd name="T2" fmla="*/ 7 w 20"/>
                  <a:gd name="T3" fmla="*/ 3 h 6"/>
                  <a:gd name="T4" fmla="*/ 20 w 20"/>
                  <a:gd name="T5" fmla="*/ 6 h 6"/>
                  <a:gd name="T6" fmla="*/ 0 w 2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Freeform 44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530299" y="3401085"/>
                <a:ext cx="10556" cy="57162"/>
              </a:xfrm>
              <a:custGeom>
                <a:avLst/>
                <a:gdLst>
                  <a:gd name="T0" fmla="*/ 0 w 14"/>
                  <a:gd name="T1" fmla="*/ 12 h 12"/>
                  <a:gd name="T2" fmla="*/ 14 w 14"/>
                  <a:gd name="T3" fmla="*/ 0 h 12"/>
                  <a:gd name="T4" fmla="*/ 0 w 14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Freeform 45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502850" y="3393146"/>
                <a:ext cx="14781" cy="58751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4 h 7"/>
                  <a:gd name="T4" fmla="*/ 2 w 27"/>
                  <a:gd name="T5" fmla="*/ 6 h 7"/>
                  <a:gd name="T6" fmla="*/ 7 w 27"/>
                  <a:gd name="T7" fmla="*/ 7 h 7"/>
                  <a:gd name="T8" fmla="*/ 10 w 27"/>
                  <a:gd name="T9" fmla="*/ 7 h 7"/>
                  <a:gd name="T10" fmla="*/ 15 w 27"/>
                  <a:gd name="T11" fmla="*/ 6 h 7"/>
                  <a:gd name="T12" fmla="*/ 19 w 27"/>
                  <a:gd name="T13" fmla="*/ 4 h 7"/>
                  <a:gd name="T14" fmla="*/ 23 w 27"/>
                  <a:gd name="T15" fmla="*/ 2 h 7"/>
                  <a:gd name="T16" fmla="*/ 27 w 27"/>
                  <a:gd name="T17" fmla="*/ 0 h 7"/>
                  <a:gd name="T18" fmla="*/ 0 w 27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Freeform 46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3568305" y="3421728"/>
                <a:ext cx="19001" cy="60339"/>
              </a:xfrm>
              <a:custGeom>
                <a:avLst/>
                <a:gdLst>
                  <a:gd name="T0" fmla="*/ 0 w 27"/>
                  <a:gd name="T1" fmla="*/ 0 h 6"/>
                  <a:gd name="T2" fmla="*/ 11 w 27"/>
                  <a:gd name="T3" fmla="*/ 3 h 6"/>
                  <a:gd name="T4" fmla="*/ 27 w 2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Line 47"/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3578862" y="3418552"/>
                <a:ext cx="8446" cy="9527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Line 48"/>
              <p:cNvSpPr>
                <a:spLocks noChangeShapeType="1"/>
              </p:cNvSpPr>
              <p:nvPr>
                <p:custDataLst>
                  <p:tags r:id="rId42"/>
                </p:custDataLst>
              </p:nvPr>
            </p:nvSpPr>
            <p:spPr bwMode="auto">
              <a:xfrm flipH="1">
                <a:off x="3578862" y="3443957"/>
                <a:ext cx="8446" cy="1111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Freeform 4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578862" y="3439194"/>
                <a:ext cx="14781" cy="58752"/>
              </a:xfrm>
              <a:custGeom>
                <a:avLst/>
                <a:gdLst>
                  <a:gd name="T0" fmla="*/ 0 w 20"/>
                  <a:gd name="T1" fmla="*/ 24 h 24"/>
                  <a:gd name="T2" fmla="*/ 2 w 20"/>
                  <a:gd name="T3" fmla="*/ 24 h 24"/>
                  <a:gd name="T4" fmla="*/ 6 w 20"/>
                  <a:gd name="T5" fmla="*/ 22 h 24"/>
                  <a:gd name="T6" fmla="*/ 9 w 20"/>
                  <a:gd name="T7" fmla="*/ 20 h 24"/>
                  <a:gd name="T8" fmla="*/ 12 w 20"/>
                  <a:gd name="T9" fmla="*/ 16 h 24"/>
                  <a:gd name="T10" fmla="*/ 15 w 20"/>
                  <a:gd name="T11" fmla="*/ 13 h 24"/>
                  <a:gd name="T12" fmla="*/ 18 w 20"/>
                  <a:gd name="T13" fmla="*/ 9 h 24"/>
                  <a:gd name="T14" fmla="*/ 19 w 20"/>
                  <a:gd name="T15" fmla="*/ 4 h 24"/>
                  <a:gd name="T16" fmla="*/ 20 w 20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Freeform 50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87308" y="3467775"/>
                <a:ext cx="23226" cy="55576"/>
              </a:xfrm>
              <a:custGeom>
                <a:avLst/>
                <a:gdLst>
                  <a:gd name="T0" fmla="*/ 13 w 33"/>
                  <a:gd name="T1" fmla="*/ 7 h 25"/>
                  <a:gd name="T2" fmla="*/ 0 w 33"/>
                  <a:gd name="T3" fmla="*/ 19 h 25"/>
                  <a:gd name="T4" fmla="*/ 10 w 33"/>
                  <a:gd name="T5" fmla="*/ 20 h 25"/>
                  <a:gd name="T6" fmla="*/ 19 w 33"/>
                  <a:gd name="T7" fmla="*/ 22 h 25"/>
                  <a:gd name="T8" fmla="*/ 27 w 33"/>
                  <a:gd name="T9" fmla="*/ 25 h 25"/>
                  <a:gd name="T10" fmla="*/ 33 w 33"/>
                  <a:gd name="T11" fmla="*/ 25 h 25"/>
                  <a:gd name="T12" fmla="*/ 33 w 33"/>
                  <a:gd name="T13" fmla="*/ 0 h 25"/>
                  <a:gd name="T14" fmla="*/ 27 w 33"/>
                  <a:gd name="T15" fmla="*/ 0 h 25"/>
                  <a:gd name="T16" fmla="*/ 13 w 33"/>
                  <a:gd name="T1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Freeform 51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595753" y="3515411"/>
                <a:ext cx="21114" cy="57162"/>
              </a:xfrm>
              <a:custGeom>
                <a:avLst/>
                <a:gdLst>
                  <a:gd name="T0" fmla="*/ 0 w 40"/>
                  <a:gd name="T1" fmla="*/ 0 h 18"/>
                  <a:gd name="T2" fmla="*/ 3 w 40"/>
                  <a:gd name="T3" fmla="*/ 6 h 18"/>
                  <a:gd name="T4" fmla="*/ 6 w 40"/>
                  <a:gd name="T5" fmla="*/ 11 h 18"/>
                  <a:gd name="T6" fmla="*/ 10 w 40"/>
                  <a:gd name="T7" fmla="*/ 14 h 18"/>
                  <a:gd name="T8" fmla="*/ 15 w 40"/>
                  <a:gd name="T9" fmla="*/ 16 h 18"/>
                  <a:gd name="T10" fmla="*/ 27 w 40"/>
                  <a:gd name="T11" fmla="*/ 18 h 18"/>
                  <a:gd name="T12" fmla="*/ 40 w 40"/>
                  <a:gd name="T13" fmla="*/ 18 h 18"/>
                  <a:gd name="T14" fmla="*/ 40 w 40"/>
                  <a:gd name="T15" fmla="*/ 0 h 18"/>
                  <a:gd name="T16" fmla="*/ 30 w 40"/>
                  <a:gd name="T17" fmla="*/ 0 h 18"/>
                  <a:gd name="T18" fmla="*/ 20 w 40"/>
                  <a:gd name="T19" fmla="*/ 0 h 18"/>
                  <a:gd name="T20" fmla="*/ 10 w 40"/>
                  <a:gd name="T21" fmla="*/ 0 h 18"/>
                  <a:gd name="T22" fmla="*/ 0 w 4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Freeform 52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608422" y="3540817"/>
                <a:ext cx="4223" cy="57162"/>
              </a:xfrm>
              <a:custGeom>
                <a:avLst/>
                <a:gdLst>
                  <a:gd name="T0" fmla="*/ 4 w 11"/>
                  <a:gd name="T1" fmla="*/ 32 h 32"/>
                  <a:gd name="T2" fmla="*/ 6 w 11"/>
                  <a:gd name="T3" fmla="*/ 28 h 32"/>
                  <a:gd name="T4" fmla="*/ 8 w 11"/>
                  <a:gd name="T5" fmla="*/ 25 h 32"/>
                  <a:gd name="T6" fmla="*/ 9 w 11"/>
                  <a:gd name="T7" fmla="*/ 22 h 32"/>
                  <a:gd name="T8" fmla="*/ 10 w 11"/>
                  <a:gd name="T9" fmla="*/ 18 h 32"/>
                  <a:gd name="T10" fmla="*/ 11 w 11"/>
                  <a:gd name="T11" fmla="*/ 9 h 32"/>
                  <a:gd name="T12" fmla="*/ 11 w 11"/>
                  <a:gd name="T13" fmla="*/ 0 h 32"/>
                  <a:gd name="T14" fmla="*/ 6 w 11"/>
                  <a:gd name="T15" fmla="*/ 3 h 32"/>
                  <a:gd name="T16" fmla="*/ 3 w 11"/>
                  <a:gd name="T17" fmla="*/ 7 h 32"/>
                  <a:gd name="T18" fmla="*/ 1 w 11"/>
                  <a:gd name="T19" fmla="*/ 11 h 32"/>
                  <a:gd name="T20" fmla="*/ 0 w 11"/>
                  <a:gd name="T21" fmla="*/ 16 h 32"/>
                  <a:gd name="T22" fmla="*/ 0 w 11"/>
                  <a:gd name="T23" fmla="*/ 20 h 32"/>
                  <a:gd name="T24" fmla="*/ 1 w 11"/>
                  <a:gd name="T25" fmla="*/ 24 h 32"/>
                  <a:gd name="T26" fmla="*/ 2 w 11"/>
                  <a:gd name="T27" fmla="*/ 28 h 32"/>
                  <a:gd name="T28" fmla="*/ 4 w 11"/>
                  <a:gd name="T2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Freeform 53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637982" y="3570987"/>
                <a:ext cx="2112" cy="55575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4 h 24"/>
                  <a:gd name="T4" fmla="*/ 14 w 14"/>
                  <a:gd name="T5" fmla="*/ 12 h 24"/>
                  <a:gd name="T6" fmla="*/ 0 w 14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6" name="Freeform 54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587308" y="3583690"/>
                <a:ext cx="21114" cy="58751"/>
              </a:xfrm>
              <a:custGeom>
                <a:avLst/>
                <a:gdLst>
                  <a:gd name="T0" fmla="*/ 0 w 27"/>
                  <a:gd name="T1" fmla="*/ 12 h 18"/>
                  <a:gd name="T2" fmla="*/ 7 w 27"/>
                  <a:gd name="T3" fmla="*/ 15 h 18"/>
                  <a:gd name="T4" fmla="*/ 13 w 27"/>
                  <a:gd name="T5" fmla="*/ 18 h 18"/>
                  <a:gd name="T6" fmla="*/ 22 w 27"/>
                  <a:gd name="T7" fmla="*/ 7 h 18"/>
                  <a:gd name="T8" fmla="*/ 27 w 27"/>
                  <a:gd name="T9" fmla="*/ 0 h 18"/>
                  <a:gd name="T10" fmla="*/ 22 w 27"/>
                  <a:gd name="T11" fmla="*/ 0 h 18"/>
                  <a:gd name="T12" fmla="*/ 18 w 27"/>
                  <a:gd name="T13" fmla="*/ 1 h 18"/>
                  <a:gd name="T14" fmla="*/ 13 w 27"/>
                  <a:gd name="T15" fmla="*/ 2 h 18"/>
                  <a:gd name="T16" fmla="*/ 10 w 27"/>
                  <a:gd name="T17" fmla="*/ 4 h 18"/>
                  <a:gd name="T18" fmla="*/ 5 w 27"/>
                  <a:gd name="T19" fmla="*/ 8 h 18"/>
                  <a:gd name="T20" fmla="*/ 0 w 27"/>
                  <a:gd name="T21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7" name="Freeform 55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568305" y="3648792"/>
                <a:ext cx="31672" cy="57162"/>
              </a:xfrm>
              <a:custGeom>
                <a:avLst/>
                <a:gdLst>
                  <a:gd name="T0" fmla="*/ 0 w 47"/>
                  <a:gd name="T1" fmla="*/ 36 h 49"/>
                  <a:gd name="T2" fmla="*/ 1 w 47"/>
                  <a:gd name="T3" fmla="*/ 39 h 49"/>
                  <a:gd name="T4" fmla="*/ 2 w 47"/>
                  <a:gd name="T5" fmla="*/ 41 h 49"/>
                  <a:gd name="T6" fmla="*/ 4 w 47"/>
                  <a:gd name="T7" fmla="*/ 43 h 49"/>
                  <a:gd name="T8" fmla="*/ 6 w 47"/>
                  <a:gd name="T9" fmla="*/ 45 h 49"/>
                  <a:gd name="T10" fmla="*/ 12 w 47"/>
                  <a:gd name="T11" fmla="*/ 48 h 49"/>
                  <a:gd name="T12" fmla="*/ 14 w 47"/>
                  <a:gd name="T13" fmla="*/ 49 h 49"/>
                  <a:gd name="T14" fmla="*/ 18 w 47"/>
                  <a:gd name="T15" fmla="*/ 49 h 49"/>
                  <a:gd name="T16" fmla="*/ 24 w 47"/>
                  <a:gd name="T17" fmla="*/ 46 h 49"/>
                  <a:gd name="T18" fmla="*/ 29 w 47"/>
                  <a:gd name="T19" fmla="*/ 42 h 49"/>
                  <a:gd name="T20" fmla="*/ 35 w 47"/>
                  <a:gd name="T21" fmla="*/ 39 h 49"/>
                  <a:gd name="T22" fmla="*/ 39 w 47"/>
                  <a:gd name="T23" fmla="*/ 35 h 49"/>
                  <a:gd name="T24" fmla="*/ 44 w 47"/>
                  <a:gd name="T25" fmla="*/ 31 h 49"/>
                  <a:gd name="T26" fmla="*/ 46 w 47"/>
                  <a:gd name="T27" fmla="*/ 27 h 49"/>
                  <a:gd name="T28" fmla="*/ 47 w 47"/>
                  <a:gd name="T29" fmla="*/ 24 h 49"/>
                  <a:gd name="T30" fmla="*/ 47 w 47"/>
                  <a:gd name="T31" fmla="*/ 12 h 49"/>
                  <a:gd name="T32" fmla="*/ 47 w 47"/>
                  <a:gd name="T33" fmla="*/ 0 h 49"/>
                  <a:gd name="T34" fmla="*/ 27 w 47"/>
                  <a:gd name="T35" fmla="*/ 0 h 49"/>
                  <a:gd name="T36" fmla="*/ 17 w 47"/>
                  <a:gd name="T37" fmla="*/ 8 h 49"/>
                  <a:gd name="T38" fmla="*/ 9 w 47"/>
                  <a:gd name="T39" fmla="*/ 16 h 49"/>
                  <a:gd name="T40" fmla="*/ 5 w 47"/>
                  <a:gd name="T41" fmla="*/ 20 h 49"/>
                  <a:gd name="T42" fmla="*/ 2 w 47"/>
                  <a:gd name="T43" fmla="*/ 25 h 49"/>
                  <a:gd name="T44" fmla="*/ 1 w 47"/>
                  <a:gd name="T45" fmla="*/ 30 h 49"/>
                  <a:gd name="T46" fmla="*/ 0 w 47"/>
                  <a:gd name="T4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8" name="Freeform 56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593641" y="3624974"/>
                <a:ext cx="16891" cy="57162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4 h 9"/>
                  <a:gd name="T4" fmla="*/ 3 w 26"/>
                  <a:gd name="T5" fmla="*/ 7 h 9"/>
                  <a:gd name="T6" fmla="*/ 6 w 26"/>
                  <a:gd name="T7" fmla="*/ 8 h 9"/>
                  <a:gd name="T8" fmla="*/ 11 w 26"/>
                  <a:gd name="T9" fmla="*/ 9 h 9"/>
                  <a:gd name="T10" fmla="*/ 15 w 26"/>
                  <a:gd name="T11" fmla="*/ 8 h 9"/>
                  <a:gd name="T12" fmla="*/ 20 w 26"/>
                  <a:gd name="T13" fmla="*/ 7 h 9"/>
                  <a:gd name="T14" fmla="*/ 23 w 26"/>
                  <a:gd name="T15" fmla="*/ 4 h 9"/>
                  <a:gd name="T16" fmla="*/ 26 w 26"/>
                  <a:gd name="T17" fmla="*/ 0 h 9"/>
                  <a:gd name="T18" fmla="*/ 0 w 2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9" name="Freeform 57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905316" y="3296285"/>
                <a:ext cx="21114" cy="57162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 h 18"/>
                  <a:gd name="T4" fmla="*/ 6 w 39"/>
                  <a:gd name="T5" fmla="*/ 18 h 18"/>
                  <a:gd name="T6" fmla="*/ 13 w 39"/>
                  <a:gd name="T7" fmla="*/ 18 h 18"/>
                  <a:gd name="T8" fmla="*/ 23 w 39"/>
                  <a:gd name="T9" fmla="*/ 17 h 18"/>
                  <a:gd name="T10" fmla="*/ 30 w 39"/>
                  <a:gd name="T11" fmla="*/ 14 h 18"/>
                  <a:gd name="T12" fmla="*/ 34 w 39"/>
                  <a:gd name="T13" fmla="*/ 12 h 18"/>
                  <a:gd name="T14" fmla="*/ 37 w 39"/>
                  <a:gd name="T15" fmla="*/ 10 h 18"/>
                  <a:gd name="T16" fmla="*/ 38 w 39"/>
                  <a:gd name="T17" fmla="*/ 8 h 18"/>
                  <a:gd name="T18" fmla="*/ 39 w 39"/>
                  <a:gd name="T19" fmla="*/ 6 h 18"/>
                  <a:gd name="T20" fmla="*/ 29 w 39"/>
                  <a:gd name="T21" fmla="*/ 5 h 18"/>
                  <a:gd name="T22" fmla="*/ 19 w 39"/>
                  <a:gd name="T23" fmla="*/ 3 h 18"/>
                  <a:gd name="T24" fmla="*/ 10 w 39"/>
                  <a:gd name="T25" fmla="*/ 0 h 18"/>
                  <a:gd name="T26" fmla="*/ 0 w 3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40" name="Group 58"/>
              <p:cNvGrpSpPr>
                <a:grpSpLocks/>
              </p:cNvGrpSpPr>
              <p:nvPr>
                <p:custDataLst>
                  <p:tags r:id="rId52"/>
                </p:custDataLst>
              </p:nvPr>
            </p:nvGrpSpPr>
            <p:grpSpPr bwMode="auto">
              <a:xfrm>
                <a:off x="3072118" y="3129560"/>
                <a:ext cx="175249" cy="195307"/>
                <a:chOff x="1199" y="2121"/>
                <a:chExt cx="97" cy="123"/>
              </a:xfrm>
              <a:grpFill/>
            </p:grpSpPr>
            <p:sp>
              <p:nvSpPr>
                <p:cNvPr id="1121" name="Freeform 59"/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25 h 25"/>
                    <a:gd name="T2" fmla="*/ 7 w 52"/>
                    <a:gd name="T3" fmla="*/ 25 h 25"/>
                    <a:gd name="T4" fmla="*/ 15 w 52"/>
                    <a:gd name="T5" fmla="*/ 24 h 25"/>
                    <a:gd name="T6" fmla="*/ 23 w 52"/>
                    <a:gd name="T7" fmla="*/ 22 h 25"/>
                    <a:gd name="T8" fmla="*/ 30 w 52"/>
                    <a:gd name="T9" fmla="*/ 19 h 25"/>
                    <a:gd name="T10" fmla="*/ 38 w 52"/>
                    <a:gd name="T11" fmla="*/ 15 h 25"/>
                    <a:gd name="T12" fmla="*/ 43 w 52"/>
                    <a:gd name="T13" fmla="*/ 11 h 25"/>
                    <a:gd name="T14" fmla="*/ 49 w 52"/>
                    <a:gd name="T15" fmla="*/ 6 h 25"/>
                    <a:gd name="T16" fmla="*/ 52 w 52"/>
                    <a:gd name="T17" fmla="*/ 0 h 25"/>
                    <a:gd name="T18" fmla="*/ 40 w 52"/>
                    <a:gd name="T19" fmla="*/ 0 h 25"/>
                    <a:gd name="T20" fmla="*/ 31 w 52"/>
                    <a:gd name="T21" fmla="*/ 0 h 25"/>
                    <a:gd name="T22" fmla="*/ 23 w 52"/>
                    <a:gd name="T23" fmla="*/ 1 h 25"/>
                    <a:gd name="T24" fmla="*/ 16 w 52"/>
                    <a:gd name="T25" fmla="*/ 3 h 25"/>
                    <a:gd name="T26" fmla="*/ 11 w 52"/>
                    <a:gd name="T27" fmla="*/ 6 h 25"/>
                    <a:gd name="T28" fmla="*/ 5 w 52"/>
                    <a:gd name="T29" fmla="*/ 10 h 25"/>
                    <a:gd name="T30" fmla="*/ 2 w 52"/>
                    <a:gd name="T31" fmla="*/ 16 h 25"/>
                    <a:gd name="T32" fmla="*/ 0 w 52"/>
                    <a:gd name="T3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2" name="Freeform 60"/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6 h 13"/>
                    <a:gd name="T4" fmla="*/ 0 w 33"/>
                    <a:gd name="T5" fmla="*/ 13 h 13"/>
                    <a:gd name="T6" fmla="*/ 9 w 33"/>
                    <a:gd name="T7" fmla="*/ 13 h 13"/>
                    <a:gd name="T8" fmla="*/ 16 w 33"/>
                    <a:gd name="T9" fmla="*/ 13 h 13"/>
                    <a:gd name="T10" fmla="*/ 24 w 33"/>
                    <a:gd name="T11" fmla="*/ 11 h 13"/>
                    <a:gd name="T12" fmla="*/ 33 w 33"/>
                    <a:gd name="T13" fmla="*/ 6 h 13"/>
                    <a:gd name="T14" fmla="*/ 24 w 33"/>
                    <a:gd name="T15" fmla="*/ 3 h 13"/>
                    <a:gd name="T16" fmla="*/ 16 w 33"/>
                    <a:gd name="T17" fmla="*/ 1 h 13"/>
                    <a:gd name="T18" fmla="*/ 9 w 33"/>
                    <a:gd name="T19" fmla="*/ 0 h 13"/>
                    <a:gd name="T20" fmla="*/ 0 w 33"/>
                    <a:gd name="T2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3" name="Freeform 61"/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26 w 67"/>
                    <a:gd name="T1" fmla="*/ 18 h 86"/>
                    <a:gd name="T2" fmla="*/ 0 w 67"/>
                    <a:gd name="T3" fmla="*/ 0 h 86"/>
                    <a:gd name="T4" fmla="*/ 26 w 67"/>
                    <a:gd name="T5" fmla="*/ 0 h 86"/>
                    <a:gd name="T6" fmla="*/ 29 w 67"/>
                    <a:gd name="T7" fmla="*/ 4 h 86"/>
                    <a:gd name="T8" fmla="*/ 33 w 67"/>
                    <a:gd name="T9" fmla="*/ 8 h 86"/>
                    <a:gd name="T10" fmla="*/ 36 w 67"/>
                    <a:gd name="T11" fmla="*/ 11 h 86"/>
                    <a:gd name="T12" fmla="*/ 39 w 67"/>
                    <a:gd name="T13" fmla="*/ 14 h 86"/>
                    <a:gd name="T14" fmla="*/ 47 w 67"/>
                    <a:gd name="T15" fmla="*/ 17 h 86"/>
                    <a:gd name="T16" fmla="*/ 54 w 67"/>
                    <a:gd name="T17" fmla="*/ 18 h 86"/>
                    <a:gd name="T18" fmla="*/ 58 w 67"/>
                    <a:gd name="T19" fmla="*/ 30 h 86"/>
                    <a:gd name="T20" fmla="*/ 62 w 67"/>
                    <a:gd name="T21" fmla="*/ 40 h 86"/>
                    <a:gd name="T22" fmla="*/ 63 w 67"/>
                    <a:gd name="T23" fmla="*/ 45 h 86"/>
                    <a:gd name="T24" fmla="*/ 66 w 67"/>
                    <a:gd name="T25" fmla="*/ 50 h 86"/>
                    <a:gd name="T26" fmla="*/ 66 w 67"/>
                    <a:gd name="T27" fmla="*/ 55 h 86"/>
                    <a:gd name="T28" fmla="*/ 67 w 67"/>
                    <a:gd name="T29" fmla="*/ 61 h 86"/>
                    <a:gd name="T30" fmla="*/ 63 w 67"/>
                    <a:gd name="T31" fmla="*/ 74 h 86"/>
                    <a:gd name="T32" fmla="*/ 60 w 67"/>
                    <a:gd name="T33" fmla="*/ 86 h 86"/>
                    <a:gd name="T34" fmla="*/ 55 w 67"/>
                    <a:gd name="T35" fmla="*/ 69 h 86"/>
                    <a:gd name="T36" fmla="*/ 51 w 67"/>
                    <a:gd name="T37" fmla="*/ 54 h 86"/>
                    <a:gd name="T38" fmla="*/ 50 w 67"/>
                    <a:gd name="T39" fmla="*/ 47 h 86"/>
                    <a:gd name="T40" fmla="*/ 50 w 67"/>
                    <a:gd name="T41" fmla="*/ 41 h 86"/>
                    <a:gd name="T42" fmla="*/ 51 w 67"/>
                    <a:gd name="T43" fmla="*/ 35 h 86"/>
                    <a:gd name="T44" fmla="*/ 54 w 67"/>
                    <a:gd name="T45" fmla="*/ 30 h 86"/>
                    <a:gd name="T46" fmla="*/ 44 w 67"/>
                    <a:gd name="T47" fmla="*/ 30 h 86"/>
                    <a:gd name="T48" fmla="*/ 35 w 67"/>
                    <a:gd name="T49" fmla="*/ 29 h 86"/>
                    <a:gd name="T50" fmla="*/ 32 w 67"/>
                    <a:gd name="T51" fmla="*/ 27 h 86"/>
                    <a:gd name="T52" fmla="*/ 28 w 67"/>
                    <a:gd name="T53" fmla="*/ 25 h 86"/>
                    <a:gd name="T54" fmla="*/ 27 w 67"/>
                    <a:gd name="T55" fmla="*/ 22 h 86"/>
                    <a:gd name="T56" fmla="*/ 26 w 67"/>
                    <a:gd name="T57" fmla="*/ 18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4" name="Freeform 62"/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27 w 49"/>
                    <a:gd name="T1" fmla="*/ 12 h 86"/>
                    <a:gd name="T2" fmla="*/ 20 w 49"/>
                    <a:gd name="T3" fmla="*/ 6 h 86"/>
                    <a:gd name="T4" fmla="*/ 14 w 49"/>
                    <a:gd name="T5" fmla="*/ 0 h 86"/>
                    <a:gd name="T6" fmla="*/ 9 w 49"/>
                    <a:gd name="T7" fmla="*/ 5 h 86"/>
                    <a:gd name="T8" fmla="*/ 5 w 49"/>
                    <a:gd name="T9" fmla="*/ 13 h 86"/>
                    <a:gd name="T10" fmla="*/ 1 w 49"/>
                    <a:gd name="T11" fmla="*/ 21 h 86"/>
                    <a:gd name="T12" fmla="*/ 0 w 49"/>
                    <a:gd name="T13" fmla="*/ 30 h 86"/>
                    <a:gd name="T14" fmla="*/ 0 w 49"/>
                    <a:gd name="T15" fmla="*/ 36 h 86"/>
                    <a:gd name="T16" fmla="*/ 3 w 49"/>
                    <a:gd name="T17" fmla="*/ 43 h 86"/>
                    <a:gd name="T18" fmla="*/ 5 w 49"/>
                    <a:gd name="T19" fmla="*/ 50 h 86"/>
                    <a:gd name="T20" fmla="*/ 8 w 49"/>
                    <a:gd name="T21" fmla="*/ 58 h 86"/>
                    <a:gd name="T22" fmla="*/ 12 w 49"/>
                    <a:gd name="T23" fmla="*/ 66 h 86"/>
                    <a:gd name="T24" fmla="*/ 17 w 49"/>
                    <a:gd name="T25" fmla="*/ 74 h 86"/>
                    <a:gd name="T26" fmla="*/ 22 w 49"/>
                    <a:gd name="T27" fmla="*/ 80 h 86"/>
                    <a:gd name="T28" fmla="*/ 27 w 49"/>
                    <a:gd name="T29" fmla="*/ 86 h 86"/>
                    <a:gd name="T30" fmla="*/ 31 w 49"/>
                    <a:gd name="T31" fmla="*/ 79 h 86"/>
                    <a:gd name="T32" fmla="*/ 37 w 49"/>
                    <a:gd name="T33" fmla="*/ 69 h 86"/>
                    <a:gd name="T34" fmla="*/ 42 w 49"/>
                    <a:gd name="T35" fmla="*/ 57 h 86"/>
                    <a:gd name="T36" fmla="*/ 46 w 49"/>
                    <a:gd name="T37" fmla="*/ 45 h 86"/>
                    <a:gd name="T38" fmla="*/ 49 w 49"/>
                    <a:gd name="T39" fmla="*/ 39 h 86"/>
                    <a:gd name="T40" fmla="*/ 49 w 49"/>
                    <a:gd name="T41" fmla="*/ 33 h 86"/>
                    <a:gd name="T42" fmla="*/ 49 w 49"/>
                    <a:gd name="T43" fmla="*/ 26 h 86"/>
                    <a:gd name="T44" fmla="*/ 48 w 49"/>
                    <a:gd name="T45" fmla="*/ 22 h 86"/>
                    <a:gd name="T46" fmla="*/ 44 w 49"/>
                    <a:gd name="T47" fmla="*/ 18 h 86"/>
                    <a:gd name="T48" fmla="*/ 40 w 49"/>
                    <a:gd name="T49" fmla="*/ 15 h 86"/>
                    <a:gd name="T50" fmla="*/ 34 w 49"/>
                    <a:gd name="T51" fmla="*/ 13 h 86"/>
                    <a:gd name="T52" fmla="*/ 27 w 49"/>
                    <a:gd name="T53" fmla="*/ 1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5" name="Freeform 63"/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12 h 12"/>
                    <a:gd name="T2" fmla="*/ 6 w 6"/>
                    <a:gd name="T3" fmla="*/ 0 h 12"/>
                    <a:gd name="T4" fmla="*/ 4 w 6"/>
                    <a:gd name="T5" fmla="*/ 0 h 12"/>
                    <a:gd name="T6" fmla="*/ 2 w 6"/>
                    <a:gd name="T7" fmla="*/ 2 h 12"/>
                    <a:gd name="T8" fmla="*/ 1 w 6"/>
                    <a:gd name="T9" fmla="*/ 4 h 12"/>
                    <a:gd name="T10" fmla="*/ 0 w 6"/>
                    <a:gd name="T11" fmla="*/ 6 h 12"/>
                    <a:gd name="T12" fmla="*/ 0 w 6"/>
                    <a:gd name="T13" fmla="*/ 10 h 12"/>
                    <a:gd name="T14" fmla="*/ 0 w 6"/>
                    <a:gd name="T1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6" name="Freeform 64"/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11 w 39"/>
                    <a:gd name="T3" fmla="*/ 9 h 48"/>
                    <a:gd name="T4" fmla="*/ 22 w 39"/>
                    <a:gd name="T5" fmla="*/ 17 h 48"/>
                    <a:gd name="T6" fmla="*/ 32 w 39"/>
                    <a:gd name="T7" fmla="*/ 24 h 48"/>
                    <a:gd name="T8" fmla="*/ 39 w 39"/>
                    <a:gd name="T9" fmla="*/ 30 h 48"/>
                    <a:gd name="T10" fmla="*/ 36 w 39"/>
                    <a:gd name="T11" fmla="*/ 39 h 48"/>
                    <a:gd name="T12" fmla="*/ 33 w 39"/>
                    <a:gd name="T13" fmla="*/ 48 h 48"/>
                    <a:gd name="T14" fmla="*/ 18 w 39"/>
                    <a:gd name="T15" fmla="*/ 36 h 48"/>
                    <a:gd name="T16" fmla="*/ 8 w 39"/>
                    <a:gd name="T17" fmla="*/ 26 h 48"/>
                    <a:gd name="T18" fmla="*/ 4 w 39"/>
                    <a:gd name="T19" fmla="*/ 21 h 48"/>
                    <a:gd name="T20" fmla="*/ 2 w 39"/>
                    <a:gd name="T21" fmla="*/ 15 h 48"/>
                    <a:gd name="T22" fmla="*/ 0 w 39"/>
                    <a:gd name="T23" fmla="*/ 8 h 48"/>
                    <a:gd name="T24" fmla="*/ 0 w 39"/>
                    <a:gd name="T25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7" name="Freeform 65"/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7 w 16"/>
                    <a:gd name="T1" fmla="*/ 0 h 43"/>
                    <a:gd name="T2" fmla="*/ 11 w 16"/>
                    <a:gd name="T3" fmla="*/ 9 h 43"/>
                    <a:gd name="T4" fmla="*/ 15 w 16"/>
                    <a:gd name="T5" fmla="*/ 16 h 43"/>
                    <a:gd name="T6" fmla="*/ 16 w 16"/>
                    <a:gd name="T7" fmla="*/ 22 h 43"/>
                    <a:gd name="T8" fmla="*/ 16 w 16"/>
                    <a:gd name="T9" fmla="*/ 27 h 43"/>
                    <a:gd name="T10" fmla="*/ 15 w 16"/>
                    <a:gd name="T11" fmla="*/ 31 h 43"/>
                    <a:gd name="T12" fmla="*/ 11 w 16"/>
                    <a:gd name="T13" fmla="*/ 35 h 43"/>
                    <a:gd name="T14" fmla="*/ 7 w 16"/>
                    <a:gd name="T15" fmla="*/ 39 h 43"/>
                    <a:gd name="T16" fmla="*/ 0 w 16"/>
                    <a:gd name="T17" fmla="*/ 43 h 43"/>
                    <a:gd name="T18" fmla="*/ 2 w 16"/>
                    <a:gd name="T19" fmla="*/ 28 h 43"/>
                    <a:gd name="T20" fmla="*/ 4 w 16"/>
                    <a:gd name="T21" fmla="*/ 18 h 43"/>
                    <a:gd name="T22" fmla="*/ 6 w 16"/>
                    <a:gd name="T23" fmla="*/ 9 h 43"/>
                    <a:gd name="T24" fmla="*/ 7 w 16"/>
                    <a:gd name="T25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8" name="Freeform 66"/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24 w 24"/>
                    <a:gd name="T1" fmla="*/ 36 h 37"/>
                    <a:gd name="T2" fmla="*/ 19 w 24"/>
                    <a:gd name="T3" fmla="*/ 27 h 37"/>
                    <a:gd name="T4" fmla="*/ 15 w 24"/>
                    <a:gd name="T5" fmla="*/ 18 h 37"/>
                    <a:gd name="T6" fmla="*/ 12 w 24"/>
                    <a:gd name="T7" fmla="*/ 9 h 37"/>
                    <a:gd name="T8" fmla="*/ 11 w 24"/>
                    <a:gd name="T9" fmla="*/ 0 h 37"/>
                    <a:gd name="T10" fmla="*/ 6 w 24"/>
                    <a:gd name="T11" fmla="*/ 10 h 37"/>
                    <a:gd name="T12" fmla="*/ 3 w 24"/>
                    <a:gd name="T13" fmla="*/ 19 h 37"/>
                    <a:gd name="T14" fmla="*/ 1 w 24"/>
                    <a:gd name="T15" fmla="*/ 26 h 37"/>
                    <a:gd name="T16" fmla="*/ 0 w 24"/>
                    <a:gd name="T17" fmla="*/ 31 h 37"/>
                    <a:gd name="T18" fmla="*/ 1 w 24"/>
                    <a:gd name="T19" fmla="*/ 33 h 37"/>
                    <a:gd name="T20" fmla="*/ 2 w 24"/>
                    <a:gd name="T21" fmla="*/ 35 h 37"/>
                    <a:gd name="T22" fmla="*/ 4 w 24"/>
                    <a:gd name="T23" fmla="*/ 36 h 37"/>
                    <a:gd name="T24" fmla="*/ 6 w 24"/>
                    <a:gd name="T25" fmla="*/ 37 h 37"/>
                    <a:gd name="T26" fmla="*/ 14 w 24"/>
                    <a:gd name="T27" fmla="*/ 37 h 37"/>
                    <a:gd name="T28" fmla="*/ 24 w 24"/>
                    <a:gd name="T29" fmla="*/ 3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9" name="Freeform 67"/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34 w 34"/>
                    <a:gd name="T1" fmla="*/ 0 h 55"/>
                    <a:gd name="T2" fmla="*/ 34 w 34"/>
                    <a:gd name="T3" fmla="*/ 13 h 55"/>
                    <a:gd name="T4" fmla="*/ 34 w 34"/>
                    <a:gd name="T5" fmla="*/ 25 h 55"/>
                    <a:gd name="T6" fmla="*/ 33 w 34"/>
                    <a:gd name="T7" fmla="*/ 32 h 55"/>
                    <a:gd name="T8" fmla="*/ 31 w 34"/>
                    <a:gd name="T9" fmla="*/ 38 h 55"/>
                    <a:gd name="T10" fmla="*/ 29 w 34"/>
                    <a:gd name="T11" fmla="*/ 43 h 55"/>
                    <a:gd name="T12" fmla="*/ 24 w 34"/>
                    <a:gd name="T13" fmla="*/ 47 h 55"/>
                    <a:gd name="T14" fmla="*/ 20 w 34"/>
                    <a:gd name="T15" fmla="*/ 51 h 55"/>
                    <a:gd name="T16" fmla="*/ 14 w 34"/>
                    <a:gd name="T17" fmla="*/ 53 h 55"/>
                    <a:gd name="T18" fmla="*/ 8 w 34"/>
                    <a:gd name="T19" fmla="*/ 55 h 55"/>
                    <a:gd name="T20" fmla="*/ 0 w 34"/>
                    <a:gd name="T21" fmla="*/ 55 h 55"/>
                    <a:gd name="T22" fmla="*/ 9 w 34"/>
                    <a:gd name="T23" fmla="*/ 36 h 55"/>
                    <a:gd name="T24" fmla="*/ 14 w 34"/>
                    <a:gd name="T25" fmla="*/ 21 h 55"/>
                    <a:gd name="T26" fmla="*/ 18 w 34"/>
                    <a:gd name="T27" fmla="*/ 16 h 55"/>
                    <a:gd name="T28" fmla="*/ 22 w 34"/>
                    <a:gd name="T29" fmla="*/ 10 h 55"/>
                    <a:gd name="T30" fmla="*/ 28 w 34"/>
                    <a:gd name="T31" fmla="*/ 5 h 55"/>
                    <a:gd name="T32" fmla="*/ 34 w 34"/>
                    <a:gd name="T33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30" name="Freeform 68"/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2 w 33"/>
                    <a:gd name="T3" fmla="*/ 4 h 12"/>
                    <a:gd name="T4" fmla="*/ 6 w 33"/>
                    <a:gd name="T5" fmla="*/ 7 h 12"/>
                    <a:gd name="T6" fmla="*/ 10 w 33"/>
                    <a:gd name="T7" fmla="*/ 9 h 12"/>
                    <a:gd name="T8" fmla="*/ 14 w 33"/>
                    <a:gd name="T9" fmla="*/ 11 h 12"/>
                    <a:gd name="T10" fmla="*/ 23 w 33"/>
                    <a:gd name="T11" fmla="*/ 12 h 12"/>
                    <a:gd name="T12" fmla="*/ 33 w 33"/>
                    <a:gd name="T13" fmla="*/ 12 h 12"/>
                    <a:gd name="T14" fmla="*/ 28 w 33"/>
                    <a:gd name="T15" fmla="*/ 8 h 12"/>
                    <a:gd name="T16" fmla="*/ 19 w 33"/>
                    <a:gd name="T17" fmla="*/ 4 h 12"/>
                    <a:gd name="T18" fmla="*/ 10 w 33"/>
                    <a:gd name="T19" fmla="*/ 1 h 12"/>
                    <a:gd name="T20" fmla="*/ 0 w 33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41" name="Freeform 77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9940646" y="3707544"/>
                <a:ext cx="12669" cy="57162"/>
              </a:xfrm>
              <a:custGeom>
                <a:avLst/>
                <a:gdLst>
                  <a:gd name="T0" fmla="*/ 0 w 21"/>
                  <a:gd name="T1" fmla="*/ 43 h 62"/>
                  <a:gd name="T2" fmla="*/ 1 w 21"/>
                  <a:gd name="T3" fmla="*/ 29 h 62"/>
                  <a:gd name="T4" fmla="*/ 3 w 21"/>
                  <a:gd name="T5" fmla="*/ 17 h 62"/>
                  <a:gd name="T6" fmla="*/ 4 w 21"/>
                  <a:gd name="T7" fmla="*/ 11 h 62"/>
                  <a:gd name="T8" fmla="*/ 6 w 21"/>
                  <a:gd name="T9" fmla="*/ 7 h 62"/>
                  <a:gd name="T10" fmla="*/ 9 w 21"/>
                  <a:gd name="T11" fmla="*/ 3 h 62"/>
                  <a:gd name="T12" fmla="*/ 15 w 21"/>
                  <a:gd name="T13" fmla="*/ 0 h 62"/>
                  <a:gd name="T14" fmla="*/ 15 w 21"/>
                  <a:gd name="T15" fmla="*/ 15 h 62"/>
                  <a:gd name="T16" fmla="*/ 18 w 21"/>
                  <a:gd name="T17" fmla="*/ 31 h 62"/>
                  <a:gd name="T18" fmla="*/ 20 w 21"/>
                  <a:gd name="T19" fmla="*/ 44 h 62"/>
                  <a:gd name="T20" fmla="*/ 21 w 21"/>
                  <a:gd name="T21" fmla="*/ 49 h 62"/>
                  <a:gd name="T22" fmla="*/ 10 w 21"/>
                  <a:gd name="T23" fmla="*/ 55 h 62"/>
                  <a:gd name="T24" fmla="*/ 0 w 21"/>
                  <a:gd name="T25" fmla="*/ 62 h 62"/>
                  <a:gd name="T26" fmla="*/ 0 w 21"/>
                  <a:gd name="T2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2" name="Freeform 80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025104" y="3696428"/>
                <a:ext cx="2112" cy="55576"/>
              </a:xfrm>
              <a:custGeom>
                <a:avLst/>
                <a:gdLst>
                  <a:gd name="T0" fmla="*/ 0 w 7"/>
                  <a:gd name="T1" fmla="*/ 7 w 7"/>
                  <a:gd name="T2" fmla="*/ 0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3" name="Freeform 8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103228" y="3640853"/>
                <a:ext cx="8446" cy="57162"/>
              </a:xfrm>
              <a:custGeom>
                <a:avLst/>
                <a:gdLst>
                  <a:gd name="T0" fmla="*/ 16 w 16"/>
                  <a:gd name="T1" fmla="*/ 0 h 25"/>
                  <a:gd name="T2" fmla="*/ 16 w 16"/>
                  <a:gd name="T3" fmla="*/ 6 h 25"/>
                  <a:gd name="T4" fmla="*/ 14 w 16"/>
                  <a:gd name="T5" fmla="*/ 13 h 25"/>
                  <a:gd name="T6" fmla="*/ 13 w 16"/>
                  <a:gd name="T7" fmla="*/ 16 h 25"/>
                  <a:gd name="T8" fmla="*/ 11 w 16"/>
                  <a:gd name="T9" fmla="*/ 20 h 25"/>
                  <a:gd name="T10" fmla="*/ 7 w 16"/>
                  <a:gd name="T11" fmla="*/ 23 h 25"/>
                  <a:gd name="T12" fmla="*/ 3 w 16"/>
                  <a:gd name="T13" fmla="*/ 25 h 25"/>
                  <a:gd name="T14" fmla="*/ 1 w 16"/>
                  <a:gd name="T15" fmla="*/ 24 h 25"/>
                  <a:gd name="T16" fmla="*/ 0 w 16"/>
                  <a:gd name="T17" fmla="*/ 21 h 25"/>
                  <a:gd name="T18" fmla="*/ 1 w 16"/>
                  <a:gd name="T19" fmla="*/ 18 h 25"/>
                  <a:gd name="T20" fmla="*/ 2 w 16"/>
                  <a:gd name="T21" fmla="*/ 13 h 25"/>
                  <a:gd name="T22" fmla="*/ 4 w 16"/>
                  <a:gd name="T23" fmla="*/ 9 h 25"/>
                  <a:gd name="T24" fmla="*/ 7 w 16"/>
                  <a:gd name="T25" fmla="*/ 4 h 25"/>
                  <a:gd name="T26" fmla="*/ 11 w 16"/>
                  <a:gd name="T27" fmla="*/ 1 h 25"/>
                  <a:gd name="T28" fmla="*/ 16 w 16"/>
                  <a:gd name="T2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4" name="Freeform 82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253139" y="3529702"/>
                <a:ext cx="6335" cy="57162"/>
              </a:xfrm>
              <a:custGeom>
                <a:avLst/>
                <a:gdLst>
                  <a:gd name="T0" fmla="*/ 0 w 14"/>
                  <a:gd name="T1" fmla="*/ 0 h 18"/>
                  <a:gd name="T2" fmla="*/ 3 w 14"/>
                  <a:gd name="T3" fmla="*/ 1 h 18"/>
                  <a:gd name="T4" fmla="*/ 5 w 14"/>
                  <a:gd name="T5" fmla="*/ 2 h 18"/>
                  <a:gd name="T6" fmla="*/ 7 w 14"/>
                  <a:gd name="T7" fmla="*/ 4 h 18"/>
                  <a:gd name="T8" fmla="*/ 9 w 14"/>
                  <a:gd name="T9" fmla="*/ 7 h 18"/>
                  <a:gd name="T10" fmla="*/ 13 w 14"/>
                  <a:gd name="T11" fmla="*/ 13 h 18"/>
                  <a:gd name="T12" fmla="*/ 14 w 14"/>
                  <a:gd name="T13" fmla="*/ 18 h 18"/>
                  <a:gd name="T14" fmla="*/ 0 w 14"/>
                  <a:gd name="T1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5" name="Freeform 83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455836" y="4228364"/>
                <a:ext cx="35895" cy="58751"/>
              </a:xfrm>
              <a:custGeom>
                <a:avLst/>
                <a:gdLst>
                  <a:gd name="T0" fmla="*/ 0 w 67"/>
                  <a:gd name="T1" fmla="*/ 0 h 74"/>
                  <a:gd name="T2" fmla="*/ 1 w 67"/>
                  <a:gd name="T3" fmla="*/ 17 h 74"/>
                  <a:gd name="T4" fmla="*/ 3 w 67"/>
                  <a:gd name="T5" fmla="*/ 30 h 74"/>
                  <a:gd name="T6" fmla="*/ 7 w 67"/>
                  <a:gd name="T7" fmla="*/ 41 h 74"/>
                  <a:gd name="T8" fmla="*/ 12 w 67"/>
                  <a:gd name="T9" fmla="*/ 50 h 74"/>
                  <a:gd name="T10" fmla="*/ 17 w 67"/>
                  <a:gd name="T11" fmla="*/ 58 h 74"/>
                  <a:gd name="T12" fmla="*/ 23 w 67"/>
                  <a:gd name="T13" fmla="*/ 64 h 74"/>
                  <a:gd name="T14" fmla="*/ 28 w 67"/>
                  <a:gd name="T15" fmla="*/ 69 h 74"/>
                  <a:gd name="T16" fmla="*/ 33 w 67"/>
                  <a:gd name="T17" fmla="*/ 74 h 74"/>
                  <a:gd name="T18" fmla="*/ 44 w 67"/>
                  <a:gd name="T19" fmla="*/ 65 h 74"/>
                  <a:gd name="T20" fmla="*/ 55 w 67"/>
                  <a:gd name="T21" fmla="*/ 55 h 74"/>
                  <a:gd name="T22" fmla="*/ 59 w 67"/>
                  <a:gd name="T23" fmla="*/ 49 h 74"/>
                  <a:gd name="T24" fmla="*/ 63 w 67"/>
                  <a:gd name="T25" fmla="*/ 43 h 74"/>
                  <a:gd name="T26" fmla="*/ 66 w 67"/>
                  <a:gd name="T27" fmla="*/ 37 h 74"/>
                  <a:gd name="T28" fmla="*/ 67 w 67"/>
                  <a:gd name="T29" fmla="*/ 30 h 74"/>
                  <a:gd name="T30" fmla="*/ 67 w 67"/>
                  <a:gd name="T31" fmla="*/ 25 h 74"/>
                  <a:gd name="T32" fmla="*/ 67 w 67"/>
                  <a:gd name="T33" fmla="*/ 18 h 74"/>
                  <a:gd name="T34" fmla="*/ 67 w 67"/>
                  <a:gd name="T35" fmla="*/ 9 h 74"/>
                  <a:gd name="T36" fmla="*/ 67 w 67"/>
                  <a:gd name="T37" fmla="*/ 0 h 74"/>
                  <a:gd name="T38" fmla="*/ 48 w 67"/>
                  <a:gd name="T39" fmla="*/ 0 h 74"/>
                  <a:gd name="T40" fmla="*/ 33 w 67"/>
                  <a:gd name="T41" fmla="*/ 0 h 74"/>
                  <a:gd name="T42" fmla="*/ 17 w 67"/>
                  <a:gd name="T43" fmla="*/ 0 h 74"/>
                  <a:gd name="T44" fmla="*/ 0 w 67"/>
                  <a:gd name="T4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6" name="Freeform 84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540293" y="4242654"/>
                <a:ext cx="16891" cy="57162"/>
              </a:xfrm>
              <a:custGeom>
                <a:avLst/>
                <a:gdLst>
                  <a:gd name="T0" fmla="*/ 0 w 34"/>
                  <a:gd name="T1" fmla="*/ 0 h 38"/>
                  <a:gd name="T2" fmla="*/ 2 w 34"/>
                  <a:gd name="T3" fmla="*/ 3 h 38"/>
                  <a:gd name="T4" fmla="*/ 4 w 34"/>
                  <a:gd name="T5" fmla="*/ 7 h 38"/>
                  <a:gd name="T6" fmla="*/ 5 w 34"/>
                  <a:gd name="T7" fmla="*/ 11 h 38"/>
                  <a:gd name="T8" fmla="*/ 6 w 34"/>
                  <a:gd name="T9" fmla="*/ 16 h 38"/>
                  <a:gd name="T10" fmla="*/ 10 w 34"/>
                  <a:gd name="T11" fmla="*/ 28 h 38"/>
                  <a:gd name="T12" fmla="*/ 13 w 34"/>
                  <a:gd name="T13" fmla="*/ 38 h 38"/>
                  <a:gd name="T14" fmla="*/ 16 w 34"/>
                  <a:gd name="T15" fmla="*/ 37 h 38"/>
                  <a:gd name="T16" fmla="*/ 20 w 34"/>
                  <a:gd name="T17" fmla="*/ 36 h 38"/>
                  <a:gd name="T18" fmla="*/ 23 w 34"/>
                  <a:gd name="T19" fmla="*/ 34 h 38"/>
                  <a:gd name="T20" fmla="*/ 26 w 34"/>
                  <a:gd name="T21" fmla="*/ 31 h 38"/>
                  <a:gd name="T22" fmla="*/ 28 w 34"/>
                  <a:gd name="T23" fmla="*/ 28 h 38"/>
                  <a:gd name="T24" fmla="*/ 32 w 34"/>
                  <a:gd name="T25" fmla="*/ 24 h 38"/>
                  <a:gd name="T26" fmla="*/ 33 w 34"/>
                  <a:gd name="T27" fmla="*/ 21 h 38"/>
                  <a:gd name="T28" fmla="*/ 34 w 34"/>
                  <a:gd name="T29" fmla="*/ 19 h 38"/>
                  <a:gd name="T30" fmla="*/ 31 w 34"/>
                  <a:gd name="T31" fmla="*/ 18 h 38"/>
                  <a:gd name="T32" fmla="*/ 28 w 34"/>
                  <a:gd name="T33" fmla="*/ 17 h 38"/>
                  <a:gd name="T34" fmla="*/ 26 w 34"/>
                  <a:gd name="T35" fmla="*/ 14 h 38"/>
                  <a:gd name="T36" fmla="*/ 24 w 34"/>
                  <a:gd name="T37" fmla="*/ 12 h 38"/>
                  <a:gd name="T38" fmla="*/ 19 w 34"/>
                  <a:gd name="T39" fmla="*/ 6 h 38"/>
                  <a:gd name="T40" fmla="*/ 13 w 34"/>
                  <a:gd name="T41" fmla="*/ 0 h 38"/>
                  <a:gd name="T42" fmla="*/ 6 w 34"/>
                  <a:gd name="T43" fmla="*/ 0 h 38"/>
                  <a:gd name="T44" fmla="*/ 0 w 34"/>
                  <a:gd name="T4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7" name="Freeform 85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350263" y="4018766"/>
                <a:ext cx="33783" cy="55575"/>
              </a:xfrm>
              <a:custGeom>
                <a:avLst/>
                <a:gdLst>
                  <a:gd name="T0" fmla="*/ 53 w 53"/>
                  <a:gd name="T1" fmla="*/ 23 h 23"/>
                  <a:gd name="T2" fmla="*/ 53 w 53"/>
                  <a:gd name="T3" fmla="*/ 4 h 23"/>
                  <a:gd name="T4" fmla="*/ 49 w 53"/>
                  <a:gd name="T5" fmla="*/ 2 h 23"/>
                  <a:gd name="T6" fmla="*/ 45 w 53"/>
                  <a:gd name="T7" fmla="*/ 1 h 23"/>
                  <a:gd name="T8" fmla="*/ 42 w 53"/>
                  <a:gd name="T9" fmla="*/ 0 h 23"/>
                  <a:gd name="T10" fmla="*/ 38 w 53"/>
                  <a:gd name="T11" fmla="*/ 0 h 23"/>
                  <a:gd name="T12" fmla="*/ 31 w 53"/>
                  <a:gd name="T13" fmla="*/ 1 h 23"/>
                  <a:gd name="T14" fmla="*/ 24 w 53"/>
                  <a:gd name="T15" fmla="*/ 4 h 23"/>
                  <a:gd name="T16" fmla="*/ 11 w 53"/>
                  <a:gd name="T17" fmla="*/ 13 h 23"/>
                  <a:gd name="T18" fmla="*/ 0 w 53"/>
                  <a:gd name="T19" fmla="*/ 23 h 23"/>
                  <a:gd name="T20" fmla="*/ 53 w 53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8" name="Freeform 86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74252" y="3993360"/>
                <a:ext cx="14781" cy="57162"/>
              </a:xfrm>
              <a:custGeom>
                <a:avLst/>
                <a:gdLst>
                  <a:gd name="T0" fmla="*/ 0 w 26"/>
                  <a:gd name="T1" fmla="*/ 0 h 12"/>
                  <a:gd name="T2" fmla="*/ 4 w 26"/>
                  <a:gd name="T3" fmla="*/ 4 h 12"/>
                  <a:gd name="T4" fmla="*/ 11 w 26"/>
                  <a:gd name="T5" fmla="*/ 8 h 12"/>
                  <a:gd name="T6" fmla="*/ 14 w 26"/>
                  <a:gd name="T7" fmla="*/ 9 h 12"/>
                  <a:gd name="T8" fmla="*/ 18 w 26"/>
                  <a:gd name="T9" fmla="*/ 11 h 12"/>
                  <a:gd name="T10" fmla="*/ 22 w 26"/>
                  <a:gd name="T11" fmla="*/ 11 h 12"/>
                  <a:gd name="T12" fmla="*/ 26 w 26"/>
                  <a:gd name="T13" fmla="*/ 12 h 12"/>
                  <a:gd name="T14" fmla="*/ 21 w 26"/>
                  <a:gd name="T15" fmla="*/ 7 h 12"/>
                  <a:gd name="T16" fmla="*/ 13 w 26"/>
                  <a:gd name="T17" fmla="*/ 3 h 12"/>
                  <a:gd name="T18" fmla="*/ 5 w 26"/>
                  <a:gd name="T19" fmla="*/ 1 h 12"/>
                  <a:gd name="T20" fmla="*/ 0 w 26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9" name="Freeform 87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540293" y="4325223"/>
                <a:ext cx="42229" cy="57162"/>
              </a:xfrm>
              <a:custGeom>
                <a:avLst/>
                <a:gdLst>
                  <a:gd name="T0" fmla="*/ 0 w 73"/>
                  <a:gd name="T1" fmla="*/ 20 w 73"/>
                  <a:gd name="T2" fmla="*/ 37 w 73"/>
                  <a:gd name="T3" fmla="*/ 55 w 73"/>
                  <a:gd name="T4" fmla="*/ 73 w 7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3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0" name="Freeform 88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481173" y="4314109"/>
                <a:ext cx="29560" cy="57162"/>
              </a:xfrm>
              <a:custGeom>
                <a:avLst/>
                <a:gdLst>
                  <a:gd name="T0" fmla="*/ 0 w 53"/>
                  <a:gd name="T1" fmla="*/ 0 h 3"/>
                  <a:gd name="T2" fmla="*/ 14 w 53"/>
                  <a:gd name="T3" fmla="*/ 0 h 3"/>
                  <a:gd name="T4" fmla="*/ 27 w 53"/>
                  <a:gd name="T5" fmla="*/ 3 h 3"/>
                  <a:gd name="T6" fmla="*/ 32 w 53"/>
                  <a:gd name="T7" fmla="*/ 3 h 3"/>
                  <a:gd name="T8" fmla="*/ 39 w 53"/>
                  <a:gd name="T9" fmla="*/ 3 h 3"/>
                  <a:gd name="T10" fmla="*/ 45 w 53"/>
                  <a:gd name="T11" fmla="*/ 1 h 3"/>
                  <a:gd name="T12" fmla="*/ 53 w 5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1" name="Line 89"/>
              <p:cNvSpPr>
                <a:spLocks noChangeShapeType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525514" y="4299817"/>
                <a:ext cx="27448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2" name="Freeform 90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0552962" y="4306169"/>
                <a:ext cx="2112" cy="57162"/>
              </a:xfrm>
              <a:custGeom>
                <a:avLst/>
                <a:gdLst>
                  <a:gd name="T0" fmla="*/ 0 h 13"/>
                  <a:gd name="T1" fmla="*/ 6 h 13"/>
                  <a:gd name="T2" fmla="*/ 13 h 1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3" name="Freeform 91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10491731" y="4299817"/>
                <a:ext cx="19001" cy="58752"/>
              </a:xfrm>
              <a:custGeom>
                <a:avLst/>
                <a:gdLst>
                  <a:gd name="T0" fmla="*/ 0 w 26"/>
                  <a:gd name="T1" fmla="*/ 15 w 26"/>
                  <a:gd name="T2" fmla="*/ 26 w 2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6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4" name="Freeform 92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0483285" y="4280762"/>
                <a:ext cx="8446" cy="60339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13 h 25"/>
                  <a:gd name="T4" fmla="*/ 4 w 20"/>
                  <a:gd name="T5" fmla="*/ 18 h 25"/>
                  <a:gd name="T6" fmla="*/ 10 w 20"/>
                  <a:gd name="T7" fmla="*/ 21 h 25"/>
                  <a:gd name="T8" fmla="*/ 14 w 20"/>
                  <a:gd name="T9" fmla="*/ 24 h 25"/>
                  <a:gd name="T10" fmla="*/ 20 w 20"/>
                  <a:gd name="T11" fmla="*/ 25 h 25"/>
                  <a:gd name="T12" fmla="*/ 20 w 20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5" name="Freeform 93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0590966" y="4007650"/>
                <a:ext cx="2112" cy="57162"/>
              </a:xfrm>
              <a:custGeom>
                <a:avLst/>
                <a:gdLst>
                  <a:gd name="T0" fmla="*/ 0 w 6"/>
                  <a:gd name="T1" fmla="*/ 24 h 24"/>
                  <a:gd name="T2" fmla="*/ 0 w 6"/>
                  <a:gd name="T3" fmla="*/ 0 h 24"/>
                  <a:gd name="T4" fmla="*/ 6 w 6"/>
                  <a:gd name="T5" fmla="*/ 12 h 24"/>
                  <a:gd name="T6" fmla="*/ 0 w 6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56" name="Group 94"/>
              <p:cNvGrpSpPr>
                <a:grpSpLocks/>
              </p:cNvGrpSpPr>
              <p:nvPr>
                <p:custDataLst>
                  <p:tags r:id="rId68"/>
                </p:custDataLst>
              </p:nvPr>
            </p:nvGrpSpPr>
            <p:grpSpPr bwMode="auto">
              <a:xfrm>
                <a:off x="10424165" y="3678962"/>
                <a:ext cx="217477" cy="114326"/>
                <a:chOff x="5379" y="2466"/>
                <a:chExt cx="122" cy="71"/>
              </a:xfrm>
              <a:grpFill/>
            </p:grpSpPr>
            <p:sp>
              <p:nvSpPr>
                <p:cNvPr id="1112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9 w 19"/>
                    <a:gd name="T1" fmla="*/ 25 h 25"/>
                    <a:gd name="T2" fmla="*/ 18 w 19"/>
                    <a:gd name="T3" fmla="*/ 20 h 25"/>
                    <a:gd name="T4" fmla="*/ 17 w 19"/>
                    <a:gd name="T5" fmla="*/ 12 h 25"/>
                    <a:gd name="T6" fmla="*/ 16 w 19"/>
                    <a:gd name="T7" fmla="*/ 9 h 25"/>
                    <a:gd name="T8" fmla="*/ 17 w 19"/>
                    <a:gd name="T9" fmla="*/ 6 h 25"/>
                    <a:gd name="T10" fmla="*/ 17 w 19"/>
                    <a:gd name="T11" fmla="*/ 3 h 25"/>
                    <a:gd name="T12" fmla="*/ 19 w 19"/>
                    <a:gd name="T13" fmla="*/ 0 h 25"/>
                    <a:gd name="T14" fmla="*/ 0 w 19"/>
                    <a:gd name="T15" fmla="*/ 0 h 25"/>
                    <a:gd name="T16" fmla="*/ 1 w 19"/>
                    <a:gd name="T17" fmla="*/ 7 h 25"/>
                    <a:gd name="T18" fmla="*/ 5 w 19"/>
                    <a:gd name="T19" fmla="*/ 15 h 25"/>
                    <a:gd name="T20" fmla="*/ 7 w 19"/>
                    <a:gd name="T21" fmla="*/ 19 h 25"/>
                    <a:gd name="T22" fmla="*/ 11 w 19"/>
                    <a:gd name="T23" fmla="*/ 23 h 25"/>
                    <a:gd name="T24" fmla="*/ 15 w 19"/>
                    <a:gd name="T25" fmla="*/ 25 h 25"/>
                    <a:gd name="T26" fmla="*/ 19 w 19"/>
                    <a:gd name="T27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3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26 w 26"/>
                    <a:gd name="T1" fmla="*/ 18 h 18"/>
                    <a:gd name="T2" fmla="*/ 7 w 26"/>
                    <a:gd name="T3" fmla="*/ 18 h 18"/>
                    <a:gd name="T4" fmla="*/ 3 w 26"/>
                    <a:gd name="T5" fmla="*/ 9 h 18"/>
                    <a:gd name="T6" fmla="*/ 0 w 26"/>
                    <a:gd name="T7" fmla="*/ 0 h 18"/>
                    <a:gd name="T8" fmla="*/ 6 w 26"/>
                    <a:gd name="T9" fmla="*/ 2 h 18"/>
                    <a:gd name="T10" fmla="*/ 13 w 26"/>
                    <a:gd name="T11" fmla="*/ 6 h 18"/>
                    <a:gd name="T12" fmla="*/ 20 w 26"/>
                    <a:gd name="T13" fmla="*/ 12 h 18"/>
                    <a:gd name="T14" fmla="*/ 26 w 26"/>
                    <a:gd name="T1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4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3 w 13"/>
                    <a:gd name="T3" fmla="*/ 0 h 18"/>
                    <a:gd name="T4" fmla="*/ 0 w 13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5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24 h 24"/>
                    <a:gd name="T2" fmla="*/ 3 w 26"/>
                    <a:gd name="T3" fmla="*/ 23 h 24"/>
                    <a:gd name="T4" fmla="*/ 7 w 26"/>
                    <a:gd name="T5" fmla="*/ 22 h 24"/>
                    <a:gd name="T6" fmla="*/ 11 w 26"/>
                    <a:gd name="T7" fmla="*/ 19 h 24"/>
                    <a:gd name="T8" fmla="*/ 16 w 26"/>
                    <a:gd name="T9" fmla="*/ 16 h 24"/>
                    <a:gd name="T10" fmla="*/ 20 w 26"/>
                    <a:gd name="T11" fmla="*/ 13 h 24"/>
                    <a:gd name="T12" fmla="*/ 23 w 26"/>
                    <a:gd name="T13" fmla="*/ 9 h 24"/>
                    <a:gd name="T14" fmla="*/ 25 w 26"/>
                    <a:gd name="T15" fmla="*/ 4 h 24"/>
                    <a:gd name="T16" fmla="*/ 26 w 26"/>
                    <a:gd name="T17" fmla="*/ 0 h 24"/>
                    <a:gd name="T18" fmla="*/ 0 w 2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6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6 h 6"/>
                    <a:gd name="T2" fmla="*/ 10 w 34"/>
                    <a:gd name="T3" fmla="*/ 6 h 6"/>
                    <a:gd name="T4" fmla="*/ 17 w 34"/>
                    <a:gd name="T5" fmla="*/ 5 h 6"/>
                    <a:gd name="T6" fmla="*/ 25 w 34"/>
                    <a:gd name="T7" fmla="*/ 4 h 6"/>
                    <a:gd name="T8" fmla="*/ 34 w 34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7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8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19 h 19"/>
                    <a:gd name="T1" fmla="*/ 9 h 19"/>
                    <a:gd name="T2" fmla="*/ 0 h 1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</a:cxnLst>
                  <a:rect l="0" t="0" r="r" b="b"/>
                  <a:pathLst>
                    <a:path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9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20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14 w 14"/>
                    <a:gd name="T1" fmla="*/ 0 h 6"/>
                    <a:gd name="T2" fmla="*/ 7 w 14"/>
                    <a:gd name="T3" fmla="*/ 3 h 6"/>
                    <a:gd name="T4" fmla="*/ 0 w 14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57" name="Freeform 104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8540768" y="3540817"/>
                <a:ext cx="8446" cy="57162"/>
              </a:xfrm>
              <a:custGeom>
                <a:avLst/>
                <a:gdLst>
                  <a:gd name="T0" fmla="*/ 13 w 26"/>
                  <a:gd name="T1" fmla="*/ 111 h 111"/>
                  <a:gd name="T2" fmla="*/ 9 w 26"/>
                  <a:gd name="T3" fmla="*/ 103 h 111"/>
                  <a:gd name="T4" fmla="*/ 4 w 26"/>
                  <a:gd name="T5" fmla="*/ 95 h 111"/>
                  <a:gd name="T6" fmla="*/ 2 w 26"/>
                  <a:gd name="T7" fmla="*/ 91 h 111"/>
                  <a:gd name="T8" fmla="*/ 1 w 26"/>
                  <a:gd name="T9" fmla="*/ 87 h 111"/>
                  <a:gd name="T10" fmla="*/ 0 w 26"/>
                  <a:gd name="T11" fmla="*/ 80 h 111"/>
                  <a:gd name="T12" fmla="*/ 0 w 26"/>
                  <a:gd name="T13" fmla="*/ 74 h 111"/>
                  <a:gd name="T14" fmla="*/ 0 w 26"/>
                  <a:gd name="T15" fmla="*/ 61 h 111"/>
                  <a:gd name="T16" fmla="*/ 1 w 26"/>
                  <a:gd name="T17" fmla="*/ 51 h 111"/>
                  <a:gd name="T18" fmla="*/ 3 w 26"/>
                  <a:gd name="T19" fmla="*/ 41 h 111"/>
                  <a:gd name="T20" fmla="*/ 5 w 26"/>
                  <a:gd name="T21" fmla="*/ 33 h 111"/>
                  <a:gd name="T22" fmla="*/ 9 w 26"/>
                  <a:gd name="T23" fmla="*/ 24 h 111"/>
                  <a:gd name="T24" fmla="*/ 14 w 26"/>
                  <a:gd name="T25" fmla="*/ 17 h 111"/>
                  <a:gd name="T26" fmla="*/ 20 w 26"/>
                  <a:gd name="T27" fmla="*/ 9 h 111"/>
                  <a:gd name="T28" fmla="*/ 26 w 26"/>
                  <a:gd name="T29" fmla="*/ 0 h 111"/>
                  <a:gd name="T30" fmla="*/ 26 w 26"/>
                  <a:gd name="T31" fmla="*/ 6 h 111"/>
                  <a:gd name="T32" fmla="*/ 26 w 26"/>
                  <a:gd name="T33" fmla="*/ 13 h 111"/>
                  <a:gd name="T34" fmla="*/ 26 w 26"/>
                  <a:gd name="T35" fmla="*/ 22 h 111"/>
                  <a:gd name="T36" fmla="*/ 26 w 26"/>
                  <a:gd name="T37" fmla="*/ 32 h 111"/>
                  <a:gd name="T38" fmla="*/ 25 w 26"/>
                  <a:gd name="T39" fmla="*/ 44 h 111"/>
                  <a:gd name="T40" fmla="*/ 22 w 26"/>
                  <a:gd name="T41" fmla="*/ 56 h 111"/>
                  <a:gd name="T42" fmla="*/ 18 w 26"/>
                  <a:gd name="T43" fmla="*/ 67 h 111"/>
                  <a:gd name="T44" fmla="*/ 13 w 26"/>
                  <a:gd name="T45" fmla="*/ 80 h 111"/>
                  <a:gd name="T46" fmla="*/ 13 w 26"/>
                  <a:gd name="T4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8" name="Freeform 105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530282" y="5681261"/>
                <a:ext cx="71789" cy="58752"/>
              </a:xfrm>
              <a:custGeom>
                <a:avLst/>
                <a:gdLst>
                  <a:gd name="T0" fmla="*/ 0 w 126"/>
                  <a:gd name="T1" fmla="*/ 19 h 62"/>
                  <a:gd name="T2" fmla="*/ 11 w 126"/>
                  <a:gd name="T3" fmla="*/ 20 h 62"/>
                  <a:gd name="T4" fmla="*/ 21 w 126"/>
                  <a:gd name="T5" fmla="*/ 21 h 62"/>
                  <a:gd name="T6" fmla="*/ 29 w 126"/>
                  <a:gd name="T7" fmla="*/ 23 h 62"/>
                  <a:gd name="T8" fmla="*/ 36 w 126"/>
                  <a:gd name="T9" fmla="*/ 26 h 62"/>
                  <a:gd name="T10" fmla="*/ 50 w 126"/>
                  <a:gd name="T11" fmla="*/ 33 h 62"/>
                  <a:gd name="T12" fmla="*/ 61 w 126"/>
                  <a:gd name="T13" fmla="*/ 40 h 62"/>
                  <a:gd name="T14" fmla="*/ 70 w 126"/>
                  <a:gd name="T15" fmla="*/ 48 h 62"/>
                  <a:gd name="T16" fmla="*/ 79 w 126"/>
                  <a:gd name="T17" fmla="*/ 55 h 62"/>
                  <a:gd name="T18" fmla="*/ 84 w 126"/>
                  <a:gd name="T19" fmla="*/ 58 h 62"/>
                  <a:gd name="T20" fmla="*/ 89 w 126"/>
                  <a:gd name="T21" fmla="*/ 60 h 62"/>
                  <a:gd name="T22" fmla="*/ 95 w 126"/>
                  <a:gd name="T23" fmla="*/ 61 h 62"/>
                  <a:gd name="T24" fmla="*/ 100 w 126"/>
                  <a:gd name="T25" fmla="*/ 62 h 62"/>
                  <a:gd name="T26" fmla="*/ 105 w 126"/>
                  <a:gd name="T27" fmla="*/ 61 h 62"/>
                  <a:gd name="T28" fmla="*/ 109 w 126"/>
                  <a:gd name="T29" fmla="*/ 60 h 62"/>
                  <a:gd name="T30" fmla="*/ 113 w 126"/>
                  <a:gd name="T31" fmla="*/ 58 h 62"/>
                  <a:gd name="T32" fmla="*/ 117 w 126"/>
                  <a:gd name="T33" fmla="*/ 56 h 62"/>
                  <a:gd name="T34" fmla="*/ 122 w 126"/>
                  <a:gd name="T35" fmla="*/ 51 h 62"/>
                  <a:gd name="T36" fmla="*/ 126 w 126"/>
                  <a:gd name="T37" fmla="*/ 49 h 62"/>
                  <a:gd name="T38" fmla="*/ 110 w 126"/>
                  <a:gd name="T39" fmla="*/ 33 h 62"/>
                  <a:gd name="T40" fmla="*/ 96 w 126"/>
                  <a:gd name="T41" fmla="*/ 21 h 62"/>
                  <a:gd name="T42" fmla="*/ 89 w 126"/>
                  <a:gd name="T43" fmla="*/ 15 h 62"/>
                  <a:gd name="T44" fmla="*/ 81 w 126"/>
                  <a:gd name="T45" fmla="*/ 9 h 62"/>
                  <a:gd name="T46" fmla="*/ 72 w 126"/>
                  <a:gd name="T47" fmla="*/ 5 h 62"/>
                  <a:gd name="T48" fmla="*/ 61 w 126"/>
                  <a:gd name="T49" fmla="*/ 0 h 62"/>
                  <a:gd name="T50" fmla="*/ 0 w 126"/>
                  <a:gd name="T51" fmla="*/ 0 h 62"/>
                  <a:gd name="T52" fmla="*/ 0 w 126"/>
                  <a:gd name="T53" fmla="*/ 9 h 62"/>
                  <a:gd name="T54" fmla="*/ 0 w 126"/>
                  <a:gd name="T55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9" name="Freeform 107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0343931" y="2289578"/>
                <a:ext cx="27448" cy="57162"/>
              </a:xfrm>
              <a:custGeom>
                <a:avLst/>
                <a:gdLst>
                  <a:gd name="T0" fmla="*/ 46 w 46"/>
                  <a:gd name="T1" fmla="*/ 0 h 16"/>
                  <a:gd name="T2" fmla="*/ 40 w 46"/>
                  <a:gd name="T3" fmla="*/ 7 h 16"/>
                  <a:gd name="T4" fmla="*/ 35 w 46"/>
                  <a:gd name="T5" fmla="*/ 13 h 16"/>
                  <a:gd name="T6" fmla="*/ 31 w 46"/>
                  <a:gd name="T7" fmla="*/ 14 h 16"/>
                  <a:gd name="T8" fmla="*/ 29 w 46"/>
                  <a:gd name="T9" fmla="*/ 15 h 16"/>
                  <a:gd name="T10" fmla="*/ 26 w 46"/>
                  <a:gd name="T11" fmla="*/ 16 h 16"/>
                  <a:gd name="T12" fmla="*/ 23 w 46"/>
                  <a:gd name="T13" fmla="*/ 16 h 16"/>
                  <a:gd name="T14" fmla="*/ 16 w 46"/>
                  <a:gd name="T15" fmla="*/ 14 h 16"/>
                  <a:gd name="T16" fmla="*/ 11 w 46"/>
                  <a:gd name="T17" fmla="*/ 11 h 16"/>
                  <a:gd name="T18" fmla="*/ 5 w 46"/>
                  <a:gd name="T19" fmla="*/ 6 h 16"/>
                  <a:gd name="T20" fmla="*/ 0 w 46"/>
                  <a:gd name="T21" fmla="*/ 0 h 16"/>
                  <a:gd name="T22" fmla="*/ 46 w 46"/>
                  <a:gd name="T2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0" name="Freeform 108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0578299" y="2322923"/>
                <a:ext cx="21114" cy="57162"/>
              </a:xfrm>
              <a:custGeom>
                <a:avLst/>
                <a:gdLst>
                  <a:gd name="T0" fmla="*/ 39 w 39"/>
                  <a:gd name="T1" fmla="*/ 25 h 26"/>
                  <a:gd name="T2" fmla="*/ 36 w 39"/>
                  <a:gd name="T3" fmla="*/ 26 h 26"/>
                  <a:gd name="T4" fmla="*/ 32 w 39"/>
                  <a:gd name="T5" fmla="*/ 26 h 26"/>
                  <a:gd name="T6" fmla="*/ 28 w 39"/>
                  <a:gd name="T7" fmla="*/ 26 h 26"/>
                  <a:gd name="T8" fmla="*/ 25 w 39"/>
                  <a:gd name="T9" fmla="*/ 25 h 26"/>
                  <a:gd name="T10" fmla="*/ 18 w 39"/>
                  <a:gd name="T11" fmla="*/ 22 h 26"/>
                  <a:gd name="T12" fmla="*/ 12 w 39"/>
                  <a:gd name="T13" fmla="*/ 18 h 26"/>
                  <a:gd name="T14" fmla="*/ 7 w 39"/>
                  <a:gd name="T15" fmla="*/ 13 h 26"/>
                  <a:gd name="T16" fmla="*/ 3 w 39"/>
                  <a:gd name="T17" fmla="*/ 7 h 26"/>
                  <a:gd name="T18" fmla="*/ 1 w 39"/>
                  <a:gd name="T19" fmla="*/ 3 h 26"/>
                  <a:gd name="T20" fmla="*/ 0 w 39"/>
                  <a:gd name="T21" fmla="*/ 0 h 26"/>
                  <a:gd name="T22" fmla="*/ 11 w 39"/>
                  <a:gd name="T23" fmla="*/ 6 h 26"/>
                  <a:gd name="T24" fmla="*/ 22 w 39"/>
                  <a:gd name="T25" fmla="*/ 13 h 26"/>
                  <a:gd name="T26" fmla="*/ 33 w 39"/>
                  <a:gd name="T27" fmla="*/ 20 h 26"/>
                  <a:gd name="T28" fmla="*/ 39 w 39"/>
                  <a:gd name="T2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1" name="Freeform 109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9845633" y="2553163"/>
                <a:ext cx="6334" cy="58752"/>
              </a:xfrm>
              <a:custGeom>
                <a:avLst/>
                <a:gdLst>
                  <a:gd name="T0" fmla="*/ 11 w 11"/>
                  <a:gd name="T1" fmla="*/ 0 h 25"/>
                  <a:gd name="T2" fmla="*/ 11 w 11"/>
                  <a:gd name="T3" fmla="*/ 5 h 25"/>
                  <a:gd name="T4" fmla="*/ 10 w 11"/>
                  <a:gd name="T5" fmla="*/ 12 h 25"/>
                  <a:gd name="T6" fmla="*/ 9 w 11"/>
                  <a:gd name="T7" fmla="*/ 20 h 25"/>
                  <a:gd name="T8" fmla="*/ 4 w 11"/>
                  <a:gd name="T9" fmla="*/ 25 h 25"/>
                  <a:gd name="T10" fmla="*/ 2 w 11"/>
                  <a:gd name="T11" fmla="*/ 23 h 25"/>
                  <a:gd name="T12" fmla="*/ 1 w 11"/>
                  <a:gd name="T13" fmla="*/ 20 h 25"/>
                  <a:gd name="T14" fmla="*/ 0 w 11"/>
                  <a:gd name="T15" fmla="*/ 15 h 25"/>
                  <a:gd name="T16" fmla="*/ 0 w 11"/>
                  <a:gd name="T17" fmla="*/ 12 h 25"/>
                  <a:gd name="T18" fmla="*/ 1 w 11"/>
                  <a:gd name="T19" fmla="*/ 9 h 25"/>
                  <a:gd name="T20" fmla="*/ 3 w 11"/>
                  <a:gd name="T21" fmla="*/ 5 h 25"/>
                  <a:gd name="T22" fmla="*/ 6 w 11"/>
                  <a:gd name="T23" fmla="*/ 2 h 25"/>
                  <a:gd name="T24" fmla="*/ 11 w 11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2" name="Freeform 110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9598594" y="3115268"/>
                <a:ext cx="19004" cy="58752"/>
              </a:xfrm>
              <a:custGeom>
                <a:avLst/>
                <a:gdLst>
                  <a:gd name="T0" fmla="*/ 20 w 20"/>
                  <a:gd name="T1" fmla="*/ 0 h 31"/>
                  <a:gd name="T2" fmla="*/ 16 w 20"/>
                  <a:gd name="T3" fmla="*/ 12 h 31"/>
                  <a:gd name="T4" fmla="*/ 10 w 20"/>
                  <a:gd name="T5" fmla="*/ 20 h 31"/>
                  <a:gd name="T6" fmla="*/ 5 w 20"/>
                  <a:gd name="T7" fmla="*/ 26 h 31"/>
                  <a:gd name="T8" fmla="*/ 0 w 20"/>
                  <a:gd name="T9" fmla="*/ 31 h 31"/>
                  <a:gd name="T10" fmla="*/ 0 w 20"/>
                  <a:gd name="T11" fmla="*/ 25 h 31"/>
                  <a:gd name="T12" fmla="*/ 1 w 20"/>
                  <a:gd name="T13" fmla="*/ 19 h 31"/>
                  <a:gd name="T14" fmla="*/ 2 w 20"/>
                  <a:gd name="T15" fmla="*/ 13 h 31"/>
                  <a:gd name="T16" fmla="*/ 5 w 20"/>
                  <a:gd name="T17" fmla="*/ 9 h 31"/>
                  <a:gd name="T18" fmla="*/ 8 w 20"/>
                  <a:gd name="T19" fmla="*/ 6 h 31"/>
                  <a:gd name="T20" fmla="*/ 11 w 20"/>
                  <a:gd name="T21" fmla="*/ 3 h 31"/>
                  <a:gd name="T22" fmla="*/ 16 w 20"/>
                  <a:gd name="T23" fmla="*/ 0 h 31"/>
                  <a:gd name="T24" fmla="*/ 20 w 20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3" name="Freeform 111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9621822" y="3050166"/>
                <a:ext cx="21114" cy="57162"/>
              </a:xfrm>
              <a:custGeom>
                <a:avLst/>
                <a:gdLst>
                  <a:gd name="T0" fmla="*/ 13 w 26"/>
                  <a:gd name="T1" fmla="*/ 37 h 37"/>
                  <a:gd name="T2" fmla="*/ 0 w 26"/>
                  <a:gd name="T3" fmla="*/ 12 h 37"/>
                  <a:gd name="T4" fmla="*/ 6 w 26"/>
                  <a:gd name="T5" fmla="*/ 7 h 37"/>
                  <a:gd name="T6" fmla="*/ 13 w 26"/>
                  <a:gd name="T7" fmla="*/ 4 h 37"/>
                  <a:gd name="T8" fmla="*/ 21 w 26"/>
                  <a:gd name="T9" fmla="*/ 1 h 37"/>
                  <a:gd name="T10" fmla="*/ 26 w 26"/>
                  <a:gd name="T11" fmla="*/ 0 h 37"/>
                  <a:gd name="T12" fmla="*/ 26 w 26"/>
                  <a:gd name="T13" fmla="*/ 6 h 37"/>
                  <a:gd name="T14" fmla="*/ 25 w 26"/>
                  <a:gd name="T15" fmla="*/ 11 h 37"/>
                  <a:gd name="T16" fmla="*/ 24 w 26"/>
                  <a:gd name="T17" fmla="*/ 17 h 37"/>
                  <a:gd name="T18" fmla="*/ 23 w 26"/>
                  <a:gd name="T19" fmla="*/ 21 h 37"/>
                  <a:gd name="T20" fmla="*/ 18 w 26"/>
                  <a:gd name="T21" fmla="*/ 29 h 37"/>
                  <a:gd name="T22" fmla="*/ 13 w 26"/>
                  <a:gd name="T2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4" name="Freeform 112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9474021" y="2899318"/>
                <a:ext cx="2110" cy="60339"/>
              </a:xfrm>
              <a:custGeom>
                <a:avLst/>
                <a:gdLst>
                  <a:gd name="T0" fmla="*/ 0 w 7"/>
                  <a:gd name="T1" fmla="*/ 18 h 18"/>
                  <a:gd name="T2" fmla="*/ 0 w 7"/>
                  <a:gd name="T3" fmla="*/ 0 h 18"/>
                  <a:gd name="T4" fmla="*/ 7 w 7"/>
                  <a:gd name="T5" fmla="*/ 12 h 18"/>
                  <a:gd name="T6" fmla="*/ 0 w 7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5" name="Freeform 113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287052" y="2025991"/>
                <a:ext cx="12669" cy="57162"/>
              </a:xfrm>
              <a:custGeom>
                <a:avLst/>
                <a:gdLst>
                  <a:gd name="T0" fmla="*/ 0 w 33"/>
                  <a:gd name="T1" fmla="*/ 12 h 31"/>
                  <a:gd name="T2" fmla="*/ 19 w 33"/>
                  <a:gd name="T3" fmla="*/ 0 h 31"/>
                  <a:gd name="T4" fmla="*/ 24 w 33"/>
                  <a:gd name="T5" fmla="*/ 5 h 31"/>
                  <a:gd name="T6" fmla="*/ 28 w 33"/>
                  <a:gd name="T7" fmla="*/ 12 h 31"/>
                  <a:gd name="T8" fmla="*/ 32 w 33"/>
                  <a:gd name="T9" fmla="*/ 22 h 31"/>
                  <a:gd name="T10" fmla="*/ 33 w 33"/>
                  <a:gd name="T11" fmla="*/ 31 h 31"/>
                  <a:gd name="T12" fmla="*/ 27 w 33"/>
                  <a:gd name="T13" fmla="*/ 30 h 31"/>
                  <a:gd name="T14" fmla="*/ 22 w 33"/>
                  <a:gd name="T15" fmla="*/ 28 h 31"/>
                  <a:gd name="T16" fmla="*/ 16 w 33"/>
                  <a:gd name="T17" fmla="*/ 25 h 31"/>
                  <a:gd name="T18" fmla="*/ 11 w 33"/>
                  <a:gd name="T19" fmla="*/ 22 h 31"/>
                  <a:gd name="T20" fmla="*/ 3 w 33"/>
                  <a:gd name="T21" fmla="*/ 15 h 31"/>
                  <a:gd name="T22" fmla="*/ 0 w 33"/>
                  <a:gd name="T23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6" name="Freeform 114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268051" y="1794164"/>
                <a:ext cx="4223" cy="57162"/>
              </a:xfrm>
              <a:custGeom>
                <a:avLst/>
                <a:gdLst>
                  <a:gd name="T0" fmla="*/ 14 w 14"/>
                  <a:gd name="T1" fmla="*/ 0 h 6"/>
                  <a:gd name="T2" fmla="*/ 0 w 14"/>
                  <a:gd name="T3" fmla="*/ 6 h 6"/>
                  <a:gd name="T4" fmla="*/ 14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7" name="Freeform 115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238014" y="3572575"/>
                <a:ext cx="33783" cy="55576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8" name="Freeform 116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6843178" y="3434431"/>
                <a:ext cx="25337" cy="58751"/>
              </a:xfrm>
              <a:custGeom>
                <a:avLst/>
                <a:gdLst>
                  <a:gd name="T0" fmla="*/ 14 w 47"/>
                  <a:gd name="T1" fmla="*/ 0 h 68"/>
                  <a:gd name="T2" fmla="*/ 8 w 47"/>
                  <a:gd name="T3" fmla="*/ 10 h 68"/>
                  <a:gd name="T4" fmla="*/ 4 w 47"/>
                  <a:gd name="T5" fmla="*/ 19 h 68"/>
                  <a:gd name="T6" fmla="*/ 2 w 47"/>
                  <a:gd name="T7" fmla="*/ 28 h 68"/>
                  <a:gd name="T8" fmla="*/ 0 w 47"/>
                  <a:gd name="T9" fmla="*/ 37 h 68"/>
                  <a:gd name="T10" fmla="*/ 0 w 47"/>
                  <a:gd name="T11" fmla="*/ 42 h 68"/>
                  <a:gd name="T12" fmla="*/ 2 w 47"/>
                  <a:gd name="T13" fmla="*/ 47 h 68"/>
                  <a:gd name="T14" fmla="*/ 3 w 47"/>
                  <a:gd name="T15" fmla="*/ 51 h 68"/>
                  <a:gd name="T16" fmla="*/ 5 w 47"/>
                  <a:gd name="T17" fmla="*/ 55 h 68"/>
                  <a:gd name="T18" fmla="*/ 7 w 47"/>
                  <a:gd name="T19" fmla="*/ 58 h 68"/>
                  <a:gd name="T20" fmla="*/ 9 w 47"/>
                  <a:gd name="T21" fmla="*/ 60 h 68"/>
                  <a:gd name="T22" fmla="*/ 13 w 47"/>
                  <a:gd name="T23" fmla="*/ 62 h 68"/>
                  <a:gd name="T24" fmla="*/ 16 w 47"/>
                  <a:gd name="T25" fmla="*/ 64 h 68"/>
                  <a:gd name="T26" fmla="*/ 22 w 47"/>
                  <a:gd name="T27" fmla="*/ 67 h 68"/>
                  <a:gd name="T28" fmla="*/ 31 w 47"/>
                  <a:gd name="T29" fmla="*/ 68 h 68"/>
                  <a:gd name="T30" fmla="*/ 39 w 47"/>
                  <a:gd name="T31" fmla="*/ 68 h 68"/>
                  <a:gd name="T32" fmla="*/ 47 w 47"/>
                  <a:gd name="T33" fmla="*/ 68 h 68"/>
                  <a:gd name="T34" fmla="*/ 41 w 47"/>
                  <a:gd name="T35" fmla="*/ 58 h 68"/>
                  <a:gd name="T36" fmla="*/ 38 w 47"/>
                  <a:gd name="T37" fmla="*/ 48 h 68"/>
                  <a:gd name="T38" fmla="*/ 36 w 47"/>
                  <a:gd name="T39" fmla="*/ 43 h 68"/>
                  <a:gd name="T40" fmla="*/ 35 w 47"/>
                  <a:gd name="T41" fmla="*/ 38 h 68"/>
                  <a:gd name="T42" fmla="*/ 33 w 47"/>
                  <a:gd name="T43" fmla="*/ 31 h 68"/>
                  <a:gd name="T44" fmla="*/ 33 w 47"/>
                  <a:gd name="T45" fmla="*/ 25 h 68"/>
                  <a:gd name="T46" fmla="*/ 24 w 47"/>
                  <a:gd name="T47" fmla="*/ 13 h 68"/>
                  <a:gd name="T48" fmla="*/ 14 w 47"/>
                  <a:gd name="T4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69" name="Group 117"/>
              <p:cNvGrpSpPr>
                <a:grpSpLocks/>
              </p:cNvGrpSpPr>
              <p:nvPr>
                <p:custDataLst>
                  <p:tags r:id="rId81"/>
                </p:custDataLst>
              </p:nvPr>
            </p:nvGrpSpPr>
            <p:grpSpPr bwMode="auto">
              <a:xfrm>
                <a:off x="7869334" y="3621799"/>
                <a:ext cx="61232" cy="374737"/>
                <a:chOff x="3950" y="2430"/>
                <a:chExt cx="36" cy="234"/>
              </a:xfrm>
              <a:grpFill/>
            </p:grpSpPr>
            <p:sp>
              <p:nvSpPr>
                <p:cNvPr id="1081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2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3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4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5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6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7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8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9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0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1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2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3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4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5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6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0 h 20"/>
                    <a:gd name="T4" fmla="*/ 19 w 19"/>
                    <a:gd name="T5" fmla="*/ 14 h 20"/>
                    <a:gd name="T6" fmla="*/ 14 w 19"/>
                    <a:gd name="T7" fmla="*/ 8 h 20"/>
                    <a:gd name="T8" fmla="*/ 10 w 19"/>
                    <a:gd name="T9" fmla="*/ 4 h 20"/>
                    <a:gd name="T10" fmla="*/ 4 w 19"/>
                    <a:gd name="T11" fmla="*/ 1 h 20"/>
                    <a:gd name="T12" fmla="*/ 0 w 19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7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13 w 19"/>
                    <a:gd name="T1" fmla="*/ 12 h 12"/>
                    <a:gd name="T2" fmla="*/ 19 w 19"/>
                    <a:gd name="T3" fmla="*/ 0 h 12"/>
                    <a:gd name="T4" fmla="*/ 0 w 19"/>
                    <a:gd name="T5" fmla="*/ 0 h 12"/>
                    <a:gd name="T6" fmla="*/ 13 w 19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8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10 w 19"/>
                    <a:gd name="T2" fmla="*/ 19 w 19"/>
                    <a:gd name="T3" fmla="*/ 10 w 19"/>
                    <a:gd name="T4" fmla="*/ 0 w 1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9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99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0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1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1 h 3"/>
                    <a:gd name="T4" fmla="*/ 3 w 6"/>
                    <a:gd name="T5" fmla="*/ 2 h 3"/>
                    <a:gd name="T6" fmla="*/ 1 w 6"/>
                    <a:gd name="T7" fmla="*/ 3 h 3"/>
                    <a:gd name="T8" fmla="*/ 0 w 6"/>
                    <a:gd name="T9" fmla="*/ 2 h 3"/>
                    <a:gd name="T10" fmla="*/ 0 w 6"/>
                    <a:gd name="T11" fmla="*/ 2 h 3"/>
                    <a:gd name="T12" fmla="*/ 0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2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4 w 14"/>
                    <a:gd name="T1" fmla="*/ 0 h 24"/>
                    <a:gd name="T2" fmla="*/ 13 w 14"/>
                    <a:gd name="T3" fmla="*/ 5 h 24"/>
                    <a:gd name="T4" fmla="*/ 9 w 14"/>
                    <a:gd name="T5" fmla="*/ 12 h 24"/>
                    <a:gd name="T6" fmla="*/ 5 w 14"/>
                    <a:gd name="T7" fmla="*/ 19 h 24"/>
                    <a:gd name="T8" fmla="*/ 0 w 14"/>
                    <a:gd name="T9" fmla="*/ 24 h 24"/>
                    <a:gd name="T10" fmla="*/ 0 w 14"/>
                    <a:gd name="T11" fmla="*/ 16 h 24"/>
                    <a:gd name="T12" fmla="*/ 0 w 14"/>
                    <a:gd name="T13" fmla="*/ 12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3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4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13 w 13"/>
                    <a:gd name="T1" fmla="*/ 12 h 12"/>
                    <a:gd name="T2" fmla="*/ 0 w 13"/>
                    <a:gd name="T3" fmla="*/ 0 h 12"/>
                    <a:gd name="T4" fmla="*/ 13 w 13"/>
                    <a:gd name="T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5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9 h 19"/>
                    <a:gd name="T4" fmla="*/ 0 w 7"/>
                    <a:gd name="T5" fmla="*/ 0 h 19"/>
                    <a:gd name="T6" fmla="*/ 7 w 7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6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7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8 h 18"/>
                    <a:gd name="T2" fmla="*/ 8 w 8"/>
                    <a:gd name="T3" fmla="*/ 6 h 18"/>
                    <a:gd name="T4" fmla="*/ 0 w 8"/>
                    <a:gd name="T5" fmla="*/ 0 h 18"/>
                    <a:gd name="T6" fmla="*/ 0 w 8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8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9 h 19"/>
                    <a:gd name="T4" fmla="*/ 6 w 6"/>
                    <a:gd name="T5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09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9 h 19"/>
                    <a:gd name="T4" fmla="*/ 28 w 28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0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5 w 15"/>
                    <a:gd name="T1" fmla="*/ 19 h 19"/>
                    <a:gd name="T2" fmla="*/ 8 w 15"/>
                    <a:gd name="T3" fmla="*/ 9 h 19"/>
                    <a:gd name="T4" fmla="*/ 0 w 15"/>
                    <a:gd name="T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11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3 w 20"/>
                    <a:gd name="T1" fmla="*/ 18 h 18"/>
                    <a:gd name="T2" fmla="*/ 20 w 20"/>
                    <a:gd name="T3" fmla="*/ 0 h 18"/>
                    <a:gd name="T4" fmla="*/ 0 w 20"/>
                    <a:gd name="T5" fmla="*/ 0 h 18"/>
                    <a:gd name="T6" fmla="*/ 13 w 20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670" name="Group 149"/>
              <p:cNvGrpSpPr>
                <a:grpSpLocks/>
              </p:cNvGrpSpPr>
              <p:nvPr>
                <p:custDataLst>
                  <p:tags r:id="rId82"/>
                </p:custDataLst>
              </p:nvPr>
            </p:nvGrpSpPr>
            <p:grpSpPr bwMode="auto">
              <a:xfrm>
                <a:off x="10616306" y="4121976"/>
                <a:ext cx="247038" cy="214363"/>
                <a:chOff x="5486" y="2743"/>
                <a:chExt cx="137" cy="132"/>
              </a:xfrm>
              <a:grpFill/>
            </p:grpSpPr>
            <p:sp>
              <p:nvSpPr>
                <p:cNvPr id="1072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31 h 87"/>
                    <a:gd name="T2" fmla="*/ 0 w 40"/>
                    <a:gd name="T3" fmla="*/ 42 h 87"/>
                    <a:gd name="T4" fmla="*/ 2 w 40"/>
                    <a:gd name="T5" fmla="*/ 51 h 87"/>
                    <a:gd name="T6" fmla="*/ 5 w 40"/>
                    <a:gd name="T7" fmla="*/ 59 h 87"/>
                    <a:gd name="T8" fmla="*/ 10 w 40"/>
                    <a:gd name="T9" fmla="*/ 66 h 87"/>
                    <a:gd name="T10" fmla="*/ 15 w 40"/>
                    <a:gd name="T11" fmla="*/ 72 h 87"/>
                    <a:gd name="T12" fmla="*/ 22 w 40"/>
                    <a:gd name="T13" fmla="*/ 77 h 87"/>
                    <a:gd name="T14" fmla="*/ 31 w 40"/>
                    <a:gd name="T15" fmla="*/ 82 h 87"/>
                    <a:gd name="T16" fmla="*/ 40 w 40"/>
                    <a:gd name="T17" fmla="*/ 87 h 87"/>
                    <a:gd name="T18" fmla="*/ 35 w 40"/>
                    <a:gd name="T19" fmla="*/ 82 h 87"/>
                    <a:gd name="T20" fmla="*/ 32 w 40"/>
                    <a:gd name="T21" fmla="*/ 77 h 87"/>
                    <a:gd name="T22" fmla="*/ 29 w 40"/>
                    <a:gd name="T23" fmla="*/ 71 h 87"/>
                    <a:gd name="T24" fmla="*/ 26 w 40"/>
                    <a:gd name="T25" fmla="*/ 65 h 87"/>
                    <a:gd name="T26" fmla="*/ 22 w 40"/>
                    <a:gd name="T27" fmla="*/ 52 h 87"/>
                    <a:gd name="T28" fmla="*/ 20 w 40"/>
                    <a:gd name="T29" fmla="*/ 39 h 87"/>
                    <a:gd name="T30" fmla="*/ 18 w 40"/>
                    <a:gd name="T31" fmla="*/ 27 h 87"/>
                    <a:gd name="T32" fmla="*/ 13 w 40"/>
                    <a:gd name="T33" fmla="*/ 16 h 87"/>
                    <a:gd name="T34" fmla="*/ 11 w 40"/>
                    <a:gd name="T35" fmla="*/ 11 h 87"/>
                    <a:gd name="T36" fmla="*/ 8 w 40"/>
                    <a:gd name="T37" fmla="*/ 6 h 87"/>
                    <a:gd name="T38" fmla="*/ 4 w 40"/>
                    <a:gd name="T39" fmla="*/ 3 h 87"/>
                    <a:gd name="T40" fmla="*/ 0 w 40"/>
                    <a:gd name="T41" fmla="*/ 0 h 87"/>
                    <a:gd name="T42" fmla="*/ 0 w 40"/>
                    <a:gd name="T43" fmla="*/ 9 h 87"/>
                    <a:gd name="T44" fmla="*/ 0 w 40"/>
                    <a:gd name="T45" fmla="*/ 16 h 87"/>
                    <a:gd name="T46" fmla="*/ 0 w 40"/>
                    <a:gd name="T47" fmla="*/ 23 h 87"/>
                    <a:gd name="T48" fmla="*/ 0 w 40"/>
                    <a:gd name="T49" fmla="*/ 3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3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31 h 37"/>
                    <a:gd name="T2" fmla="*/ 19 w 61"/>
                    <a:gd name="T3" fmla="*/ 32 h 37"/>
                    <a:gd name="T4" fmla="*/ 35 w 61"/>
                    <a:gd name="T5" fmla="*/ 34 h 37"/>
                    <a:gd name="T6" fmla="*/ 49 w 61"/>
                    <a:gd name="T7" fmla="*/ 36 h 37"/>
                    <a:gd name="T8" fmla="*/ 61 w 61"/>
                    <a:gd name="T9" fmla="*/ 37 h 37"/>
                    <a:gd name="T10" fmla="*/ 55 w 61"/>
                    <a:gd name="T11" fmla="*/ 29 h 37"/>
                    <a:gd name="T12" fmla="*/ 49 w 61"/>
                    <a:gd name="T13" fmla="*/ 22 h 37"/>
                    <a:gd name="T14" fmla="*/ 42 w 61"/>
                    <a:gd name="T15" fmla="*/ 17 h 37"/>
                    <a:gd name="T16" fmla="*/ 35 w 61"/>
                    <a:gd name="T17" fmla="*/ 12 h 37"/>
                    <a:gd name="T18" fmla="*/ 28 w 61"/>
                    <a:gd name="T19" fmla="*/ 9 h 37"/>
                    <a:gd name="T20" fmla="*/ 19 w 61"/>
                    <a:gd name="T21" fmla="*/ 5 h 37"/>
                    <a:gd name="T22" fmla="*/ 10 w 61"/>
                    <a:gd name="T23" fmla="*/ 2 h 37"/>
                    <a:gd name="T24" fmla="*/ 0 w 61"/>
                    <a:gd name="T25" fmla="*/ 0 h 37"/>
                    <a:gd name="T26" fmla="*/ 0 w 61"/>
                    <a:gd name="T27" fmla="*/ 3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4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40 w 40"/>
                    <a:gd name="T1" fmla="*/ 30 h 30"/>
                    <a:gd name="T2" fmla="*/ 33 w 40"/>
                    <a:gd name="T3" fmla="*/ 28 h 30"/>
                    <a:gd name="T4" fmla="*/ 26 w 40"/>
                    <a:gd name="T5" fmla="*/ 25 h 30"/>
                    <a:gd name="T6" fmla="*/ 21 w 40"/>
                    <a:gd name="T7" fmla="*/ 22 h 30"/>
                    <a:gd name="T8" fmla="*/ 15 w 40"/>
                    <a:gd name="T9" fmla="*/ 19 h 30"/>
                    <a:gd name="T10" fmla="*/ 11 w 40"/>
                    <a:gd name="T11" fmla="*/ 16 h 30"/>
                    <a:gd name="T12" fmla="*/ 6 w 40"/>
                    <a:gd name="T13" fmla="*/ 11 h 30"/>
                    <a:gd name="T14" fmla="*/ 3 w 40"/>
                    <a:gd name="T15" fmla="*/ 6 h 30"/>
                    <a:gd name="T16" fmla="*/ 0 w 40"/>
                    <a:gd name="T17" fmla="*/ 0 h 30"/>
                    <a:gd name="T18" fmla="*/ 8 w 40"/>
                    <a:gd name="T19" fmla="*/ 2 h 30"/>
                    <a:gd name="T20" fmla="*/ 15 w 40"/>
                    <a:gd name="T21" fmla="*/ 6 h 30"/>
                    <a:gd name="T22" fmla="*/ 22 w 40"/>
                    <a:gd name="T23" fmla="*/ 10 h 30"/>
                    <a:gd name="T24" fmla="*/ 27 w 40"/>
                    <a:gd name="T25" fmla="*/ 15 h 30"/>
                    <a:gd name="T26" fmla="*/ 33 w 40"/>
                    <a:gd name="T27" fmla="*/ 19 h 30"/>
                    <a:gd name="T28" fmla="*/ 36 w 40"/>
                    <a:gd name="T29" fmla="*/ 23 h 30"/>
                    <a:gd name="T30" fmla="*/ 39 w 40"/>
                    <a:gd name="T31" fmla="*/ 27 h 30"/>
                    <a:gd name="T32" fmla="*/ 40 w 40"/>
                    <a:gd name="T33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5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74 w 74"/>
                    <a:gd name="T1" fmla="*/ 80 h 80"/>
                    <a:gd name="T2" fmla="*/ 72 w 74"/>
                    <a:gd name="T3" fmla="*/ 73 h 80"/>
                    <a:gd name="T4" fmla="*/ 71 w 74"/>
                    <a:gd name="T5" fmla="*/ 66 h 80"/>
                    <a:gd name="T6" fmla="*/ 69 w 74"/>
                    <a:gd name="T7" fmla="*/ 60 h 80"/>
                    <a:gd name="T8" fmla="*/ 66 w 74"/>
                    <a:gd name="T9" fmla="*/ 53 h 80"/>
                    <a:gd name="T10" fmla="*/ 58 w 74"/>
                    <a:gd name="T11" fmla="*/ 42 h 80"/>
                    <a:gd name="T12" fmla="*/ 48 w 74"/>
                    <a:gd name="T13" fmla="*/ 33 h 80"/>
                    <a:gd name="T14" fmla="*/ 38 w 74"/>
                    <a:gd name="T15" fmla="*/ 25 h 80"/>
                    <a:gd name="T16" fmla="*/ 29 w 74"/>
                    <a:gd name="T17" fmla="*/ 17 h 80"/>
                    <a:gd name="T18" fmla="*/ 20 w 74"/>
                    <a:gd name="T19" fmla="*/ 9 h 80"/>
                    <a:gd name="T20" fmla="*/ 13 w 74"/>
                    <a:gd name="T21" fmla="*/ 0 h 80"/>
                    <a:gd name="T22" fmla="*/ 9 w 74"/>
                    <a:gd name="T23" fmla="*/ 5 h 80"/>
                    <a:gd name="T24" fmla="*/ 4 w 74"/>
                    <a:gd name="T25" fmla="*/ 10 h 80"/>
                    <a:gd name="T26" fmla="*/ 1 w 74"/>
                    <a:gd name="T27" fmla="*/ 14 h 80"/>
                    <a:gd name="T28" fmla="*/ 0 w 74"/>
                    <a:gd name="T29" fmla="*/ 19 h 80"/>
                    <a:gd name="T30" fmla="*/ 0 w 74"/>
                    <a:gd name="T31" fmla="*/ 25 h 80"/>
                    <a:gd name="T32" fmla="*/ 2 w 74"/>
                    <a:gd name="T33" fmla="*/ 30 h 80"/>
                    <a:gd name="T34" fmla="*/ 4 w 74"/>
                    <a:gd name="T35" fmla="*/ 36 h 80"/>
                    <a:gd name="T36" fmla="*/ 7 w 74"/>
                    <a:gd name="T37" fmla="*/ 41 h 80"/>
                    <a:gd name="T38" fmla="*/ 10 w 74"/>
                    <a:gd name="T39" fmla="*/ 46 h 80"/>
                    <a:gd name="T40" fmla="*/ 14 w 74"/>
                    <a:gd name="T41" fmla="*/ 51 h 80"/>
                    <a:gd name="T42" fmla="*/ 19 w 74"/>
                    <a:gd name="T43" fmla="*/ 56 h 80"/>
                    <a:gd name="T44" fmla="*/ 24 w 74"/>
                    <a:gd name="T45" fmla="*/ 61 h 80"/>
                    <a:gd name="T46" fmla="*/ 30 w 74"/>
                    <a:gd name="T47" fmla="*/ 66 h 80"/>
                    <a:gd name="T48" fmla="*/ 35 w 74"/>
                    <a:gd name="T49" fmla="*/ 69 h 80"/>
                    <a:gd name="T50" fmla="*/ 42 w 74"/>
                    <a:gd name="T51" fmla="*/ 72 h 80"/>
                    <a:gd name="T52" fmla="*/ 47 w 74"/>
                    <a:gd name="T53" fmla="*/ 75 h 80"/>
                    <a:gd name="T54" fmla="*/ 54 w 74"/>
                    <a:gd name="T55" fmla="*/ 77 h 80"/>
                    <a:gd name="T56" fmla="*/ 60 w 74"/>
                    <a:gd name="T57" fmla="*/ 79 h 80"/>
                    <a:gd name="T58" fmla="*/ 67 w 74"/>
                    <a:gd name="T59" fmla="*/ 80 h 80"/>
                    <a:gd name="T60" fmla="*/ 74 w 74"/>
                    <a:gd name="T61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6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52 w 86"/>
                    <a:gd name="T1" fmla="*/ 80 h 80"/>
                    <a:gd name="T2" fmla="*/ 86 w 86"/>
                    <a:gd name="T3" fmla="*/ 80 h 80"/>
                    <a:gd name="T4" fmla="*/ 86 w 86"/>
                    <a:gd name="T5" fmla="*/ 61 h 80"/>
                    <a:gd name="T6" fmla="*/ 79 w 86"/>
                    <a:gd name="T7" fmla="*/ 59 h 80"/>
                    <a:gd name="T8" fmla="*/ 72 w 86"/>
                    <a:gd name="T9" fmla="*/ 56 h 80"/>
                    <a:gd name="T10" fmla="*/ 67 w 86"/>
                    <a:gd name="T11" fmla="*/ 53 h 80"/>
                    <a:gd name="T12" fmla="*/ 61 w 86"/>
                    <a:gd name="T13" fmla="*/ 49 h 80"/>
                    <a:gd name="T14" fmla="*/ 51 w 86"/>
                    <a:gd name="T15" fmla="*/ 41 h 80"/>
                    <a:gd name="T16" fmla="*/ 43 w 86"/>
                    <a:gd name="T17" fmla="*/ 33 h 80"/>
                    <a:gd name="T18" fmla="*/ 34 w 86"/>
                    <a:gd name="T19" fmla="*/ 25 h 80"/>
                    <a:gd name="T20" fmla="*/ 24 w 86"/>
                    <a:gd name="T21" fmla="*/ 16 h 80"/>
                    <a:gd name="T22" fmla="*/ 13 w 86"/>
                    <a:gd name="T23" fmla="*/ 7 h 80"/>
                    <a:gd name="T24" fmla="*/ 0 w 86"/>
                    <a:gd name="T25" fmla="*/ 0 h 80"/>
                    <a:gd name="T26" fmla="*/ 1 w 86"/>
                    <a:gd name="T27" fmla="*/ 8 h 80"/>
                    <a:gd name="T28" fmla="*/ 5 w 86"/>
                    <a:gd name="T29" fmla="*/ 20 h 80"/>
                    <a:gd name="T30" fmla="*/ 11 w 86"/>
                    <a:gd name="T31" fmla="*/ 32 h 80"/>
                    <a:gd name="T32" fmla="*/ 18 w 86"/>
                    <a:gd name="T33" fmla="*/ 44 h 80"/>
                    <a:gd name="T34" fmla="*/ 27 w 86"/>
                    <a:gd name="T35" fmla="*/ 57 h 80"/>
                    <a:gd name="T36" fmla="*/ 36 w 86"/>
                    <a:gd name="T37" fmla="*/ 67 h 80"/>
                    <a:gd name="T38" fmla="*/ 40 w 86"/>
                    <a:gd name="T39" fmla="*/ 72 h 80"/>
                    <a:gd name="T40" fmla="*/ 45 w 86"/>
                    <a:gd name="T41" fmla="*/ 76 h 80"/>
                    <a:gd name="T42" fmla="*/ 49 w 86"/>
                    <a:gd name="T43" fmla="*/ 79 h 80"/>
                    <a:gd name="T44" fmla="*/ 52 w 86"/>
                    <a:gd name="T45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7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7 h 31"/>
                    <a:gd name="T2" fmla="*/ 3 w 74"/>
                    <a:gd name="T3" fmla="*/ 11 h 31"/>
                    <a:gd name="T4" fmla="*/ 5 w 74"/>
                    <a:gd name="T5" fmla="*/ 15 h 31"/>
                    <a:gd name="T6" fmla="*/ 9 w 74"/>
                    <a:gd name="T7" fmla="*/ 18 h 31"/>
                    <a:gd name="T8" fmla="*/ 14 w 74"/>
                    <a:gd name="T9" fmla="*/ 21 h 31"/>
                    <a:gd name="T10" fmla="*/ 18 w 74"/>
                    <a:gd name="T11" fmla="*/ 24 h 31"/>
                    <a:gd name="T12" fmla="*/ 23 w 74"/>
                    <a:gd name="T13" fmla="*/ 26 h 31"/>
                    <a:gd name="T14" fmla="*/ 29 w 74"/>
                    <a:gd name="T15" fmla="*/ 28 h 31"/>
                    <a:gd name="T16" fmla="*/ 34 w 74"/>
                    <a:gd name="T17" fmla="*/ 29 h 31"/>
                    <a:gd name="T18" fmla="*/ 47 w 74"/>
                    <a:gd name="T19" fmla="*/ 31 h 31"/>
                    <a:gd name="T20" fmla="*/ 58 w 74"/>
                    <a:gd name="T21" fmla="*/ 31 h 31"/>
                    <a:gd name="T22" fmla="*/ 63 w 74"/>
                    <a:gd name="T23" fmla="*/ 30 h 31"/>
                    <a:gd name="T24" fmla="*/ 67 w 74"/>
                    <a:gd name="T25" fmla="*/ 29 h 31"/>
                    <a:gd name="T26" fmla="*/ 71 w 74"/>
                    <a:gd name="T27" fmla="*/ 27 h 31"/>
                    <a:gd name="T28" fmla="*/ 74 w 74"/>
                    <a:gd name="T29" fmla="*/ 25 h 31"/>
                    <a:gd name="T30" fmla="*/ 64 w 74"/>
                    <a:gd name="T31" fmla="*/ 18 h 31"/>
                    <a:gd name="T32" fmla="*/ 55 w 74"/>
                    <a:gd name="T33" fmla="*/ 13 h 31"/>
                    <a:gd name="T34" fmla="*/ 51 w 74"/>
                    <a:gd name="T35" fmla="*/ 10 h 31"/>
                    <a:gd name="T36" fmla="*/ 47 w 74"/>
                    <a:gd name="T37" fmla="*/ 8 h 31"/>
                    <a:gd name="T38" fmla="*/ 43 w 74"/>
                    <a:gd name="T39" fmla="*/ 5 h 31"/>
                    <a:gd name="T40" fmla="*/ 41 w 74"/>
                    <a:gd name="T41" fmla="*/ 0 h 31"/>
                    <a:gd name="T42" fmla="*/ 33 w 74"/>
                    <a:gd name="T43" fmla="*/ 1 h 31"/>
                    <a:gd name="T44" fmla="*/ 28 w 74"/>
                    <a:gd name="T45" fmla="*/ 1 h 31"/>
                    <a:gd name="T46" fmla="*/ 22 w 74"/>
                    <a:gd name="T47" fmla="*/ 1 h 31"/>
                    <a:gd name="T48" fmla="*/ 18 w 74"/>
                    <a:gd name="T49" fmla="*/ 0 h 31"/>
                    <a:gd name="T50" fmla="*/ 14 w 74"/>
                    <a:gd name="T51" fmla="*/ 0 h 31"/>
                    <a:gd name="T52" fmla="*/ 10 w 74"/>
                    <a:gd name="T53" fmla="*/ 0 h 31"/>
                    <a:gd name="T54" fmla="*/ 6 w 74"/>
                    <a:gd name="T55" fmla="*/ 3 h 31"/>
                    <a:gd name="T56" fmla="*/ 0 w 74"/>
                    <a:gd name="T57" fmla="*/ 7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8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20 w 20"/>
                    <a:gd name="T1" fmla="*/ 0 w 20"/>
                    <a:gd name="T2" fmla="*/ 10 w 20"/>
                    <a:gd name="T3" fmla="*/ 2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9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7 w 100"/>
                    <a:gd name="T1" fmla="*/ 25 h 65"/>
                    <a:gd name="T2" fmla="*/ 35 w 100"/>
                    <a:gd name="T3" fmla="*/ 40 h 65"/>
                    <a:gd name="T4" fmla="*/ 61 w 100"/>
                    <a:gd name="T5" fmla="*/ 55 h 65"/>
                    <a:gd name="T6" fmla="*/ 72 w 100"/>
                    <a:gd name="T7" fmla="*/ 60 h 65"/>
                    <a:gd name="T8" fmla="*/ 83 w 100"/>
                    <a:gd name="T9" fmla="*/ 65 h 65"/>
                    <a:gd name="T10" fmla="*/ 87 w 100"/>
                    <a:gd name="T11" fmla="*/ 65 h 65"/>
                    <a:gd name="T12" fmla="*/ 91 w 100"/>
                    <a:gd name="T13" fmla="*/ 65 h 65"/>
                    <a:gd name="T14" fmla="*/ 96 w 100"/>
                    <a:gd name="T15" fmla="*/ 65 h 65"/>
                    <a:gd name="T16" fmla="*/ 100 w 100"/>
                    <a:gd name="T17" fmla="*/ 62 h 65"/>
                    <a:gd name="T18" fmla="*/ 94 w 100"/>
                    <a:gd name="T19" fmla="*/ 60 h 65"/>
                    <a:gd name="T20" fmla="*/ 88 w 100"/>
                    <a:gd name="T21" fmla="*/ 56 h 65"/>
                    <a:gd name="T22" fmla="*/ 83 w 100"/>
                    <a:gd name="T23" fmla="*/ 52 h 65"/>
                    <a:gd name="T24" fmla="*/ 78 w 100"/>
                    <a:gd name="T25" fmla="*/ 46 h 65"/>
                    <a:gd name="T26" fmla="*/ 67 w 100"/>
                    <a:gd name="T27" fmla="*/ 34 h 65"/>
                    <a:gd name="T28" fmla="*/ 57 w 100"/>
                    <a:gd name="T29" fmla="*/ 21 h 65"/>
                    <a:gd name="T30" fmla="*/ 52 w 100"/>
                    <a:gd name="T31" fmla="*/ 15 h 65"/>
                    <a:gd name="T32" fmla="*/ 46 w 100"/>
                    <a:gd name="T33" fmla="*/ 10 h 65"/>
                    <a:gd name="T34" fmla="*/ 40 w 100"/>
                    <a:gd name="T35" fmla="*/ 4 h 65"/>
                    <a:gd name="T36" fmla="*/ 33 w 100"/>
                    <a:gd name="T37" fmla="*/ 1 h 65"/>
                    <a:gd name="T38" fmla="*/ 27 w 100"/>
                    <a:gd name="T39" fmla="*/ 0 h 65"/>
                    <a:gd name="T40" fmla="*/ 18 w 100"/>
                    <a:gd name="T41" fmla="*/ 0 h 65"/>
                    <a:gd name="T42" fmla="*/ 10 w 100"/>
                    <a:gd name="T43" fmla="*/ 2 h 65"/>
                    <a:gd name="T44" fmla="*/ 0 w 100"/>
                    <a:gd name="T45" fmla="*/ 6 h 65"/>
                    <a:gd name="T46" fmla="*/ 7 w 100"/>
                    <a:gd name="T47" fmla="*/ 2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80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72 w 79"/>
                    <a:gd name="T1" fmla="*/ 85 h 104"/>
                    <a:gd name="T2" fmla="*/ 56 w 79"/>
                    <a:gd name="T3" fmla="*/ 61 h 104"/>
                    <a:gd name="T4" fmla="*/ 43 w 79"/>
                    <a:gd name="T5" fmla="*/ 41 h 104"/>
                    <a:gd name="T6" fmla="*/ 29 w 79"/>
                    <a:gd name="T7" fmla="*/ 20 h 104"/>
                    <a:gd name="T8" fmla="*/ 12 w 79"/>
                    <a:gd name="T9" fmla="*/ 0 h 104"/>
                    <a:gd name="T10" fmla="*/ 6 w 79"/>
                    <a:gd name="T11" fmla="*/ 16 h 104"/>
                    <a:gd name="T12" fmla="*/ 2 w 79"/>
                    <a:gd name="T13" fmla="*/ 33 h 104"/>
                    <a:gd name="T14" fmla="*/ 0 w 79"/>
                    <a:gd name="T15" fmla="*/ 40 h 104"/>
                    <a:gd name="T16" fmla="*/ 0 w 79"/>
                    <a:gd name="T17" fmla="*/ 48 h 104"/>
                    <a:gd name="T18" fmla="*/ 0 w 79"/>
                    <a:gd name="T19" fmla="*/ 55 h 104"/>
                    <a:gd name="T20" fmla="*/ 0 w 79"/>
                    <a:gd name="T21" fmla="*/ 62 h 104"/>
                    <a:gd name="T22" fmla="*/ 1 w 79"/>
                    <a:gd name="T23" fmla="*/ 68 h 104"/>
                    <a:gd name="T24" fmla="*/ 3 w 79"/>
                    <a:gd name="T25" fmla="*/ 74 h 104"/>
                    <a:gd name="T26" fmla="*/ 6 w 79"/>
                    <a:gd name="T27" fmla="*/ 79 h 104"/>
                    <a:gd name="T28" fmla="*/ 10 w 79"/>
                    <a:gd name="T29" fmla="*/ 83 h 104"/>
                    <a:gd name="T30" fmla="*/ 14 w 79"/>
                    <a:gd name="T31" fmla="*/ 88 h 104"/>
                    <a:gd name="T32" fmla="*/ 20 w 79"/>
                    <a:gd name="T33" fmla="*/ 90 h 104"/>
                    <a:gd name="T34" fmla="*/ 25 w 79"/>
                    <a:gd name="T35" fmla="*/ 92 h 104"/>
                    <a:gd name="T36" fmla="*/ 33 w 79"/>
                    <a:gd name="T37" fmla="*/ 92 h 104"/>
                    <a:gd name="T38" fmla="*/ 43 w 79"/>
                    <a:gd name="T39" fmla="*/ 93 h 104"/>
                    <a:gd name="T40" fmla="*/ 54 w 79"/>
                    <a:gd name="T41" fmla="*/ 96 h 104"/>
                    <a:gd name="T42" fmla="*/ 65 w 79"/>
                    <a:gd name="T43" fmla="*/ 100 h 104"/>
                    <a:gd name="T44" fmla="*/ 79 w 79"/>
                    <a:gd name="T45" fmla="*/ 104 h 104"/>
                    <a:gd name="T46" fmla="*/ 72 w 79"/>
                    <a:gd name="T47" fmla="*/ 8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1" name="Freeform 159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755789" y="3859979"/>
                <a:ext cx="14781" cy="55575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2" name="Freeform 160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654442" y="3999711"/>
                <a:ext cx="19004" cy="57162"/>
              </a:xfrm>
              <a:custGeom>
                <a:avLst/>
                <a:gdLst>
                  <a:gd name="T0" fmla="*/ 0 w 39"/>
                  <a:gd name="T1" fmla="*/ 0 h 35"/>
                  <a:gd name="T2" fmla="*/ 39 w 39"/>
                  <a:gd name="T3" fmla="*/ 0 h 35"/>
                  <a:gd name="T4" fmla="*/ 36 w 39"/>
                  <a:gd name="T5" fmla="*/ 9 h 35"/>
                  <a:gd name="T6" fmla="*/ 33 w 39"/>
                  <a:gd name="T7" fmla="*/ 19 h 35"/>
                  <a:gd name="T8" fmla="*/ 27 w 39"/>
                  <a:gd name="T9" fmla="*/ 28 h 35"/>
                  <a:gd name="T10" fmla="*/ 22 w 39"/>
                  <a:gd name="T11" fmla="*/ 34 h 35"/>
                  <a:gd name="T12" fmla="*/ 19 w 39"/>
                  <a:gd name="T13" fmla="*/ 35 h 35"/>
                  <a:gd name="T14" fmla="*/ 16 w 39"/>
                  <a:gd name="T15" fmla="*/ 35 h 35"/>
                  <a:gd name="T16" fmla="*/ 13 w 39"/>
                  <a:gd name="T17" fmla="*/ 34 h 35"/>
                  <a:gd name="T18" fmla="*/ 11 w 39"/>
                  <a:gd name="T19" fmla="*/ 31 h 35"/>
                  <a:gd name="T20" fmla="*/ 7 w 39"/>
                  <a:gd name="T21" fmla="*/ 26 h 35"/>
                  <a:gd name="T22" fmla="*/ 5 w 39"/>
                  <a:gd name="T23" fmla="*/ 20 h 35"/>
                  <a:gd name="T24" fmla="*/ 2 w 39"/>
                  <a:gd name="T25" fmla="*/ 11 h 35"/>
                  <a:gd name="T26" fmla="*/ 0 w 39"/>
                  <a:gd name="T2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3" name="Freeform 161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8046694" y="2326100"/>
                <a:ext cx="969146" cy="331864"/>
              </a:xfrm>
              <a:custGeom>
                <a:avLst/>
                <a:gdLst>
                  <a:gd name="T0" fmla="*/ 32 w 1688"/>
                  <a:gd name="T1" fmla="*/ 216 h 630"/>
                  <a:gd name="T2" fmla="*/ 86 w 1688"/>
                  <a:gd name="T3" fmla="*/ 249 h 630"/>
                  <a:gd name="T4" fmla="*/ 155 w 1688"/>
                  <a:gd name="T5" fmla="*/ 264 h 630"/>
                  <a:gd name="T6" fmla="*/ 191 w 1688"/>
                  <a:gd name="T7" fmla="*/ 281 h 630"/>
                  <a:gd name="T8" fmla="*/ 238 w 1688"/>
                  <a:gd name="T9" fmla="*/ 331 h 630"/>
                  <a:gd name="T10" fmla="*/ 253 w 1688"/>
                  <a:gd name="T11" fmla="*/ 349 h 630"/>
                  <a:gd name="T12" fmla="*/ 254 w 1688"/>
                  <a:gd name="T13" fmla="*/ 386 h 630"/>
                  <a:gd name="T14" fmla="*/ 273 w 1688"/>
                  <a:gd name="T15" fmla="*/ 408 h 630"/>
                  <a:gd name="T16" fmla="*/ 341 w 1688"/>
                  <a:gd name="T17" fmla="*/ 416 h 630"/>
                  <a:gd name="T18" fmla="*/ 463 w 1688"/>
                  <a:gd name="T19" fmla="*/ 452 h 630"/>
                  <a:gd name="T20" fmla="*/ 546 w 1688"/>
                  <a:gd name="T21" fmla="*/ 469 h 630"/>
                  <a:gd name="T22" fmla="*/ 575 w 1688"/>
                  <a:gd name="T23" fmla="*/ 510 h 630"/>
                  <a:gd name="T24" fmla="*/ 622 w 1688"/>
                  <a:gd name="T25" fmla="*/ 542 h 630"/>
                  <a:gd name="T26" fmla="*/ 670 w 1688"/>
                  <a:gd name="T27" fmla="*/ 555 h 630"/>
                  <a:gd name="T28" fmla="*/ 917 w 1688"/>
                  <a:gd name="T29" fmla="*/ 576 h 630"/>
                  <a:gd name="T30" fmla="*/ 1037 w 1688"/>
                  <a:gd name="T31" fmla="*/ 614 h 630"/>
                  <a:gd name="T32" fmla="*/ 1117 w 1688"/>
                  <a:gd name="T33" fmla="*/ 630 h 630"/>
                  <a:gd name="T34" fmla="*/ 1157 w 1688"/>
                  <a:gd name="T35" fmla="*/ 613 h 630"/>
                  <a:gd name="T36" fmla="*/ 1344 w 1688"/>
                  <a:gd name="T37" fmla="*/ 564 h 630"/>
                  <a:gd name="T38" fmla="*/ 1395 w 1688"/>
                  <a:gd name="T39" fmla="*/ 510 h 630"/>
                  <a:gd name="T40" fmla="*/ 1403 w 1688"/>
                  <a:gd name="T41" fmla="*/ 483 h 630"/>
                  <a:gd name="T42" fmla="*/ 1386 w 1688"/>
                  <a:gd name="T43" fmla="*/ 455 h 630"/>
                  <a:gd name="T44" fmla="*/ 1370 w 1688"/>
                  <a:gd name="T45" fmla="*/ 415 h 630"/>
                  <a:gd name="T46" fmla="*/ 1499 w 1688"/>
                  <a:gd name="T47" fmla="*/ 394 h 630"/>
                  <a:gd name="T48" fmla="*/ 1594 w 1688"/>
                  <a:gd name="T49" fmla="*/ 343 h 630"/>
                  <a:gd name="T50" fmla="*/ 1651 w 1688"/>
                  <a:gd name="T51" fmla="*/ 325 h 630"/>
                  <a:gd name="T52" fmla="*/ 1688 w 1688"/>
                  <a:gd name="T53" fmla="*/ 297 h 630"/>
                  <a:gd name="T54" fmla="*/ 1656 w 1688"/>
                  <a:gd name="T55" fmla="*/ 279 h 630"/>
                  <a:gd name="T56" fmla="*/ 1619 w 1688"/>
                  <a:gd name="T57" fmla="*/ 252 h 630"/>
                  <a:gd name="T58" fmla="*/ 1583 w 1688"/>
                  <a:gd name="T59" fmla="*/ 248 h 630"/>
                  <a:gd name="T60" fmla="*/ 1553 w 1688"/>
                  <a:gd name="T61" fmla="*/ 258 h 630"/>
                  <a:gd name="T62" fmla="*/ 1497 w 1688"/>
                  <a:gd name="T63" fmla="*/ 256 h 630"/>
                  <a:gd name="T64" fmla="*/ 1457 w 1688"/>
                  <a:gd name="T65" fmla="*/ 235 h 630"/>
                  <a:gd name="T66" fmla="*/ 1434 w 1688"/>
                  <a:gd name="T67" fmla="*/ 187 h 630"/>
                  <a:gd name="T68" fmla="*/ 1367 w 1688"/>
                  <a:gd name="T69" fmla="*/ 124 h 630"/>
                  <a:gd name="T70" fmla="*/ 1286 w 1688"/>
                  <a:gd name="T71" fmla="*/ 120 h 630"/>
                  <a:gd name="T72" fmla="*/ 1260 w 1688"/>
                  <a:gd name="T73" fmla="*/ 147 h 630"/>
                  <a:gd name="T74" fmla="*/ 1236 w 1688"/>
                  <a:gd name="T75" fmla="*/ 165 h 630"/>
                  <a:gd name="T76" fmla="*/ 1168 w 1688"/>
                  <a:gd name="T77" fmla="*/ 167 h 630"/>
                  <a:gd name="T78" fmla="*/ 1044 w 1688"/>
                  <a:gd name="T79" fmla="*/ 167 h 630"/>
                  <a:gd name="T80" fmla="*/ 986 w 1688"/>
                  <a:gd name="T81" fmla="*/ 140 h 630"/>
                  <a:gd name="T82" fmla="*/ 922 w 1688"/>
                  <a:gd name="T83" fmla="*/ 108 h 630"/>
                  <a:gd name="T84" fmla="*/ 852 w 1688"/>
                  <a:gd name="T85" fmla="*/ 100 h 630"/>
                  <a:gd name="T86" fmla="*/ 801 w 1688"/>
                  <a:gd name="T87" fmla="*/ 114 h 630"/>
                  <a:gd name="T88" fmla="*/ 740 w 1688"/>
                  <a:gd name="T89" fmla="*/ 116 h 630"/>
                  <a:gd name="T90" fmla="*/ 692 w 1688"/>
                  <a:gd name="T91" fmla="*/ 101 h 630"/>
                  <a:gd name="T92" fmla="*/ 662 w 1688"/>
                  <a:gd name="T93" fmla="*/ 68 h 630"/>
                  <a:gd name="T94" fmla="*/ 446 w 1688"/>
                  <a:gd name="T95" fmla="*/ 7 h 630"/>
                  <a:gd name="T96" fmla="*/ 446 w 1688"/>
                  <a:gd name="T97" fmla="*/ 44 h 630"/>
                  <a:gd name="T98" fmla="*/ 471 w 1688"/>
                  <a:gd name="T99" fmla="*/ 79 h 630"/>
                  <a:gd name="T100" fmla="*/ 490 w 1688"/>
                  <a:gd name="T101" fmla="*/ 106 h 630"/>
                  <a:gd name="T102" fmla="*/ 307 w 1688"/>
                  <a:gd name="T103" fmla="*/ 122 h 630"/>
                  <a:gd name="T104" fmla="*/ 294 w 1688"/>
                  <a:gd name="T105" fmla="*/ 87 h 630"/>
                  <a:gd name="T106" fmla="*/ 225 w 1688"/>
                  <a:gd name="T107" fmla="*/ 97 h 630"/>
                  <a:gd name="T108" fmla="*/ 185 w 1688"/>
                  <a:gd name="T109" fmla="*/ 88 h 630"/>
                  <a:gd name="T110" fmla="*/ 138 w 1688"/>
                  <a:gd name="T111" fmla="*/ 97 h 630"/>
                  <a:gd name="T112" fmla="*/ 68 w 1688"/>
                  <a:gd name="T113" fmla="*/ 143 h 630"/>
                  <a:gd name="T114" fmla="*/ 31 w 1688"/>
                  <a:gd name="T115" fmla="*/ 151 h 630"/>
                  <a:gd name="T116" fmla="*/ 4 w 1688"/>
                  <a:gd name="T117" fmla="*/ 169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4" name="Freeform 162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302264" y="4293465"/>
                <a:ext cx="437065" cy="416021"/>
              </a:xfrm>
              <a:custGeom>
                <a:avLst/>
                <a:gdLst>
                  <a:gd name="T0" fmla="*/ 26 w 758"/>
                  <a:gd name="T1" fmla="*/ 80 h 795"/>
                  <a:gd name="T2" fmla="*/ 49 w 758"/>
                  <a:gd name="T3" fmla="*/ 88 h 795"/>
                  <a:gd name="T4" fmla="*/ 72 w 758"/>
                  <a:gd name="T5" fmla="*/ 108 h 795"/>
                  <a:gd name="T6" fmla="*/ 88 w 758"/>
                  <a:gd name="T7" fmla="*/ 134 h 795"/>
                  <a:gd name="T8" fmla="*/ 93 w 758"/>
                  <a:gd name="T9" fmla="*/ 169 h 795"/>
                  <a:gd name="T10" fmla="*/ 84 w 758"/>
                  <a:gd name="T11" fmla="*/ 186 h 795"/>
                  <a:gd name="T12" fmla="*/ 81 w 758"/>
                  <a:gd name="T13" fmla="*/ 205 h 795"/>
                  <a:gd name="T14" fmla="*/ 88 w 758"/>
                  <a:gd name="T15" fmla="*/ 240 h 795"/>
                  <a:gd name="T16" fmla="*/ 95 w 758"/>
                  <a:gd name="T17" fmla="*/ 278 h 795"/>
                  <a:gd name="T18" fmla="*/ 83 w 758"/>
                  <a:gd name="T19" fmla="*/ 308 h 795"/>
                  <a:gd name="T20" fmla="*/ 81 w 758"/>
                  <a:gd name="T21" fmla="*/ 352 h 795"/>
                  <a:gd name="T22" fmla="*/ 93 w 758"/>
                  <a:gd name="T23" fmla="*/ 390 h 795"/>
                  <a:gd name="T24" fmla="*/ 99 w 758"/>
                  <a:gd name="T25" fmla="*/ 415 h 795"/>
                  <a:gd name="T26" fmla="*/ 78 w 758"/>
                  <a:gd name="T27" fmla="*/ 457 h 795"/>
                  <a:gd name="T28" fmla="*/ 113 w 758"/>
                  <a:gd name="T29" fmla="*/ 529 h 795"/>
                  <a:gd name="T30" fmla="*/ 138 w 758"/>
                  <a:gd name="T31" fmla="*/ 577 h 795"/>
                  <a:gd name="T32" fmla="*/ 146 w 758"/>
                  <a:gd name="T33" fmla="*/ 622 h 795"/>
                  <a:gd name="T34" fmla="*/ 152 w 758"/>
                  <a:gd name="T35" fmla="*/ 659 h 795"/>
                  <a:gd name="T36" fmla="*/ 187 w 758"/>
                  <a:gd name="T37" fmla="*/ 738 h 795"/>
                  <a:gd name="T38" fmla="*/ 214 w 758"/>
                  <a:gd name="T39" fmla="*/ 782 h 795"/>
                  <a:gd name="T40" fmla="*/ 230 w 758"/>
                  <a:gd name="T41" fmla="*/ 794 h 795"/>
                  <a:gd name="T42" fmla="*/ 251 w 758"/>
                  <a:gd name="T43" fmla="*/ 790 h 795"/>
                  <a:gd name="T44" fmla="*/ 289 w 758"/>
                  <a:gd name="T45" fmla="*/ 761 h 795"/>
                  <a:gd name="T46" fmla="*/ 324 w 758"/>
                  <a:gd name="T47" fmla="*/ 746 h 795"/>
                  <a:gd name="T48" fmla="*/ 355 w 758"/>
                  <a:gd name="T49" fmla="*/ 748 h 795"/>
                  <a:gd name="T50" fmla="*/ 388 w 758"/>
                  <a:gd name="T51" fmla="*/ 770 h 795"/>
                  <a:gd name="T52" fmla="*/ 418 w 758"/>
                  <a:gd name="T53" fmla="*/ 780 h 795"/>
                  <a:gd name="T54" fmla="*/ 437 w 758"/>
                  <a:gd name="T55" fmla="*/ 758 h 795"/>
                  <a:gd name="T56" fmla="*/ 478 w 758"/>
                  <a:gd name="T57" fmla="*/ 745 h 795"/>
                  <a:gd name="T58" fmla="*/ 525 w 758"/>
                  <a:gd name="T59" fmla="*/ 622 h 795"/>
                  <a:gd name="T60" fmla="*/ 539 w 758"/>
                  <a:gd name="T61" fmla="*/ 600 h 795"/>
                  <a:gd name="T62" fmla="*/ 575 w 758"/>
                  <a:gd name="T63" fmla="*/ 584 h 795"/>
                  <a:gd name="T64" fmla="*/ 665 w 758"/>
                  <a:gd name="T65" fmla="*/ 573 h 795"/>
                  <a:gd name="T66" fmla="*/ 687 w 758"/>
                  <a:gd name="T67" fmla="*/ 579 h 795"/>
                  <a:gd name="T68" fmla="*/ 704 w 758"/>
                  <a:gd name="T69" fmla="*/ 585 h 795"/>
                  <a:gd name="T70" fmla="*/ 744 w 758"/>
                  <a:gd name="T71" fmla="*/ 573 h 795"/>
                  <a:gd name="T72" fmla="*/ 757 w 758"/>
                  <a:gd name="T73" fmla="*/ 541 h 795"/>
                  <a:gd name="T74" fmla="*/ 752 w 758"/>
                  <a:gd name="T75" fmla="*/ 499 h 795"/>
                  <a:gd name="T76" fmla="*/ 726 w 758"/>
                  <a:gd name="T77" fmla="*/ 462 h 795"/>
                  <a:gd name="T78" fmla="*/ 710 w 758"/>
                  <a:gd name="T79" fmla="*/ 435 h 795"/>
                  <a:gd name="T80" fmla="*/ 671 w 758"/>
                  <a:gd name="T81" fmla="*/ 401 h 795"/>
                  <a:gd name="T82" fmla="*/ 633 w 758"/>
                  <a:gd name="T83" fmla="*/ 399 h 795"/>
                  <a:gd name="T84" fmla="*/ 605 w 758"/>
                  <a:gd name="T85" fmla="*/ 378 h 795"/>
                  <a:gd name="T86" fmla="*/ 590 w 758"/>
                  <a:gd name="T87" fmla="*/ 349 h 795"/>
                  <a:gd name="T88" fmla="*/ 585 w 758"/>
                  <a:gd name="T89" fmla="*/ 311 h 795"/>
                  <a:gd name="T90" fmla="*/ 583 w 758"/>
                  <a:gd name="T91" fmla="*/ 269 h 795"/>
                  <a:gd name="T92" fmla="*/ 560 w 758"/>
                  <a:gd name="T93" fmla="*/ 242 h 795"/>
                  <a:gd name="T94" fmla="*/ 503 w 758"/>
                  <a:gd name="T95" fmla="*/ 205 h 795"/>
                  <a:gd name="T96" fmla="*/ 440 w 758"/>
                  <a:gd name="T97" fmla="*/ 178 h 795"/>
                  <a:gd name="T98" fmla="*/ 392 w 758"/>
                  <a:gd name="T99" fmla="*/ 167 h 795"/>
                  <a:gd name="T100" fmla="*/ 359 w 758"/>
                  <a:gd name="T101" fmla="*/ 161 h 795"/>
                  <a:gd name="T102" fmla="*/ 330 w 758"/>
                  <a:gd name="T103" fmla="*/ 145 h 795"/>
                  <a:gd name="T104" fmla="*/ 307 w 758"/>
                  <a:gd name="T105" fmla="*/ 122 h 795"/>
                  <a:gd name="T106" fmla="*/ 292 w 758"/>
                  <a:gd name="T107" fmla="*/ 92 h 795"/>
                  <a:gd name="T108" fmla="*/ 279 w 758"/>
                  <a:gd name="T109" fmla="*/ 19 h 795"/>
                  <a:gd name="T110" fmla="*/ 261 w 758"/>
                  <a:gd name="T111" fmla="*/ 3 h 795"/>
                  <a:gd name="T112" fmla="*/ 227 w 758"/>
                  <a:gd name="T113" fmla="*/ 3 h 795"/>
                  <a:gd name="T114" fmla="*/ 173 w 758"/>
                  <a:gd name="T115" fmla="*/ 30 h 795"/>
                  <a:gd name="T116" fmla="*/ 119 w 758"/>
                  <a:gd name="T117" fmla="*/ 66 h 795"/>
                  <a:gd name="T118" fmla="*/ 0 w 758"/>
                  <a:gd name="T119" fmla="*/ 8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5" name="Freeform 163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587308" y="3723422"/>
                <a:ext cx="158358" cy="215950"/>
              </a:xfrm>
              <a:custGeom>
                <a:avLst/>
                <a:gdLst>
                  <a:gd name="T0" fmla="*/ 225 w 273"/>
                  <a:gd name="T1" fmla="*/ 140 h 414"/>
                  <a:gd name="T2" fmla="*/ 213 w 273"/>
                  <a:gd name="T3" fmla="*/ 133 h 414"/>
                  <a:gd name="T4" fmla="*/ 201 w 273"/>
                  <a:gd name="T5" fmla="*/ 121 h 414"/>
                  <a:gd name="T6" fmla="*/ 190 w 273"/>
                  <a:gd name="T7" fmla="*/ 105 h 414"/>
                  <a:gd name="T8" fmla="*/ 183 w 273"/>
                  <a:gd name="T9" fmla="*/ 96 h 414"/>
                  <a:gd name="T10" fmla="*/ 176 w 273"/>
                  <a:gd name="T11" fmla="*/ 93 h 414"/>
                  <a:gd name="T12" fmla="*/ 167 w 273"/>
                  <a:gd name="T13" fmla="*/ 94 h 414"/>
                  <a:gd name="T14" fmla="*/ 161 w 273"/>
                  <a:gd name="T15" fmla="*/ 101 h 414"/>
                  <a:gd name="T16" fmla="*/ 153 w 273"/>
                  <a:gd name="T17" fmla="*/ 86 h 414"/>
                  <a:gd name="T18" fmla="*/ 142 w 273"/>
                  <a:gd name="T19" fmla="*/ 54 h 414"/>
                  <a:gd name="T20" fmla="*/ 132 w 273"/>
                  <a:gd name="T21" fmla="*/ 36 h 414"/>
                  <a:gd name="T22" fmla="*/ 123 w 273"/>
                  <a:gd name="T23" fmla="*/ 25 h 414"/>
                  <a:gd name="T24" fmla="*/ 111 w 273"/>
                  <a:gd name="T25" fmla="*/ 14 h 414"/>
                  <a:gd name="T26" fmla="*/ 96 w 273"/>
                  <a:gd name="T27" fmla="*/ 5 h 414"/>
                  <a:gd name="T28" fmla="*/ 80 w 273"/>
                  <a:gd name="T29" fmla="*/ 7 h 414"/>
                  <a:gd name="T30" fmla="*/ 69 w 273"/>
                  <a:gd name="T31" fmla="*/ 19 h 414"/>
                  <a:gd name="T32" fmla="*/ 63 w 273"/>
                  <a:gd name="T33" fmla="*/ 25 h 414"/>
                  <a:gd name="T34" fmla="*/ 57 w 273"/>
                  <a:gd name="T35" fmla="*/ 32 h 414"/>
                  <a:gd name="T36" fmla="*/ 56 w 273"/>
                  <a:gd name="T37" fmla="*/ 42 h 414"/>
                  <a:gd name="T38" fmla="*/ 58 w 273"/>
                  <a:gd name="T39" fmla="*/ 59 h 414"/>
                  <a:gd name="T40" fmla="*/ 52 w 273"/>
                  <a:gd name="T41" fmla="*/ 78 h 414"/>
                  <a:gd name="T42" fmla="*/ 33 w 273"/>
                  <a:gd name="T43" fmla="*/ 90 h 414"/>
                  <a:gd name="T44" fmla="*/ 17 w 273"/>
                  <a:gd name="T45" fmla="*/ 104 h 414"/>
                  <a:gd name="T46" fmla="*/ 4 w 273"/>
                  <a:gd name="T47" fmla="*/ 118 h 414"/>
                  <a:gd name="T48" fmla="*/ 40 w 273"/>
                  <a:gd name="T49" fmla="*/ 198 h 414"/>
                  <a:gd name="T50" fmla="*/ 73 w 273"/>
                  <a:gd name="T51" fmla="*/ 205 h 414"/>
                  <a:gd name="T52" fmla="*/ 84 w 273"/>
                  <a:gd name="T53" fmla="*/ 210 h 414"/>
                  <a:gd name="T54" fmla="*/ 93 w 273"/>
                  <a:gd name="T55" fmla="*/ 218 h 414"/>
                  <a:gd name="T56" fmla="*/ 99 w 273"/>
                  <a:gd name="T57" fmla="*/ 226 h 414"/>
                  <a:gd name="T58" fmla="*/ 103 w 273"/>
                  <a:gd name="T59" fmla="*/ 237 h 414"/>
                  <a:gd name="T60" fmla="*/ 106 w 273"/>
                  <a:gd name="T61" fmla="*/ 265 h 414"/>
                  <a:gd name="T62" fmla="*/ 103 w 273"/>
                  <a:gd name="T63" fmla="*/ 279 h 414"/>
                  <a:gd name="T64" fmla="*/ 96 w 273"/>
                  <a:gd name="T65" fmla="*/ 293 h 414"/>
                  <a:gd name="T66" fmla="*/ 89 w 273"/>
                  <a:gd name="T67" fmla="*/ 307 h 414"/>
                  <a:gd name="T68" fmla="*/ 86 w 273"/>
                  <a:gd name="T69" fmla="*/ 321 h 414"/>
                  <a:gd name="T70" fmla="*/ 91 w 273"/>
                  <a:gd name="T71" fmla="*/ 343 h 414"/>
                  <a:gd name="T72" fmla="*/ 107 w 273"/>
                  <a:gd name="T73" fmla="*/ 374 h 414"/>
                  <a:gd name="T74" fmla="*/ 117 w 273"/>
                  <a:gd name="T75" fmla="*/ 389 h 414"/>
                  <a:gd name="T76" fmla="*/ 129 w 273"/>
                  <a:gd name="T77" fmla="*/ 401 h 414"/>
                  <a:gd name="T78" fmla="*/ 141 w 273"/>
                  <a:gd name="T79" fmla="*/ 411 h 414"/>
                  <a:gd name="T80" fmla="*/ 153 w 273"/>
                  <a:gd name="T81" fmla="*/ 414 h 414"/>
                  <a:gd name="T82" fmla="*/ 215 w 273"/>
                  <a:gd name="T83" fmla="*/ 398 h 414"/>
                  <a:gd name="T84" fmla="*/ 255 w 273"/>
                  <a:gd name="T85" fmla="*/ 385 h 414"/>
                  <a:gd name="T86" fmla="*/ 267 w 273"/>
                  <a:gd name="T87" fmla="*/ 377 h 414"/>
                  <a:gd name="T88" fmla="*/ 273 w 273"/>
                  <a:gd name="T89" fmla="*/ 370 h 414"/>
                  <a:gd name="T90" fmla="*/ 269 w 273"/>
                  <a:gd name="T91" fmla="*/ 352 h 414"/>
                  <a:gd name="T92" fmla="*/ 263 w 273"/>
                  <a:gd name="T93" fmla="*/ 335 h 414"/>
                  <a:gd name="T94" fmla="*/ 242 w 273"/>
                  <a:gd name="T95" fmla="*/ 309 h 414"/>
                  <a:gd name="T96" fmla="*/ 222 w 273"/>
                  <a:gd name="T97" fmla="*/ 282 h 414"/>
                  <a:gd name="T98" fmla="*/ 215 w 273"/>
                  <a:gd name="T99" fmla="*/ 266 h 414"/>
                  <a:gd name="T100" fmla="*/ 212 w 273"/>
                  <a:gd name="T101" fmla="*/ 247 h 414"/>
                  <a:gd name="T102" fmla="*/ 215 w 273"/>
                  <a:gd name="T103" fmla="*/ 215 h 414"/>
                  <a:gd name="T104" fmla="*/ 222 w 273"/>
                  <a:gd name="T105" fmla="*/ 190 h 414"/>
                  <a:gd name="T106" fmla="*/ 230 w 273"/>
                  <a:gd name="T107" fmla="*/ 167 h 414"/>
                  <a:gd name="T108" fmla="*/ 232 w 273"/>
                  <a:gd name="T109" fmla="*/ 14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76" name="Group 164"/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3207249" y="3558284"/>
                <a:ext cx="430732" cy="401729"/>
                <a:chOff x="1486" y="2412"/>
                <a:chExt cx="244" cy="256"/>
              </a:xfrm>
              <a:grpFill/>
            </p:grpSpPr>
            <p:sp>
              <p:nvSpPr>
                <p:cNvPr id="1068" name="Freeform 165"/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18 h 22"/>
                    <a:gd name="T4" fmla="*/ 6 w 54"/>
                    <a:gd name="T5" fmla="*/ 20 h 22"/>
                    <a:gd name="T6" fmla="*/ 10 w 54"/>
                    <a:gd name="T7" fmla="*/ 21 h 22"/>
                    <a:gd name="T8" fmla="*/ 14 w 54"/>
                    <a:gd name="T9" fmla="*/ 22 h 22"/>
                    <a:gd name="T10" fmla="*/ 20 w 54"/>
                    <a:gd name="T11" fmla="*/ 22 h 22"/>
                    <a:gd name="T12" fmla="*/ 23 w 54"/>
                    <a:gd name="T13" fmla="*/ 22 h 22"/>
                    <a:gd name="T14" fmla="*/ 27 w 54"/>
                    <a:gd name="T15" fmla="*/ 21 h 22"/>
                    <a:gd name="T16" fmla="*/ 31 w 54"/>
                    <a:gd name="T17" fmla="*/ 20 h 22"/>
                    <a:gd name="T18" fmla="*/ 33 w 54"/>
                    <a:gd name="T19" fmla="*/ 18 h 22"/>
                    <a:gd name="T20" fmla="*/ 35 w 54"/>
                    <a:gd name="T21" fmla="*/ 16 h 22"/>
                    <a:gd name="T22" fmla="*/ 41 w 54"/>
                    <a:gd name="T23" fmla="*/ 12 h 22"/>
                    <a:gd name="T24" fmla="*/ 47 w 54"/>
                    <a:gd name="T25" fmla="*/ 8 h 22"/>
                    <a:gd name="T26" fmla="*/ 54 w 54"/>
                    <a:gd name="T27" fmla="*/ 6 h 22"/>
                    <a:gd name="T28" fmla="*/ 36 w 54"/>
                    <a:gd name="T29" fmla="*/ 5 h 22"/>
                    <a:gd name="T30" fmla="*/ 20 w 54"/>
                    <a:gd name="T31" fmla="*/ 3 h 22"/>
                    <a:gd name="T32" fmla="*/ 6 w 54"/>
                    <a:gd name="T33" fmla="*/ 1 h 22"/>
                    <a:gd name="T34" fmla="*/ 0 w 54"/>
                    <a:gd name="T35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9" name="Freeform 166"/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6 w 6"/>
                    <a:gd name="T1" fmla="*/ 24 h 24"/>
                    <a:gd name="T2" fmla="*/ 6 w 6"/>
                    <a:gd name="T3" fmla="*/ 0 h 24"/>
                    <a:gd name="T4" fmla="*/ 4 w 6"/>
                    <a:gd name="T5" fmla="*/ 1 h 24"/>
                    <a:gd name="T6" fmla="*/ 1 w 6"/>
                    <a:gd name="T7" fmla="*/ 3 h 24"/>
                    <a:gd name="T8" fmla="*/ 0 w 6"/>
                    <a:gd name="T9" fmla="*/ 7 h 24"/>
                    <a:gd name="T10" fmla="*/ 0 w 6"/>
                    <a:gd name="T11" fmla="*/ 12 h 24"/>
                    <a:gd name="T12" fmla="*/ 0 w 6"/>
                    <a:gd name="T13" fmla="*/ 16 h 24"/>
                    <a:gd name="T14" fmla="*/ 1 w 6"/>
                    <a:gd name="T15" fmla="*/ 20 h 24"/>
                    <a:gd name="T16" fmla="*/ 4 w 6"/>
                    <a:gd name="T17" fmla="*/ 23 h 24"/>
                    <a:gd name="T18" fmla="*/ 6 w 6"/>
                    <a:gd name="T19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0" name="Freeform 167"/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12 h 12"/>
                    <a:gd name="T2" fmla="*/ 27 w 27"/>
                    <a:gd name="T3" fmla="*/ 12 h 12"/>
                    <a:gd name="T4" fmla="*/ 14 w 27"/>
                    <a:gd name="T5" fmla="*/ 0 h 12"/>
                    <a:gd name="T6" fmla="*/ 0 w 27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1" name="Freeform 168"/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9 w 743"/>
                    <a:gd name="T1" fmla="*/ 208 h 672"/>
                    <a:gd name="T2" fmla="*/ 50 w 743"/>
                    <a:gd name="T3" fmla="*/ 266 h 672"/>
                    <a:gd name="T4" fmla="*/ 121 w 743"/>
                    <a:gd name="T5" fmla="*/ 294 h 672"/>
                    <a:gd name="T6" fmla="*/ 166 w 743"/>
                    <a:gd name="T7" fmla="*/ 316 h 672"/>
                    <a:gd name="T8" fmla="*/ 198 w 743"/>
                    <a:gd name="T9" fmla="*/ 346 h 672"/>
                    <a:gd name="T10" fmla="*/ 296 w 743"/>
                    <a:gd name="T11" fmla="*/ 379 h 672"/>
                    <a:gd name="T12" fmla="*/ 286 w 743"/>
                    <a:gd name="T13" fmla="*/ 420 h 672"/>
                    <a:gd name="T14" fmla="*/ 311 w 743"/>
                    <a:gd name="T15" fmla="*/ 513 h 672"/>
                    <a:gd name="T16" fmla="*/ 303 w 743"/>
                    <a:gd name="T17" fmla="*/ 535 h 672"/>
                    <a:gd name="T18" fmla="*/ 302 w 743"/>
                    <a:gd name="T19" fmla="*/ 566 h 672"/>
                    <a:gd name="T20" fmla="*/ 328 w 743"/>
                    <a:gd name="T21" fmla="*/ 617 h 672"/>
                    <a:gd name="T22" fmla="*/ 371 w 743"/>
                    <a:gd name="T23" fmla="*/ 659 h 672"/>
                    <a:gd name="T24" fmla="*/ 415 w 743"/>
                    <a:gd name="T25" fmla="*/ 671 h 672"/>
                    <a:gd name="T26" fmla="*/ 465 w 743"/>
                    <a:gd name="T27" fmla="*/ 653 h 672"/>
                    <a:gd name="T28" fmla="*/ 507 w 743"/>
                    <a:gd name="T29" fmla="*/ 619 h 672"/>
                    <a:gd name="T30" fmla="*/ 524 w 743"/>
                    <a:gd name="T31" fmla="*/ 586 h 672"/>
                    <a:gd name="T32" fmla="*/ 477 w 743"/>
                    <a:gd name="T33" fmla="*/ 469 h 672"/>
                    <a:gd name="T34" fmla="*/ 577 w 743"/>
                    <a:gd name="T35" fmla="*/ 500 h 672"/>
                    <a:gd name="T36" fmla="*/ 600 w 743"/>
                    <a:gd name="T37" fmla="*/ 477 h 672"/>
                    <a:gd name="T38" fmla="*/ 652 w 743"/>
                    <a:gd name="T39" fmla="*/ 445 h 672"/>
                    <a:gd name="T40" fmla="*/ 669 w 743"/>
                    <a:gd name="T41" fmla="*/ 441 h 672"/>
                    <a:gd name="T42" fmla="*/ 685 w 743"/>
                    <a:gd name="T43" fmla="*/ 435 h 672"/>
                    <a:gd name="T44" fmla="*/ 666 w 743"/>
                    <a:gd name="T45" fmla="*/ 327 h 672"/>
                    <a:gd name="T46" fmla="*/ 709 w 743"/>
                    <a:gd name="T47" fmla="*/ 294 h 672"/>
                    <a:gd name="T48" fmla="*/ 714 w 743"/>
                    <a:gd name="T49" fmla="*/ 253 h 672"/>
                    <a:gd name="T50" fmla="*/ 726 w 743"/>
                    <a:gd name="T51" fmla="*/ 235 h 672"/>
                    <a:gd name="T52" fmla="*/ 728 w 743"/>
                    <a:gd name="T53" fmla="*/ 213 h 672"/>
                    <a:gd name="T54" fmla="*/ 700 w 743"/>
                    <a:gd name="T55" fmla="*/ 196 h 672"/>
                    <a:gd name="T56" fmla="*/ 686 w 743"/>
                    <a:gd name="T57" fmla="*/ 168 h 672"/>
                    <a:gd name="T58" fmla="*/ 670 w 743"/>
                    <a:gd name="T59" fmla="*/ 145 h 672"/>
                    <a:gd name="T60" fmla="*/ 639 w 743"/>
                    <a:gd name="T61" fmla="*/ 152 h 672"/>
                    <a:gd name="T62" fmla="*/ 630 w 743"/>
                    <a:gd name="T63" fmla="*/ 134 h 672"/>
                    <a:gd name="T64" fmla="*/ 602 w 743"/>
                    <a:gd name="T65" fmla="*/ 115 h 672"/>
                    <a:gd name="T66" fmla="*/ 584 w 743"/>
                    <a:gd name="T67" fmla="*/ 97 h 672"/>
                    <a:gd name="T68" fmla="*/ 536 w 743"/>
                    <a:gd name="T69" fmla="*/ 75 h 672"/>
                    <a:gd name="T70" fmla="*/ 490 w 743"/>
                    <a:gd name="T71" fmla="*/ 87 h 672"/>
                    <a:gd name="T72" fmla="*/ 472 w 743"/>
                    <a:gd name="T73" fmla="*/ 101 h 672"/>
                    <a:gd name="T74" fmla="*/ 434 w 743"/>
                    <a:gd name="T75" fmla="*/ 116 h 672"/>
                    <a:gd name="T76" fmla="*/ 418 w 743"/>
                    <a:gd name="T77" fmla="*/ 104 h 672"/>
                    <a:gd name="T78" fmla="*/ 393 w 743"/>
                    <a:gd name="T79" fmla="*/ 102 h 672"/>
                    <a:gd name="T80" fmla="*/ 359 w 743"/>
                    <a:gd name="T81" fmla="*/ 83 h 672"/>
                    <a:gd name="T82" fmla="*/ 317 w 743"/>
                    <a:gd name="T83" fmla="*/ 85 h 672"/>
                    <a:gd name="T84" fmla="*/ 291 w 743"/>
                    <a:gd name="T85" fmla="*/ 92 h 672"/>
                    <a:gd name="T86" fmla="*/ 252 w 743"/>
                    <a:gd name="T87" fmla="*/ 93 h 672"/>
                    <a:gd name="T88" fmla="*/ 233 w 743"/>
                    <a:gd name="T89" fmla="*/ 52 h 672"/>
                    <a:gd name="T90" fmla="*/ 179 w 743"/>
                    <a:gd name="T91" fmla="*/ 22 h 672"/>
                    <a:gd name="T92" fmla="*/ 148 w 743"/>
                    <a:gd name="T93" fmla="*/ 10 h 672"/>
                    <a:gd name="T94" fmla="*/ 136 w 743"/>
                    <a:gd name="T95" fmla="*/ 46 h 672"/>
                    <a:gd name="T96" fmla="*/ 119 w 743"/>
                    <a:gd name="T97" fmla="*/ 69 h 672"/>
                    <a:gd name="T98" fmla="*/ 119 w 743"/>
                    <a:gd name="T99" fmla="*/ 137 h 672"/>
                    <a:gd name="T100" fmla="*/ 104 w 743"/>
                    <a:gd name="T101" fmla="*/ 194 h 672"/>
                    <a:gd name="T102" fmla="*/ 87 w 743"/>
                    <a:gd name="T103" fmla="*/ 190 h 672"/>
                    <a:gd name="T104" fmla="*/ 70 w 743"/>
                    <a:gd name="T105" fmla="*/ 184 h 672"/>
                    <a:gd name="T106" fmla="*/ 57 w 743"/>
                    <a:gd name="T107" fmla="*/ 169 h 672"/>
                    <a:gd name="T108" fmla="*/ 52 w 743"/>
                    <a:gd name="T109" fmla="*/ 119 h 672"/>
                    <a:gd name="T110" fmla="*/ 73 w 743"/>
                    <a:gd name="T111" fmla="*/ 61 h 672"/>
                    <a:gd name="T112" fmla="*/ 97 w 743"/>
                    <a:gd name="T113" fmla="*/ 15 h 672"/>
                    <a:gd name="T114" fmla="*/ 52 w 743"/>
                    <a:gd name="T115" fmla="*/ 30 h 672"/>
                    <a:gd name="T116" fmla="*/ 16 w 743"/>
                    <a:gd name="T117" fmla="*/ 70 h 672"/>
                    <a:gd name="T118" fmla="*/ 1 w 743"/>
                    <a:gd name="T119" fmla="*/ 120 h 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677" name="Freeform 169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9744285" y="5098515"/>
                <a:ext cx="42229" cy="11115"/>
              </a:xfrm>
              <a:custGeom>
                <a:avLst/>
                <a:gdLst>
                  <a:gd name="T0" fmla="*/ 0 w 79"/>
                  <a:gd name="T1" fmla="*/ 23 h 23"/>
                  <a:gd name="T2" fmla="*/ 22 w 79"/>
                  <a:gd name="T3" fmla="*/ 13 h 23"/>
                  <a:gd name="T4" fmla="*/ 45 w 79"/>
                  <a:gd name="T5" fmla="*/ 4 h 23"/>
                  <a:gd name="T6" fmla="*/ 56 w 79"/>
                  <a:gd name="T7" fmla="*/ 1 h 23"/>
                  <a:gd name="T8" fmla="*/ 65 w 79"/>
                  <a:gd name="T9" fmla="*/ 0 h 23"/>
                  <a:gd name="T10" fmla="*/ 69 w 79"/>
                  <a:gd name="T11" fmla="*/ 0 h 23"/>
                  <a:gd name="T12" fmla="*/ 74 w 79"/>
                  <a:gd name="T13" fmla="*/ 1 h 23"/>
                  <a:gd name="T14" fmla="*/ 77 w 79"/>
                  <a:gd name="T15" fmla="*/ 2 h 23"/>
                  <a:gd name="T16" fmla="*/ 79 w 79"/>
                  <a:gd name="T17" fmla="*/ 4 h 23"/>
                  <a:gd name="T18" fmla="*/ 77 w 79"/>
                  <a:gd name="T19" fmla="*/ 8 h 23"/>
                  <a:gd name="T20" fmla="*/ 75 w 79"/>
                  <a:gd name="T21" fmla="*/ 13 h 23"/>
                  <a:gd name="T22" fmla="*/ 72 w 79"/>
                  <a:gd name="T23" fmla="*/ 16 h 23"/>
                  <a:gd name="T24" fmla="*/ 68 w 79"/>
                  <a:gd name="T25" fmla="*/ 19 h 23"/>
                  <a:gd name="T26" fmla="*/ 64 w 79"/>
                  <a:gd name="T27" fmla="*/ 21 h 23"/>
                  <a:gd name="T28" fmla="*/ 59 w 79"/>
                  <a:gd name="T29" fmla="*/ 22 h 23"/>
                  <a:gd name="T30" fmla="*/ 53 w 79"/>
                  <a:gd name="T31" fmla="*/ 23 h 23"/>
                  <a:gd name="T32" fmla="*/ 46 w 79"/>
                  <a:gd name="T33" fmla="*/ 23 h 23"/>
                  <a:gd name="T34" fmla="*/ 37 w 79"/>
                  <a:gd name="T35" fmla="*/ 23 h 23"/>
                  <a:gd name="T36" fmla="*/ 32 w 79"/>
                  <a:gd name="T37" fmla="*/ 21 h 23"/>
                  <a:gd name="T38" fmla="*/ 26 w 79"/>
                  <a:gd name="T39" fmla="*/ 20 h 23"/>
                  <a:gd name="T40" fmla="*/ 23 w 79"/>
                  <a:gd name="T41" fmla="*/ 19 h 23"/>
                  <a:gd name="T42" fmla="*/ 19 w 79"/>
                  <a:gd name="T43" fmla="*/ 18 h 23"/>
                  <a:gd name="T44" fmla="*/ 14 w 79"/>
                  <a:gd name="T45" fmla="*/ 18 h 23"/>
                  <a:gd name="T46" fmla="*/ 9 w 79"/>
                  <a:gd name="T47" fmla="*/ 20 h 23"/>
                  <a:gd name="T48" fmla="*/ 0 w 79"/>
                  <a:gd name="T4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8" name="Freeform 170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9898417" y="5231895"/>
                <a:ext cx="2112" cy="4763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9" name="Line 171"/>
              <p:cNvSpPr>
                <a:spLocks noChangeShapeType="1"/>
              </p:cNvSpPr>
              <p:nvPr>
                <p:custDataLst>
                  <p:tags r:id="rId91"/>
                </p:custDataLst>
              </p:nvPr>
            </p:nvSpPr>
            <p:spPr bwMode="auto">
              <a:xfrm flipV="1">
                <a:off x="10018770" y="5230307"/>
                <a:ext cx="211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0" name="Freeform 172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0018770" y="5230307"/>
                <a:ext cx="4223" cy="15879"/>
              </a:xfrm>
              <a:custGeom>
                <a:avLst/>
                <a:gdLst>
                  <a:gd name="T0" fmla="*/ 0 w 5"/>
                  <a:gd name="T1" fmla="*/ 0 h 30"/>
                  <a:gd name="T2" fmla="*/ 2 w 5"/>
                  <a:gd name="T3" fmla="*/ 1 h 30"/>
                  <a:gd name="T4" fmla="*/ 4 w 5"/>
                  <a:gd name="T5" fmla="*/ 4 h 30"/>
                  <a:gd name="T6" fmla="*/ 5 w 5"/>
                  <a:gd name="T7" fmla="*/ 8 h 30"/>
                  <a:gd name="T8" fmla="*/ 5 w 5"/>
                  <a:gd name="T9" fmla="*/ 13 h 30"/>
                  <a:gd name="T10" fmla="*/ 5 w 5"/>
                  <a:gd name="T11" fmla="*/ 18 h 30"/>
                  <a:gd name="T12" fmla="*/ 4 w 5"/>
                  <a:gd name="T13" fmla="*/ 23 h 30"/>
                  <a:gd name="T14" fmla="*/ 2 w 5"/>
                  <a:gd name="T15" fmla="*/ 27 h 30"/>
                  <a:gd name="T16" fmla="*/ 0 w 5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1" name="Freeform 173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10415718" y="4699959"/>
                <a:ext cx="29560" cy="28582"/>
              </a:xfrm>
              <a:custGeom>
                <a:avLst/>
                <a:gdLst>
                  <a:gd name="T0" fmla="*/ 0 w 53"/>
                  <a:gd name="T1" fmla="*/ 12 h 55"/>
                  <a:gd name="T2" fmla="*/ 1 w 53"/>
                  <a:gd name="T3" fmla="*/ 17 h 55"/>
                  <a:gd name="T4" fmla="*/ 5 w 53"/>
                  <a:gd name="T5" fmla="*/ 22 h 55"/>
                  <a:gd name="T6" fmla="*/ 9 w 53"/>
                  <a:gd name="T7" fmla="*/ 27 h 55"/>
                  <a:gd name="T8" fmla="*/ 15 w 53"/>
                  <a:gd name="T9" fmla="*/ 33 h 55"/>
                  <a:gd name="T10" fmla="*/ 26 w 53"/>
                  <a:gd name="T11" fmla="*/ 44 h 55"/>
                  <a:gd name="T12" fmla="*/ 33 w 53"/>
                  <a:gd name="T13" fmla="*/ 55 h 55"/>
                  <a:gd name="T14" fmla="*/ 53 w 53"/>
                  <a:gd name="T15" fmla="*/ 55 h 55"/>
                  <a:gd name="T16" fmla="*/ 40 w 53"/>
                  <a:gd name="T17" fmla="*/ 41 h 55"/>
                  <a:gd name="T18" fmla="*/ 28 w 53"/>
                  <a:gd name="T19" fmla="*/ 29 h 55"/>
                  <a:gd name="T20" fmla="*/ 23 w 53"/>
                  <a:gd name="T21" fmla="*/ 23 h 55"/>
                  <a:gd name="T22" fmla="*/ 19 w 53"/>
                  <a:gd name="T23" fmla="*/ 16 h 55"/>
                  <a:gd name="T24" fmla="*/ 16 w 53"/>
                  <a:gd name="T25" fmla="*/ 8 h 55"/>
                  <a:gd name="T26" fmla="*/ 14 w 53"/>
                  <a:gd name="T27" fmla="*/ 0 h 55"/>
                  <a:gd name="T28" fmla="*/ 7 w 53"/>
                  <a:gd name="T29" fmla="*/ 6 h 55"/>
                  <a:gd name="T30" fmla="*/ 0 w 53"/>
                  <a:gd name="T31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2" name="Freeform 174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10424165" y="4626917"/>
                <a:ext cx="35894" cy="39698"/>
              </a:xfrm>
              <a:custGeom>
                <a:avLst/>
                <a:gdLst>
                  <a:gd name="T0" fmla="*/ 0 w 65"/>
                  <a:gd name="T1" fmla="*/ 32 h 75"/>
                  <a:gd name="T2" fmla="*/ 9 w 65"/>
                  <a:gd name="T3" fmla="*/ 43 h 75"/>
                  <a:gd name="T4" fmla="*/ 20 w 65"/>
                  <a:gd name="T5" fmla="*/ 55 h 75"/>
                  <a:gd name="T6" fmla="*/ 26 w 65"/>
                  <a:gd name="T7" fmla="*/ 61 h 75"/>
                  <a:gd name="T8" fmla="*/ 32 w 65"/>
                  <a:gd name="T9" fmla="*/ 67 h 75"/>
                  <a:gd name="T10" fmla="*/ 39 w 65"/>
                  <a:gd name="T11" fmla="*/ 71 h 75"/>
                  <a:gd name="T12" fmla="*/ 46 w 65"/>
                  <a:gd name="T13" fmla="*/ 75 h 75"/>
                  <a:gd name="T14" fmla="*/ 51 w 65"/>
                  <a:gd name="T15" fmla="*/ 61 h 75"/>
                  <a:gd name="T16" fmla="*/ 58 w 65"/>
                  <a:gd name="T17" fmla="*/ 48 h 75"/>
                  <a:gd name="T18" fmla="*/ 61 w 65"/>
                  <a:gd name="T19" fmla="*/ 42 h 75"/>
                  <a:gd name="T20" fmla="*/ 63 w 65"/>
                  <a:gd name="T21" fmla="*/ 36 h 75"/>
                  <a:gd name="T22" fmla="*/ 65 w 65"/>
                  <a:gd name="T23" fmla="*/ 31 h 75"/>
                  <a:gd name="T24" fmla="*/ 65 w 65"/>
                  <a:gd name="T25" fmla="*/ 26 h 75"/>
                  <a:gd name="T26" fmla="*/ 65 w 65"/>
                  <a:gd name="T27" fmla="*/ 21 h 75"/>
                  <a:gd name="T28" fmla="*/ 63 w 65"/>
                  <a:gd name="T29" fmla="*/ 18 h 75"/>
                  <a:gd name="T30" fmla="*/ 61 w 65"/>
                  <a:gd name="T31" fmla="*/ 13 h 75"/>
                  <a:gd name="T32" fmla="*/ 58 w 65"/>
                  <a:gd name="T33" fmla="*/ 10 h 75"/>
                  <a:gd name="T34" fmla="*/ 51 w 65"/>
                  <a:gd name="T35" fmla="*/ 5 h 75"/>
                  <a:gd name="T36" fmla="*/ 46 w 65"/>
                  <a:gd name="T37" fmla="*/ 0 h 75"/>
                  <a:gd name="T38" fmla="*/ 34 w 65"/>
                  <a:gd name="T39" fmla="*/ 0 h 75"/>
                  <a:gd name="T40" fmla="*/ 26 w 65"/>
                  <a:gd name="T41" fmla="*/ 0 h 75"/>
                  <a:gd name="T42" fmla="*/ 25 w 65"/>
                  <a:gd name="T43" fmla="*/ 2 h 75"/>
                  <a:gd name="T44" fmla="*/ 24 w 65"/>
                  <a:gd name="T45" fmla="*/ 7 h 75"/>
                  <a:gd name="T46" fmla="*/ 23 w 65"/>
                  <a:gd name="T47" fmla="*/ 9 h 75"/>
                  <a:gd name="T48" fmla="*/ 23 w 65"/>
                  <a:gd name="T49" fmla="*/ 11 h 75"/>
                  <a:gd name="T50" fmla="*/ 24 w 65"/>
                  <a:gd name="T51" fmla="*/ 12 h 75"/>
                  <a:gd name="T52" fmla="*/ 26 w 65"/>
                  <a:gd name="T53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3" name="Freeform 175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10392492" y="4603100"/>
                <a:ext cx="23226" cy="30169"/>
              </a:xfrm>
              <a:custGeom>
                <a:avLst/>
                <a:gdLst>
                  <a:gd name="T0" fmla="*/ 0 w 40"/>
                  <a:gd name="T1" fmla="*/ 62 h 62"/>
                  <a:gd name="T2" fmla="*/ 3 w 40"/>
                  <a:gd name="T3" fmla="*/ 52 h 62"/>
                  <a:gd name="T4" fmla="*/ 7 w 40"/>
                  <a:gd name="T5" fmla="*/ 43 h 62"/>
                  <a:gd name="T6" fmla="*/ 12 w 40"/>
                  <a:gd name="T7" fmla="*/ 33 h 62"/>
                  <a:gd name="T8" fmla="*/ 17 w 40"/>
                  <a:gd name="T9" fmla="*/ 25 h 62"/>
                  <a:gd name="T10" fmla="*/ 23 w 40"/>
                  <a:gd name="T11" fmla="*/ 17 h 62"/>
                  <a:gd name="T12" fmla="*/ 29 w 40"/>
                  <a:gd name="T13" fmla="*/ 9 h 62"/>
                  <a:gd name="T14" fmla="*/ 35 w 40"/>
                  <a:gd name="T15" fmla="*/ 3 h 62"/>
                  <a:gd name="T16" fmla="*/ 40 w 40"/>
                  <a:gd name="T1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4" name="Freeform 176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10284811" y="4480834"/>
                <a:ext cx="90792" cy="138145"/>
              </a:xfrm>
              <a:custGeom>
                <a:avLst/>
                <a:gdLst>
                  <a:gd name="T0" fmla="*/ 159 w 159"/>
                  <a:gd name="T1" fmla="*/ 259 h 259"/>
                  <a:gd name="T2" fmla="*/ 159 w 159"/>
                  <a:gd name="T3" fmla="*/ 251 h 259"/>
                  <a:gd name="T4" fmla="*/ 159 w 159"/>
                  <a:gd name="T5" fmla="*/ 244 h 259"/>
                  <a:gd name="T6" fmla="*/ 159 w 159"/>
                  <a:gd name="T7" fmla="*/ 236 h 259"/>
                  <a:gd name="T8" fmla="*/ 159 w 159"/>
                  <a:gd name="T9" fmla="*/ 228 h 259"/>
                  <a:gd name="T10" fmla="*/ 159 w 159"/>
                  <a:gd name="T11" fmla="*/ 224 h 259"/>
                  <a:gd name="T12" fmla="*/ 158 w 159"/>
                  <a:gd name="T13" fmla="*/ 219 h 259"/>
                  <a:gd name="T14" fmla="*/ 156 w 159"/>
                  <a:gd name="T15" fmla="*/ 215 h 259"/>
                  <a:gd name="T16" fmla="*/ 153 w 159"/>
                  <a:gd name="T17" fmla="*/ 210 h 259"/>
                  <a:gd name="T18" fmla="*/ 145 w 159"/>
                  <a:gd name="T19" fmla="*/ 202 h 259"/>
                  <a:gd name="T20" fmla="*/ 135 w 159"/>
                  <a:gd name="T21" fmla="*/ 195 h 259"/>
                  <a:gd name="T22" fmla="*/ 124 w 159"/>
                  <a:gd name="T23" fmla="*/ 189 h 259"/>
                  <a:gd name="T24" fmla="*/ 112 w 159"/>
                  <a:gd name="T25" fmla="*/ 184 h 259"/>
                  <a:gd name="T26" fmla="*/ 99 w 159"/>
                  <a:gd name="T27" fmla="*/ 180 h 259"/>
                  <a:gd name="T28" fmla="*/ 87 w 159"/>
                  <a:gd name="T29" fmla="*/ 179 h 259"/>
                  <a:gd name="T30" fmla="*/ 85 w 159"/>
                  <a:gd name="T31" fmla="*/ 178 h 259"/>
                  <a:gd name="T32" fmla="*/ 82 w 159"/>
                  <a:gd name="T33" fmla="*/ 177 h 259"/>
                  <a:gd name="T34" fmla="*/ 81 w 159"/>
                  <a:gd name="T35" fmla="*/ 175 h 259"/>
                  <a:gd name="T36" fmla="*/ 80 w 159"/>
                  <a:gd name="T37" fmla="*/ 173 h 259"/>
                  <a:gd name="T38" fmla="*/ 80 w 159"/>
                  <a:gd name="T39" fmla="*/ 167 h 259"/>
                  <a:gd name="T40" fmla="*/ 81 w 159"/>
                  <a:gd name="T41" fmla="*/ 161 h 259"/>
                  <a:gd name="T42" fmla="*/ 85 w 159"/>
                  <a:gd name="T43" fmla="*/ 148 h 259"/>
                  <a:gd name="T44" fmla="*/ 87 w 159"/>
                  <a:gd name="T45" fmla="*/ 142 h 259"/>
                  <a:gd name="T46" fmla="*/ 73 w 159"/>
                  <a:gd name="T47" fmla="*/ 141 h 259"/>
                  <a:gd name="T48" fmla="*/ 59 w 159"/>
                  <a:gd name="T49" fmla="*/ 139 h 259"/>
                  <a:gd name="T50" fmla="*/ 48 w 159"/>
                  <a:gd name="T51" fmla="*/ 135 h 259"/>
                  <a:gd name="T52" fmla="*/ 40 w 159"/>
                  <a:gd name="T53" fmla="*/ 129 h 259"/>
                  <a:gd name="T54" fmla="*/ 31 w 159"/>
                  <a:gd name="T55" fmla="*/ 121 h 259"/>
                  <a:gd name="T56" fmla="*/ 24 w 159"/>
                  <a:gd name="T57" fmla="*/ 113 h 259"/>
                  <a:gd name="T58" fmla="*/ 18 w 159"/>
                  <a:gd name="T59" fmla="*/ 104 h 259"/>
                  <a:gd name="T60" fmla="*/ 13 w 159"/>
                  <a:gd name="T61" fmla="*/ 94 h 259"/>
                  <a:gd name="T62" fmla="*/ 9 w 159"/>
                  <a:gd name="T63" fmla="*/ 84 h 259"/>
                  <a:gd name="T64" fmla="*/ 7 w 159"/>
                  <a:gd name="T65" fmla="*/ 73 h 259"/>
                  <a:gd name="T66" fmla="*/ 5 w 159"/>
                  <a:gd name="T67" fmla="*/ 60 h 259"/>
                  <a:gd name="T68" fmla="*/ 2 w 159"/>
                  <a:gd name="T69" fmla="*/ 48 h 259"/>
                  <a:gd name="T70" fmla="*/ 0 w 159"/>
                  <a:gd name="T71" fmla="*/ 25 h 259"/>
                  <a:gd name="T72" fmla="*/ 0 w 159"/>
                  <a:gd name="T7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5" name="Line 177"/>
              <p:cNvSpPr>
                <a:spLocks noChangeShapeType="1"/>
              </p:cNvSpPr>
              <p:nvPr>
                <p:custDataLst>
                  <p:tags r:id="rId97"/>
                </p:custDataLst>
              </p:nvPr>
            </p:nvSpPr>
            <p:spPr bwMode="auto">
              <a:xfrm flipH="1" flipV="1">
                <a:off x="10276364" y="4447490"/>
                <a:ext cx="8446" cy="33346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6" name="Freeform 178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10276364" y="4431611"/>
                <a:ext cx="8446" cy="15879"/>
              </a:xfrm>
              <a:custGeom>
                <a:avLst/>
                <a:gdLst>
                  <a:gd name="T0" fmla="*/ 0 w 13"/>
                  <a:gd name="T1" fmla="*/ 25 h 25"/>
                  <a:gd name="T2" fmla="*/ 1 w 13"/>
                  <a:gd name="T3" fmla="*/ 19 h 25"/>
                  <a:gd name="T4" fmla="*/ 4 w 13"/>
                  <a:gd name="T5" fmla="*/ 13 h 25"/>
                  <a:gd name="T6" fmla="*/ 8 w 13"/>
                  <a:gd name="T7" fmla="*/ 6 h 25"/>
                  <a:gd name="T8" fmla="*/ 13 w 13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7" name="Line 179"/>
              <p:cNvSpPr>
                <a:spLocks noChangeShapeType="1"/>
              </p:cNvSpPr>
              <p:nvPr>
                <p:custDataLst>
                  <p:tags r:id="rId99"/>
                </p:custDataLst>
              </p:nvPr>
            </p:nvSpPr>
            <p:spPr bwMode="auto">
              <a:xfrm flipV="1">
                <a:off x="10284811" y="4418908"/>
                <a:ext cx="0" cy="12703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8" name="Freeform 180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10223578" y="4352218"/>
                <a:ext cx="61232" cy="66690"/>
              </a:xfrm>
              <a:custGeom>
                <a:avLst/>
                <a:gdLst>
                  <a:gd name="T0" fmla="*/ 100 w 100"/>
                  <a:gd name="T1" fmla="*/ 123 h 123"/>
                  <a:gd name="T2" fmla="*/ 90 w 100"/>
                  <a:gd name="T3" fmla="*/ 122 h 123"/>
                  <a:gd name="T4" fmla="*/ 76 w 100"/>
                  <a:gd name="T5" fmla="*/ 119 h 123"/>
                  <a:gd name="T6" fmla="*/ 60 w 100"/>
                  <a:gd name="T7" fmla="*/ 114 h 123"/>
                  <a:gd name="T8" fmla="*/ 43 w 100"/>
                  <a:gd name="T9" fmla="*/ 107 h 123"/>
                  <a:gd name="T10" fmla="*/ 34 w 100"/>
                  <a:gd name="T11" fmla="*/ 103 h 123"/>
                  <a:gd name="T12" fmla="*/ 27 w 100"/>
                  <a:gd name="T13" fmla="*/ 99 h 123"/>
                  <a:gd name="T14" fmla="*/ 20 w 100"/>
                  <a:gd name="T15" fmla="*/ 94 h 123"/>
                  <a:gd name="T16" fmla="*/ 13 w 100"/>
                  <a:gd name="T17" fmla="*/ 89 h 123"/>
                  <a:gd name="T18" fmla="*/ 8 w 100"/>
                  <a:gd name="T19" fmla="*/ 84 h 123"/>
                  <a:gd name="T20" fmla="*/ 4 w 100"/>
                  <a:gd name="T21" fmla="*/ 79 h 123"/>
                  <a:gd name="T22" fmla="*/ 1 w 100"/>
                  <a:gd name="T23" fmla="*/ 73 h 123"/>
                  <a:gd name="T24" fmla="*/ 0 w 100"/>
                  <a:gd name="T25" fmla="*/ 68 h 123"/>
                  <a:gd name="T26" fmla="*/ 2 w 100"/>
                  <a:gd name="T27" fmla="*/ 55 h 123"/>
                  <a:gd name="T28" fmla="*/ 7 w 100"/>
                  <a:gd name="T29" fmla="*/ 36 h 123"/>
                  <a:gd name="T30" fmla="*/ 11 w 100"/>
                  <a:gd name="T31" fmla="*/ 17 h 123"/>
                  <a:gd name="T32" fmla="*/ 13 w 100"/>
                  <a:gd name="T3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9" name="Freeform 181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0242582" y="4295055"/>
                <a:ext cx="2110" cy="50812"/>
              </a:xfrm>
              <a:custGeom>
                <a:avLst/>
                <a:gdLst>
                  <a:gd name="T0" fmla="*/ 5 w 5"/>
                  <a:gd name="T1" fmla="*/ 0 h 99"/>
                  <a:gd name="T2" fmla="*/ 4 w 5"/>
                  <a:gd name="T3" fmla="*/ 34 h 99"/>
                  <a:gd name="T4" fmla="*/ 1 w 5"/>
                  <a:gd name="T5" fmla="*/ 59 h 99"/>
                  <a:gd name="T6" fmla="*/ 0 w 5"/>
                  <a:gd name="T7" fmla="*/ 69 h 99"/>
                  <a:gd name="T8" fmla="*/ 0 w 5"/>
                  <a:gd name="T9" fmla="*/ 78 h 99"/>
                  <a:gd name="T10" fmla="*/ 2 w 5"/>
                  <a:gd name="T11" fmla="*/ 87 h 99"/>
                  <a:gd name="T12" fmla="*/ 5 w 5"/>
                  <a:gd name="T1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0" name="Freeform 182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10251028" y="4288703"/>
                <a:ext cx="10556" cy="36520"/>
              </a:xfrm>
              <a:custGeom>
                <a:avLst/>
                <a:gdLst>
                  <a:gd name="T0" fmla="*/ 14 w 14"/>
                  <a:gd name="T1" fmla="*/ 0 h 68"/>
                  <a:gd name="T2" fmla="*/ 8 w 14"/>
                  <a:gd name="T3" fmla="*/ 16 h 68"/>
                  <a:gd name="T4" fmla="*/ 4 w 14"/>
                  <a:gd name="T5" fmla="*/ 33 h 68"/>
                  <a:gd name="T6" fmla="*/ 2 w 14"/>
                  <a:gd name="T7" fmla="*/ 52 h 68"/>
                  <a:gd name="T8" fmla="*/ 0 w 14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1" name="Freeform 183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10272142" y="4269648"/>
                <a:ext cx="2110" cy="22230"/>
              </a:xfrm>
              <a:custGeom>
                <a:avLst/>
                <a:gdLst>
                  <a:gd name="T0" fmla="*/ 0 h 43"/>
                  <a:gd name="T1" fmla="*/ 13 h 43"/>
                  <a:gd name="T2" fmla="*/ 26 h 43"/>
                  <a:gd name="T3" fmla="*/ 37 h 43"/>
                  <a:gd name="T4" fmla="*/ 43 h 4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2" name="Line 184"/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V="1">
                <a:off x="10272142" y="4288703"/>
                <a:ext cx="2110" cy="3175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3" name="Freeform 185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10251028" y="4272824"/>
                <a:ext cx="2110" cy="15879"/>
              </a:xfrm>
              <a:custGeom>
                <a:avLst/>
                <a:gdLst>
                  <a:gd name="T0" fmla="*/ 31 h 31"/>
                  <a:gd name="T1" fmla="*/ 22 h 31"/>
                  <a:gd name="T2" fmla="*/ 15 h 31"/>
                  <a:gd name="T3" fmla="*/ 8 h 31"/>
                  <a:gd name="T4" fmla="*/ 0 h 3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4" name="Freeform 186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9879416" y="5262064"/>
                <a:ext cx="128797" cy="87333"/>
              </a:xfrm>
              <a:custGeom>
                <a:avLst/>
                <a:gdLst>
                  <a:gd name="T0" fmla="*/ 19 w 225"/>
                  <a:gd name="T1" fmla="*/ 158 h 167"/>
                  <a:gd name="T2" fmla="*/ 7 w 225"/>
                  <a:gd name="T3" fmla="*/ 142 h 167"/>
                  <a:gd name="T4" fmla="*/ 0 w 225"/>
                  <a:gd name="T5" fmla="*/ 130 h 167"/>
                  <a:gd name="T6" fmla="*/ 1 w 225"/>
                  <a:gd name="T7" fmla="*/ 108 h 167"/>
                  <a:gd name="T8" fmla="*/ 11 w 225"/>
                  <a:gd name="T9" fmla="*/ 68 h 167"/>
                  <a:gd name="T10" fmla="*/ 24 w 225"/>
                  <a:gd name="T11" fmla="*/ 39 h 167"/>
                  <a:gd name="T12" fmla="*/ 34 w 225"/>
                  <a:gd name="T13" fmla="*/ 21 h 167"/>
                  <a:gd name="T14" fmla="*/ 44 w 225"/>
                  <a:gd name="T15" fmla="*/ 9 h 167"/>
                  <a:gd name="T16" fmla="*/ 54 w 225"/>
                  <a:gd name="T17" fmla="*/ 1 h 167"/>
                  <a:gd name="T18" fmla="*/ 65 w 225"/>
                  <a:gd name="T19" fmla="*/ 1 h 167"/>
                  <a:gd name="T20" fmla="*/ 76 w 225"/>
                  <a:gd name="T21" fmla="*/ 3 h 167"/>
                  <a:gd name="T22" fmla="*/ 88 w 225"/>
                  <a:gd name="T23" fmla="*/ 8 h 167"/>
                  <a:gd name="T24" fmla="*/ 100 w 225"/>
                  <a:gd name="T25" fmla="*/ 17 h 167"/>
                  <a:gd name="T26" fmla="*/ 112 w 225"/>
                  <a:gd name="T27" fmla="*/ 24 h 167"/>
                  <a:gd name="T28" fmla="*/ 128 w 225"/>
                  <a:gd name="T29" fmla="*/ 24 h 167"/>
                  <a:gd name="T30" fmla="*/ 145 w 225"/>
                  <a:gd name="T31" fmla="*/ 19 h 167"/>
                  <a:gd name="T32" fmla="*/ 165 w 225"/>
                  <a:gd name="T33" fmla="*/ 7 h 167"/>
                  <a:gd name="T34" fmla="*/ 225 w 225"/>
                  <a:gd name="T35" fmla="*/ 0 h 167"/>
                  <a:gd name="T36" fmla="*/ 215 w 225"/>
                  <a:gd name="T37" fmla="*/ 22 h 167"/>
                  <a:gd name="T38" fmla="*/ 201 w 225"/>
                  <a:gd name="T39" fmla="*/ 41 h 167"/>
                  <a:gd name="T40" fmla="*/ 168 w 225"/>
                  <a:gd name="T41" fmla="*/ 72 h 167"/>
                  <a:gd name="T42" fmla="*/ 138 w 225"/>
                  <a:gd name="T43" fmla="*/ 100 h 167"/>
                  <a:gd name="T44" fmla="*/ 129 w 225"/>
                  <a:gd name="T45" fmla="*/ 114 h 167"/>
                  <a:gd name="T46" fmla="*/ 126 w 225"/>
                  <a:gd name="T47" fmla="*/ 130 h 167"/>
                  <a:gd name="T48" fmla="*/ 123 w 225"/>
                  <a:gd name="T49" fmla="*/ 126 h 167"/>
                  <a:gd name="T50" fmla="*/ 120 w 225"/>
                  <a:gd name="T51" fmla="*/ 117 h 167"/>
                  <a:gd name="T52" fmla="*/ 106 w 225"/>
                  <a:gd name="T53" fmla="*/ 121 h 167"/>
                  <a:gd name="T54" fmla="*/ 97 w 225"/>
                  <a:gd name="T55" fmla="*/ 128 h 167"/>
                  <a:gd name="T56" fmla="*/ 80 w 225"/>
                  <a:gd name="T57" fmla="*/ 145 h 167"/>
                  <a:gd name="T58" fmla="*/ 71 w 225"/>
                  <a:gd name="T59" fmla="*/ 153 h 167"/>
                  <a:gd name="T60" fmla="*/ 60 w 225"/>
                  <a:gd name="T61" fmla="*/ 160 h 167"/>
                  <a:gd name="T62" fmla="*/ 46 w 225"/>
                  <a:gd name="T63" fmla="*/ 165 h 167"/>
                  <a:gd name="T64" fmla="*/ 26 w 225"/>
                  <a:gd name="T6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5" name="Freeform 187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10063109" y="4480834"/>
                <a:ext cx="4223" cy="17467"/>
              </a:xfrm>
              <a:custGeom>
                <a:avLst/>
                <a:gdLst>
                  <a:gd name="T0" fmla="*/ 0 w 7"/>
                  <a:gd name="T1" fmla="*/ 31 h 31"/>
                  <a:gd name="T2" fmla="*/ 5 w 7"/>
                  <a:gd name="T3" fmla="*/ 22 h 31"/>
                  <a:gd name="T4" fmla="*/ 6 w 7"/>
                  <a:gd name="T5" fmla="*/ 13 h 31"/>
                  <a:gd name="T6" fmla="*/ 7 w 7"/>
                  <a:gd name="T7" fmla="*/ 6 h 31"/>
                  <a:gd name="T8" fmla="*/ 7 w 7"/>
                  <a:gd name="T9" fmla="*/ 0 h 31"/>
                  <a:gd name="T10" fmla="*/ 6 w 7"/>
                  <a:gd name="T11" fmla="*/ 6 h 31"/>
                  <a:gd name="T12" fmla="*/ 4 w 7"/>
                  <a:gd name="T13" fmla="*/ 13 h 31"/>
                  <a:gd name="T14" fmla="*/ 1 w 7"/>
                  <a:gd name="T15" fmla="*/ 22 h 31"/>
                  <a:gd name="T16" fmla="*/ 0 w 7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6" name="Freeform 188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9974430" y="4403029"/>
                <a:ext cx="21114" cy="15879"/>
              </a:xfrm>
              <a:custGeom>
                <a:avLst/>
                <a:gdLst>
                  <a:gd name="T0" fmla="*/ 33 w 33"/>
                  <a:gd name="T1" fmla="*/ 31 h 31"/>
                  <a:gd name="T2" fmla="*/ 33 w 33"/>
                  <a:gd name="T3" fmla="*/ 0 h 31"/>
                  <a:gd name="T4" fmla="*/ 27 w 33"/>
                  <a:gd name="T5" fmla="*/ 0 h 31"/>
                  <a:gd name="T6" fmla="*/ 22 w 33"/>
                  <a:gd name="T7" fmla="*/ 2 h 31"/>
                  <a:gd name="T8" fmla="*/ 16 w 33"/>
                  <a:gd name="T9" fmla="*/ 5 h 31"/>
                  <a:gd name="T10" fmla="*/ 11 w 33"/>
                  <a:gd name="T11" fmla="*/ 8 h 31"/>
                  <a:gd name="T12" fmla="*/ 6 w 33"/>
                  <a:gd name="T13" fmla="*/ 12 h 31"/>
                  <a:gd name="T14" fmla="*/ 3 w 33"/>
                  <a:gd name="T15" fmla="*/ 16 h 31"/>
                  <a:gd name="T16" fmla="*/ 1 w 33"/>
                  <a:gd name="T17" fmla="*/ 21 h 31"/>
                  <a:gd name="T18" fmla="*/ 0 w 33"/>
                  <a:gd name="T19" fmla="*/ 25 h 31"/>
                  <a:gd name="T20" fmla="*/ 1 w 33"/>
                  <a:gd name="T21" fmla="*/ 27 h 31"/>
                  <a:gd name="T22" fmla="*/ 3 w 33"/>
                  <a:gd name="T23" fmla="*/ 29 h 31"/>
                  <a:gd name="T24" fmla="*/ 6 w 33"/>
                  <a:gd name="T25" fmla="*/ 30 h 31"/>
                  <a:gd name="T26" fmla="*/ 11 w 33"/>
                  <a:gd name="T27" fmla="*/ 30 h 31"/>
                  <a:gd name="T28" fmla="*/ 22 w 33"/>
                  <a:gd name="T29" fmla="*/ 31 h 31"/>
                  <a:gd name="T30" fmla="*/ 33 w 33"/>
                  <a:gd name="T3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7" name="Freeform 189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9995544" y="4315696"/>
                <a:ext cx="4223" cy="9527"/>
              </a:xfrm>
              <a:custGeom>
                <a:avLst/>
                <a:gdLst>
                  <a:gd name="T0" fmla="*/ 0 w 13"/>
                  <a:gd name="T1" fmla="*/ 19 h 19"/>
                  <a:gd name="T2" fmla="*/ 2 w 13"/>
                  <a:gd name="T3" fmla="*/ 18 h 19"/>
                  <a:gd name="T4" fmla="*/ 5 w 13"/>
                  <a:gd name="T5" fmla="*/ 17 h 19"/>
                  <a:gd name="T6" fmla="*/ 7 w 13"/>
                  <a:gd name="T7" fmla="*/ 15 h 19"/>
                  <a:gd name="T8" fmla="*/ 8 w 13"/>
                  <a:gd name="T9" fmla="*/ 12 h 19"/>
                  <a:gd name="T10" fmla="*/ 12 w 13"/>
                  <a:gd name="T11" fmla="*/ 6 h 19"/>
                  <a:gd name="T12" fmla="*/ 13 w 13"/>
                  <a:gd name="T13" fmla="*/ 0 h 19"/>
                  <a:gd name="T14" fmla="*/ 0 w 13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8" name="Freeform 190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9782289" y="4318872"/>
                <a:ext cx="48561" cy="22230"/>
              </a:xfrm>
              <a:custGeom>
                <a:avLst/>
                <a:gdLst>
                  <a:gd name="T0" fmla="*/ 54 w 87"/>
                  <a:gd name="T1" fmla="*/ 42 h 42"/>
                  <a:gd name="T2" fmla="*/ 59 w 87"/>
                  <a:gd name="T3" fmla="*/ 42 h 42"/>
                  <a:gd name="T4" fmla="*/ 64 w 87"/>
                  <a:gd name="T5" fmla="*/ 41 h 42"/>
                  <a:gd name="T6" fmla="*/ 68 w 87"/>
                  <a:gd name="T7" fmla="*/ 40 h 42"/>
                  <a:gd name="T8" fmla="*/ 71 w 87"/>
                  <a:gd name="T9" fmla="*/ 38 h 42"/>
                  <a:gd name="T10" fmla="*/ 75 w 87"/>
                  <a:gd name="T11" fmla="*/ 34 h 42"/>
                  <a:gd name="T12" fmla="*/ 78 w 87"/>
                  <a:gd name="T13" fmla="*/ 28 h 42"/>
                  <a:gd name="T14" fmla="*/ 79 w 87"/>
                  <a:gd name="T15" fmla="*/ 22 h 42"/>
                  <a:gd name="T16" fmla="*/ 80 w 87"/>
                  <a:gd name="T17" fmla="*/ 16 h 42"/>
                  <a:gd name="T18" fmla="*/ 82 w 87"/>
                  <a:gd name="T19" fmla="*/ 11 h 42"/>
                  <a:gd name="T20" fmla="*/ 87 w 87"/>
                  <a:gd name="T21" fmla="*/ 6 h 42"/>
                  <a:gd name="T22" fmla="*/ 77 w 87"/>
                  <a:gd name="T23" fmla="*/ 2 h 42"/>
                  <a:gd name="T24" fmla="*/ 67 w 87"/>
                  <a:gd name="T25" fmla="*/ 0 h 42"/>
                  <a:gd name="T26" fmla="*/ 57 w 87"/>
                  <a:gd name="T27" fmla="*/ 0 h 42"/>
                  <a:gd name="T28" fmla="*/ 47 w 87"/>
                  <a:gd name="T29" fmla="*/ 0 h 42"/>
                  <a:gd name="T30" fmla="*/ 40 w 87"/>
                  <a:gd name="T31" fmla="*/ 0 h 42"/>
                  <a:gd name="T32" fmla="*/ 32 w 87"/>
                  <a:gd name="T33" fmla="*/ 2 h 42"/>
                  <a:gd name="T34" fmla="*/ 25 w 87"/>
                  <a:gd name="T35" fmla="*/ 4 h 42"/>
                  <a:gd name="T36" fmla="*/ 19 w 87"/>
                  <a:gd name="T37" fmla="*/ 6 h 42"/>
                  <a:gd name="T38" fmla="*/ 8 w 87"/>
                  <a:gd name="T39" fmla="*/ 12 h 42"/>
                  <a:gd name="T40" fmla="*/ 0 w 87"/>
                  <a:gd name="T41" fmla="*/ 18 h 42"/>
                  <a:gd name="T42" fmla="*/ 11 w 87"/>
                  <a:gd name="T43" fmla="*/ 24 h 42"/>
                  <a:gd name="T44" fmla="*/ 27 w 87"/>
                  <a:gd name="T45" fmla="*/ 32 h 42"/>
                  <a:gd name="T46" fmla="*/ 43 w 87"/>
                  <a:gd name="T47" fmla="*/ 39 h 42"/>
                  <a:gd name="T48" fmla="*/ 54 w 87"/>
                  <a:gd name="T4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9" name="Freeform 191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10107451" y="4782528"/>
                <a:ext cx="2110" cy="14291"/>
              </a:xfrm>
              <a:custGeom>
                <a:avLst/>
                <a:gdLst>
                  <a:gd name="T0" fmla="*/ 0 w 7"/>
                  <a:gd name="T1" fmla="*/ 0 h 31"/>
                  <a:gd name="T2" fmla="*/ 7 w 7"/>
                  <a:gd name="T3" fmla="*/ 0 h 31"/>
                  <a:gd name="T4" fmla="*/ 7 w 7"/>
                  <a:gd name="T5" fmla="*/ 18 h 31"/>
                  <a:gd name="T6" fmla="*/ 0 w 7"/>
                  <a:gd name="T7" fmla="*/ 31 h 31"/>
                  <a:gd name="T8" fmla="*/ 0 w 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0" name="Freeform 192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9091851" y="4288703"/>
                <a:ext cx="1355538" cy="908260"/>
              </a:xfrm>
              <a:custGeom>
                <a:avLst/>
                <a:gdLst>
                  <a:gd name="T0" fmla="*/ 214 w 2332"/>
                  <a:gd name="T1" fmla="*/ 707 h 1731"/>
                  <a:gd name="T2" fmla="*/ 325 w 2332"/>
                  <a:gd name="T3" fmla="*/ 649 h 1731"/>
                  <a:gd name="T4" fmla="*/ 435 w 2332"/>
                  <a:gd name="T5" fmla="*/ 606 h 1731"/>
                  <a:gd name="T6" fmla="*/ 605 w 2332"/>
                  <a:gd name="T7" fmla="*/ 570 h 1731"/>
                  <a:gd name="T8" fmla="*/ 677 w 2332"/>
                  <a:gd name="T9" fmla="*/ 437 h 1731"/>
                  <a:gd name="T10" fmla="*/ 758 w 2332"/>
                  <a:gd name="T11" fmla="*/ 439 h 1731"/>
                  <a:gd name="T12" fmla="*/ 784 w 2332"/>
                  <a:gd name="T13" fmla="*/ 363 h 1731"/>
                  <a:gd name="T14" fmla="*/ 866 w 2332"/>
                  <a:gd name="T15" fmla="*/ 316 h 1731"/>
                  <a:gd name="T16" fmla="*/ 939 w 2332"/>
                  <a:gd name="T17" fmla="*/ 246 h 1731"/>
                  <a:gd name="T18" fmla="*/ 1027 w 2332"/>
                  <a:gd name="T19" fmla="*/ 223 h 1731"/>
                  <a:gd name="T20" fmla="*/ 1078 w 2332"/>
                  <a:gd name="T21" fmla="*/ 284 h 1731"/>
                  <a:gd name="T22" fmla="*/ 1135 w 2332"/>
                  <a:gd name="T23" fmla="*/ 270 h 1731"/>
                  <a:gd name="T24" fmla="*/ 1176 w 2332"/>
                  <a:gd name="T25" fmla="*/ 172 h 1731"/>
                  <a:gd name="T26" fmla="*/ 1320 w 2332"/>
                  <a:gd name="T27" fmla="*/ 117 h 1731"/>
                  <a:gd name="T28" fmla="*/ 1336 w 2332"/>
                  <a:gd name="T29" fmla="*/ 41 h 1731"/>
                  <a:gd name="T30" fmla="*/ 1432 w 2332"/>
                  <a:gd name="T31" fmla="*/ 107 h 1731"/>
                  <a:gd name="T32" fmla="*/ 1544 w 2332"/>
                  <a:gd name="T33" fmla="*/ 117 h 1731"/>
                  <a:gd name="T34" fmla="*/ 1465 w 2332"/>
                  <a:gd name="T35" fmla="*/ 262 h 1731"/>
                  <a:gd name="T36" fmla="*/ 1509 w 2332"/>
                  <a:gd name="T37" fmla="*/ 333 h 1731"/>
                  <a:gd name="T38" fmla="*/ 1582 w 2332"/>
                  <a:gd name="T39" fmla="*/ 354 h 1731"/>
                  <a:gd name="T40" fmla="*/ 1668 w 2332"/>
                  <a:gd name="T41" fmla="*/ 423 h 1731"/>
                  <a:gd name="T42" fmla="*/ 1764 w 2332"/>
                  <a:gd name="T43" fmla="*/ 413 h 1731"/>
                  <a:gd name="T44" fmla="*/ 1830 w 2332"/>
                  <a:gd name="T45" fmla="*/ 205 h 1731"/>
                  <a:gd name="T46" fmla="*/ 1904 w 2332"/>
                  <a:gd name="T47" fmla="*/ 10 h 1731"/>
                  <a:gd name="T48" fmla="*/ 1933 w 2332"/>
                  <a:gd name="T49" fmla="*/ 80 h 1731"/>
                  <a:gd name="T50" fmla="*/ 1944 w 2332"/>
                  <a:gd name="T51" fmla="*/ 176 h 1731"/>
                  <a:gd name="T52" fmla="*/ 1986 w 2332"/>
                  <a:gd name="T53" fmla="*/ 240 h 1731"/>
                  <a:gd name="T54" fmla="*/ 2040 w 2332"/>
                  <a:gd name="T55" fmla="*/ 429 h 1731"/>
                  <a:gd name="T56" fmla="*/ 2089 w 2332"/>
                  <a:gd name="T57" fmla="*/ 540 h 1731"/>
                  <a:gd name="T58" fmla="*/ 2163 w 2332"/>
                  <a:gd name="T59" fmla="*/ 686 h 1731"/>
                  <a:gd name="T60" fmla="*/ 2219 w 2332"/>
                  <a:gd name="T61" fmla="*/ 769 h 1731"/>
                  <a:gd name="T62" fmla="*/ 2332 w 2332"/>
                  <a:gd name="T63" fmla="*/ 892 h 1731"/>
                  <a:gd name="T64" fmla="*/ 2276 w 2332"/>
                  <a:gd name="T65" fmla="*/ 1105 h 1731"/>
                  <a:gd name="T66" fmla="*/ 2087 w 2332"/>
                  <a:gd name="T67" fmla="*/ 1362 h 1731"/>
                  <a:gd name="T68" fmla="*/ 2005 w 2332"/>
                  <a:gd name="T69" fmla="*/ 1432 h 1731"/>
                  <a:gd name="T70" fmla="*/ 1838 w 2332"/>
                  <a:gd name="T71" fmla="*/ 1591 h 1731"/>
                  <a:gd name="T72" fmla="*/ 1749 w 2332"/>
                  <a:gd name="T73" fmla="*/ 1676 h 1731"/>
                  <a:gd name="T74" fmla="*/ 1589 w 2332"/>
                  <a:gd name="T75" fmla="*/ 1726 h 1731"/>
                  <a:gd name="T76" fmla="*/ 1517 w 2332"/>
                  <a:gd name="T77" fmla="*/ 1693 h 1731"/>
                  <a:gd name="T78" fmla="*/ 1410 w 2332"/>
                  <a:gd name="T79" fmla="*/ 1729 h 1731"/>
                  <a:gd name="T80" fmla="*/ 1297 w 2332"/>
                  <a:gd name="T81" fmla="*/ 1693 h 1731"/>
                  <a:gd name="T82" fmla="*/ 1279 w 2332"/>
                  <a:gd name="T83" fmla="*/ 1614 h 1731"/>
                  <a:gd name="T84" fmla="*/ 1263 w 2332"/>
                  <a:gd name="T85" fmla="*/ 1516 h 1731"/>
                  <a:gd name="T86" fmla="*/ 1225 w 2332"/>
                  <a:gd name="T87" fmla="*/ 1500 h 1731"/>
                  <a:gd name="T88" fmla="*/ 1280 w 2332"/>
                  <a:gd name="T89" fmla="*/ 1382 h 1731"/>
                  <a:gd name="T90" fmla="*/ 1088 w 2332"/>
                  <a:gd name="T91" fmla="*/ 1362 h 1731"/>
                  <a:gd name="T92" fmla="*/ 961 w 2332"/>
                  <a:gd name="T93" fmla="*/ 1282 h 1731"/>
                  <a:gd name="T94" fmla="*/ 754 w 2332"/>
                  <a:gd name="T95" fmla="*/ 1323 h 1731"/>
                  <a:gd name="T96" fmla="*/ 507 w 2332"/>
                  <a:gd name="T97" fmla="*/ 1419 h 1731"/>
                  <a:gd name="T98" fmla="*/ 214 w 2332"/>
                  <a:gd name="T99" fmla="*/ 1473 h 1731"/>
                  <a:gd name="T100" fmla="*/ 55 w 2332"/>
                  <a:gd name="T101" fmla="*/ 1490 h 1731"/>
                  <a:gd name="T102" fmla="*/ 2 w 2332"/>
                  <a:gd name="T103" fmla="*/ 1423 h 1731"/>
                  <a:gd name="T104" fmla="*/ 97 w 2332"/>
                  <a:gd name="T105" fmla="*/ 1344 h 1731"/>
                  <a:gd name="T106" fmla="*/ 75 w 2332"/>
                  <a:gd name="T107" fmla="*/ 1241 h 1731"/>
                  <a:gd name="T108" fmla="*/ 113 w 2332"/>
                  <a:gd name="T109" fmla="*/ 1170 h 1731"/>
                  <a:gd name="T110" fmla="*/ 58 w 2332"/>
                  <a:gd name="T111" fmla="*/ 943 h 1731"/>
                  <a:gd name="T112" fmla="*/ 113 w 2332"/>
                  <a:gd name="T113" fmla="*/ 964 h 1731"/>
                  <a:gd name="T114" fmla="*/ 106 w 2332"/>
                  <a:gd name="T115" fmla="*/ 862 h 1731"/>
                  <a:gd name="T116" fmla="*/ 147 w 2332"/>
                  <a:gd name="T117" fmla="*/ 765 h 1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1" name="Freeform 193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1900275" y="2954895"/>
                <a:ext cx="888911" cy="581160"/>
              </a:xfrm>
              <a:custGeom>
                <a:avLst/>
                <a:gdLst>
                  <a:gd name="T0" fmla="*/ 1243 w 1535"/>
                  <a:gd name="T1" fmla="*/ 925 h 1109"/>
                  <a:gd name="T2" fmla="*/ 1299 w 1535"/>
                  <a:gd name="T3" fmla="*/ 982 h 1109"/>
                  <a:gd name="T4" fmla="*/ 1220 w 1535"/>
                  <a:gd name="T5" fmla="*/ 999 h 1109"/>
                  <a:gd name="T6" fmla="*/ 1177 w 1535"/>
                  <a:gd name="T7" fmla="*/ 1095 h 1109"/>
                  <a:gd name="T8" fmla="*/ 1065 w 1535"/>
                  <a:gd name="T9" fmla="*/ 1006 h 1109"/>
                  <a:gd name="T10" fmla="*/ 994 w 1535"/>
                  <a:gd name="T11" fmla="*/ 1012 h 1109"/>
                  <a:gd name="T12" fmla="*/ 913 w 1535"/>
                  <a:gd name="T13" fmla="*/ 1039 h 1109"/>
                  <a:gd name="T14" fmla="*/ 786 w 1535"/>
                  <a:gd name="T15" fmla="*/ 971 h 1109"/>
                  <a:gd name="T16" fmla="*/ 648 w 1535"/>
                  <a:gd name="T17" fmla="*/ 917 h 1109"/>
                  <a:gd name="T18" fmla="*/ 588 w 1535"/>
                  <a:gd name="T19" fmla="*/ 883 h 1109"/>
                  <a:gd name="T20" fmla="*/ 537 w 1535"/>
                  <a:gd name="T21" fmla="*/ 835 h 1109"/>
                  <a:gd name="T22" fmla="*/ 485 w 1535"/>
                  <a:gd name="T23" fmla="*/ 826 h 1109"/>
                  <a:gd name="T24" fmla="*/ 439 w 1535"/>
                  <a:gd name="T25" fmla="*/ 757 h 1109"/>
                  <a:gd name="T26" fmla="*/ 467 w 1535"/>
                  <a:gd name="T27" fmla="*/ 705 h 1109"/>
                  <a:gd name="T28" fmla="*/ 450 w 1535"/>
                  <a:gd name="T29" fmla="*/ 601 h 1109"/>
                  <a:gd name="T30" fmla="*/ 352 w 1535"/>
                  <a:gd name="T31" fmla="*/ 468 h 1109"/>
                  <a:gd name="T32" fmla="*/ 304 w 1535"/>
                  <a:gd name="T33" fmla="*/ 426 h 1109"/>
                  <a:gd name="T34" fmla="*/ 293 w 1535"/>
                  <a:gd name="T35" fmla="*/ 369 h 1109"/>
                  <a:gd name="T36" fmla="*/ 217 w 1535"/>
                  <a:gd name="T37" fmla="*/ 248 h 1109"/>
                  <a:gd name="T38" fmla="*/ 167 w 1535"/>
                  <a:gd name="T39" fmla="*/ 74 h 1109"/>
                  <a:gd name="T40" fmla="*/ 84 w 1535"/>
                  <a:gd name="T41" fmla="*/ 104 h 1109"/>
                  <a:gd name="T42" fmla="*/ 113 w 1535"/>
                  <a:gd name="T43" fmla="*/ 222 h 1109"/>
                  <a:gd name="T44" fmla="*/ 150 w 1535"/>
                  <a:gd name="T45" fmla="*/ 326 h 1109"/>
                  <a:gd name="T46" fmla="*/ 196 w 1535"/>
                  <a:gd name="T47" fmla="*/ 402 h 1109"/>
                  <a:gd name="T48" fmla="*/ 200 w 1535"/>
                  <a:gd name="T49" fmla="*/ 465 h 1109"/>
                  <a:gd name="T50" fmla="*/ 213 w 1535"/>
                  <a:gd name="T51" fmla="*/ 524 h 1109"/>
                  <a:gd name="T52" fmla="*/ 259 w 1535"/>
                  <a:gd name="T53" fmla="*/ 571 h 1109"/>
                  <a:gd name="T54" fmla="*/ 214 w 1535"/>
                  <a:gd name="T55" fmla="*/ 596 h 1109"/>
                  <a:gd name="T56" fmla="*/ 193 w 1535"/>
                  <a:gd name="T57" fmla="*/ 542 h 1109"/>
                  <a:gd name="T58" fmla="*/ 120 w 1535"/>
                  <a:gd name="T59" fmla="*/ 474 h 1109"/>
                  <a:gd name="T60" fmla="*/ 146 w 1535"/>
                  <a:gd name="T61" fmla="*/ 420 h 1109"/>
                  <a:gd name="T62" fmla="*/ 89 w 1535"/>
                  <a:gd name="T63" fmla="*/ 366 h 1109"/>
                  <a:gd name="T64" fmla="*/ 27 w 1535"/>
                  <a:gd name="T65" fmla="*/ 307 h 1109"/>
                  <a:gd name="T66" fmla="*/ 65 w 1535"/>
                  <a:gd name="T67" fmla="*/ 289 h 1109"/>
                  <a:gd name="T68" fmla="*/ 64 w 1535"/>
                  <a:gd name="T69" fmla="*/ 225 h 1109"/>
                  <a:gd name="T70" fmla="*/ 6 w 1535"/>
                  <a:gd name="T71" fmla="*/ 117 h 1109"/>
                  <a:gd name="T72" fmla="*/ 38 w 1535"/>
                  <a:gd name="T73" fmla="*/ 5 h 1109"/>
                  <a:gd name="T74" fmla="*/ 211 w 1535"/>
                  <a:gd name="T75" fmla="*/ 18 h 1109"/>
                  <a:gd name="T76" fmla="*/ 361 w 1535"/>
                  <a:gd name="T77" fmla="*/ 76 h 1109"/>
                  <a:gd name="T78" fmla="*/ 498 w 1535"/>
                  <a:gd name="T79" fmla="*/ 55 h 1109"/>
                  <a:gd name="T80" fmla="*/ 593 w 1535"/>
                  <a:gd name="T81" fmla="*/ 54 h 1109"/>
                  <a:gd name="T82" fmla="*/ 633 w 1535"/>
                  <a:gd name="T83" fmla="*/ 110 h 1109"/>
                  <a:gd name="T84" fmla="*/ 700 w 1535"/>
                  <a:gd name="T85" fmla="*/ 215 h 1109"/>
                  <a:gd name="T86" fmla="*/ 750 w 1535"/>
                  <a:gd name="T87" fmla="*/ 192 h 1109"/>
                  <a:gd name="T88" fmla="*/ 822 w 1535"/>
                  <a:gd name="T89" fmla="*/ 176 h 1109"/>
                  <a:gd name="T90" fmla="*/ 879 w 1535"/>
                  <a:gd name="T91" fmla="*/ 244 h 1109"/>
                  <a:gd name="T92" fmla="*/ 905 w 1535"/>
                  <a:gd name="T93" fmla="*/ 362 h 1109"/>
                  <a:gd name="T94" fmla="*/ 964 w 1535"/>
                  <a:gd name="T95" fmla="*/ 405 h 1109"/>
                  <a:gd name="T96" fmla="*/ 977 w 1535"/>
                  <a:gd name="T97" fmla="*/ 456 h 1109"/>
                  <a:gd name="T98" fmla="*/ 931 w 1535"/>
                  <a:gd name="T99" fmla="*/ 492 h 1109"/>
                  <a:gd name="T100" fmla="*/ 917 w 1535"/>
                  <a:gd name="T101" fmla="*/ 634 h 1109"/>
                  <a:gd name="T102" fmla="*/ 956 w 1535"/>
                  <a:gd name="T103" fmla="*/ 791 h 1109"/>
                  <a:gd name="T104" fmla="*/ 1054 w 1535"/>
                  <a:gd name="T105" fmla="*/ 877 h 1109"/>
                  <a:gd name="T106" fmla="*/ 1166 w 1535"/>
                  <a:gd name="T107" fmla="*/ 849 h 1109"/>
                  <a:gd name="T108" fmla="*/ 1249 w 1535"/>
                  <a:gd name="T109" fmla="*/ 850 h 1109"/>
                  <a:gd name="T110" fmla="*/ 1296 w 1535"/>
                  <a:gd name="T111" fmla="*/ 742 h 1109"/>
                  <a:gd name="T112" fmla="*/ 1336 w 1535"/>
                  <a:gd name="T113" fmla="*/ 693 h 1109"/>
                  <a:gd name="T114" fmla="*/ 1506 w 1535"/>
                  <a:gd name="T115" fmla="*/ 678 h 1109"/>
                  <a:gd name="T116" fmla="*/ 1503 w 1535"/>
                  <a:gd name="T117" fmla="*/ 729 h 1109"/>
                  <a:gd name="T118" fmla="*/ 1468 w 1535"/>
                  <a:gd name="T119" fmla="*/ 821 h 1109"/>
                  <a:gd name="T120" fmla="*/ 1369 w 1535"/>
                  <a:gd name="T121" fmla="*/ 888 h 1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2" name="Freeform 194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3595753" y="4595160"/>
                <a:ext cx="280821" cy="265174"/>
              </a:xfrm>
              <a:custGeom>
                <a:avLst/>
                <a:gdLst>
                  <a:gd name="T0" fmla="*/ 14 w 486"/>
                  <a:gd name="T1" fmla="*/ 176 h 505"/>
                  <a:gd name="T2" fmla="*/ 31 w 486"/>
                  <a:gd name="T3" fmla="*/ 198 h 505"/>
                  <a:gd name="T4" fmla="*/ 51 w 486"/>
                  <a:gd name="T5" fmla="*/ 232 h 505"/>
                  <a:gd name="T6" fmla="*/ 82 w 486"/>
                  <a:gd name="T7" fmla="*/ 266 h 505"/>
                  <a:gd name="T8" fmla="*/ 126 w 486"/>
                  <a:gd name="T9" fmla="*/ 293 h 505"/>
                  <a:gd name="T10" fmla="*/ 170 w 486"/>
                  <a:gd name="T11" fmla="*/ 310 h 505"/>
                  <a:gd name="T12" fmla="*/ 246 w 486"/>
                  <a:gd name="T13" fmla="*/ 328 h 505"/>
                  <a:gd name="T14" fmla="*/ 295 w 486"/>
                  <a:gd name="T15" fmla="*/ 344 h 505"/>
                  <a:gd name="T16" fmla="*/ 299 w 486"/>
                  <a:gd name="T17" fmla="*/ 381 h 505"/>
                  <a:gd name="T18" fmla="*/ 277 w 486"/>
                  <a:gd name="T19" fmla="*/ 418 h 505"/>
                  <a:gd name="T20" fmla="*/ 267 w 486"/>
                  <a:gd name="T21" fmla="*/ 443 h 505"/>
                  <a:gd name="T22" fmla="*/ 266 w 486"/>
                  <a:gd name="T23" fmla="*/ 463 h 505"/>
                  <a:gd name="T24" fmla="*/ 278 w 486"/>
                  <a:gd name="T25" fmla="*/ 482 h 505"/>
                  <a:gd name="T26" fmla="*/ 299 w 486"/>
                  <a:gd name="T27" fmla="*/ 494 h 505"/>
                  <a:gd name="T28" fmla="*/ 344 w 486"/>
                  <a:gd name="T29" fmla="*/ 504 h 505"/>
                  <a:gd name="T30" fmla="*/ 387 w 486"/>
                  <a:gd name="T31" fmla="*/ 504 h 505"/>
                  <a:gd name="T32" fmla="*/ 415 w 486"/>
                  <a:gd name="T33" fmla="*/ 494 h 505"/>
                  <a:gd name="T34" fmla="*/ 446 w 486"/>
                  <a:gd name="T35" fmla="*/ 474 h 505"/>
                  <a:gd name="T36" fmla="*/ 473 w 486"/>
                  <a:gd name="T37" fmla="*/ 447 h 505"/>
                  <a:gd name="T38" fmla="*/ 485 w 486"/>
                  <a:gd name="T39" fmla="*/ 418 h 505"/>
                  <a:gd name="T40" fmla="*/ 484 w 486"/>
                  <a:gd name="T41" fmla="*/ 397 h 505"/>
                  <a:gd name="T42" fmla="*/ 478 w 486"/>
                  <a:gd name="T43" fmla="*/ 358 h 505"/>
                  <a:gd name="T44" fmla="*/ 471 w 486"/>
                  <a:gd name="T45" fmla="*/ 316 h 505"/>
                  <a:gd name="T46" fmla="*/ 465 w 486"/>
                  <a:gd name="T47" fmla="*/ 270 h 505"/>
                  <a:gd name="T48" fmla="*/ 456 w 486"/>
                  <a:gd name="T49" fmla="*/ 252 h 505"/>
                  <a:gd name="T50" fmla="*/ 439 w 486"/>
                  <a:gd name="T51" fmla="*/ 239 h 505"/>
                  <a:gd name="T52" fmla="*/ 413 w 486"/>
                  <a:gd name="T53" fmla="*/ 232 h 505"/>
                  <a:gd name="T54" fmla="*/ 392 w 486"/>
                  <a:gd name="T55" fmla="*/ 222 h 505"/>
                  <a:gd name="T56" fmla="*/ 370 w 486"/>
                  <a:gd name="T57" fmla="*/ 207 h 505"/>
                  <a:gd name="T58" fmla="*/ 330 w 486"/>
                  <a:gd name="T59" fmla="*/ 188 h 505"/>
                  <a:gd name="T60" fmla="*/ 290 w 486"/>
                  <a:gd name="T61" fmla="*/ 172 h 505"/>
                  <a:gd name="T62" fmla="*/ 273 w 486"/>
                  <a:gd name="T63" fmla="*/ 160 h 505"/>
                  <a:gd name="T64" fmla="*/ 264 w 486"/>
                  <a:gd name="T65" fmla="*/ 151 h 505"/>
                  <a:gd name="T66" fmla="*/ 261 w 486"/>
                  <a:gd name="T67" fmla="*/ 125 h 505"/>
                  <a:gd name="T68" fmla="*/ 261 w 486"/>
                  <a:gd name="T69" fmla="*/ 90 h 505"/>
                  <a:gd name="T70" fmla="*/ 255 w 486"/>
                  <a:gd name="T71" fmla="*/ 71 h 505"/>
                  <a:gd name="T72" fmla="*/ 241 w 486"/>
                  <a:gd name="T73" fmla="*/ 55 h 505"/>
                  <a:gd name="T74" fmla="*/ 234 w 486"/>
                  <a:gd name="T75" fmla="*/ 37 h 505"/>
                  <a:gd name="T76" fmla="*/ 199 w 486"/>
                  <a:gd name="T77" fmla="*/ 12 h 505"/>
                  <a:gd name="T78" fmla="*/ 186 w 486"/>
                  <a:gd name="T79" fmla="*/ 8 h 505"/>
                  <a:gd name="T80" fmla="*/ 173 w 486"/>
                  <a:gd name="T81" fmla="*/ 2 h 505"/>
                  <a:gd name="T82" fmla="*/ 139 w 486"/>
                  <a:gd name="T83" fmla="*/ 1 h 505"/>
                  <a:gd name="T84" fmla="*/ 70 w 486"/>
                  <a:gd name="T85" fmla="*/ 11 h 505"/>
                  <a:gd name="T86" fmla="*/ 42 w 486"/>
                  <a:gd name="T87" fmla="*/ 21 h 505"/>
                  <a:gd name="T88" fmla="*/ 24 w 486"/>
                  <a:gd name="T89" fmla="*/ 37 h 505"/>
                  <a:gd name="T90" fmla="*/ 20 w 486"/>
                  <a:gd name="T91" fmla="*/ 64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3" name="Freeform 195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3821677" y="3799640"/>
                <a:ext cx="97127" cy="109562"/>
              </a:xfrm>
              <a:custGeom>
                <a:avLst/>
                <a:gdLst>
                  <a:gd name="T0" fmla="*/ 7 w 166"/>
                  <a:gd name="T1" fmla="*/ 183 h 208"/>
                  <a:gd name="T2" fmla="*/ 79 w 166"/>
                  <a:gd name="T3" fmla="*/ 208 h 208"/>
                  <a:gd name="T4" fmla="*/ 85 w 166"/>
                  <a:gd name="T5" fmla="*/ 207 h 208"/>
                  <a:gd name="T6" fmla="*/ 90 w 166"/>
                  <a:gd name="T7" fmla="*/ 204 h 208"/>
                  <a:gd name="T8" fmla="*/ 97 w 166"/>
                  <a:gd name="T9" fmla="*/ 198 h 208"/>
                  <a:gd name="T10" fmla="*/ 104 w 166"/>
                  <a:gd name="T11" fmla="*/ 192 h 208"/>
                  <a:gd name="T12" fmla="*/ 117 w 166"/>
                  <a:gd name="T13" fmla="*/ 176 h 208"/>
                  <a:gd name="T14" fmla="*/ 130 w 166"/>
                  <a:gd name="T15" fmla="*/ 158 h 208"/>
                  <a:gd name="T16" fmla="*/ 154 w 166"/>
                  <a:gd name="T17" fmla="*/ 122 h 208"/>
                  <a:gd name="T18" fmla="*/ 166 w 166"/>
                  <a:gd name="T19" fmla="*/ 103 h 208"/>
                  <a:gd name="T20" fmla="*/ 144 w 166"/>
                  <a:gd name="T21" fmla="*/ 94 h 208"/>
                  <a:gd name="T22" fmla="*/ 126 w 166"/>
                  <a:gd name="T23" fmla="*/ 84 h 208"/>
                  <a:gd name="T24" fmla="*/ 108 w 166"/>
                  <a:gd name="T25" fmla="*/ 74 h 208"/>
                  <a:gd name="T26" fmla="*/ 93 w 166"/>
                  <a:gd name="T27" fmla="*/ 64 h 208"/>
                  <a:gd name="T28" fmla="*/ 86 w 166"/>
                  <a:gd name="T29" fmla="*/ 58 h 208"/>
                  <a:gd name="T30" fmla="*/ 81 w 166"/>
                  <a:gd name="T31" fmla="*/ 53 h 208"/>
                  <a:gd name="T32" fmla="*/ 75 w 166"/>
                  <a:gd name="T33" fmla="*/ 47 h 208"/>
                  <a:gd name="T34" fmla="*/ 71 w 166"/>
                  <a:gd name="T35" fmla="*/ 40 h 208"/>
                  <a:gd name="T36" fmla="*/ 67 w 166"/>
                  <a:gd name="T37" fmla="*/ 33 h 208"/>
                  <a:gd name="T38" fmla="*/ 64 w 166"/>
                  <a:gd name="T39" fmla="*/ 26 h 208"/>
                  <a:gd name="T40" fmla="*/ 62 w 166"/>
                  <a:gd name="T41" fmla="*/ 18 h 208"/>
                  <a:gd name="T42" fmla="*/ 60 w 166"/>
                  <a:gd name="T43" fmla="*/ 11 h 208"/>
                  <a:gd name="T44" fmla="*/ 50 w 166"/>
                  <a:gd name="T45" fmla="*/ 10 h 208"/>
                  <a:gd name="T46" fmla="*/ 43 w 166"/>
                  <a:gd name="T47" fmla="*/ 8 h 208"/>
                  <a:gd name="T48" fmla="*/ 40 w 166"/>
                  <a:gd name="T49" fmla="*/ 5 h 208"/>
                  <a:gd name="T50" fmla="*/ 39 w 166"/>
                  <a:gd name="T51" fmla="*/ 3 h 208"/>
                  <a:gd name="T52" fmla="*/ 38 w 166"/>
                  <a:gd name="T53" fmla="*/ 1 h 208"/>
                  <a:gd name="T54" fmla="*/ 36 w 166"/>
                  <a:gd name="T55" fmla="*/ 0 h 208"/>
                  <a:gd name="T56" fmla="*/ 32 w 166"/>
                  <a:gd name="T57" fmla="*/ 1 h 208"/>
                  <a:gd name="T58" fmla="*/ 27 w 166"/>
                  <a:gd name="T59" fmla="*/ 5 h 208"/>
                  <a:gd name="T60" fmla="*/ 20 w 166"/>
                  <a:gd name="T61" fmla="*/ 11 h 208"/>
                  <a:gd name="T62" fmla="*/ 11 w 166"/>
                  <a:gd name="T63" fmla="*/ 22 h 208"/>
                  <a:gd name="T64" fmla="*/ 7 w 166"/>
                  <a:gd name="T65" fmla="*/ 29 h 208"/>
                  <a:gd name="T66" fmla="*/ 4 w 166"/>
                  <a:gd name="T67" fmla="*/ 37 h 208"/>
                  <a:gd name="T68" fmla="*/ 2 w 166"/>
                  <a:gd name="T69" fmla="*/ 45 h 208"/>
                  <a:gd name="T70" fmla="*/ 0 w 166"/>
                  <a:gd name="T71" fmla="*/ 54 h 208"/>
                  <a:gd name="T72" fmla="*/ 0 w 166"/>
                  <a:gd name="T73" fmla="*/ 60 h 208"/>
                  <a:gd name="T74" fmla="*/ 2 w 166"/>
                  <a:gd name="T75" fmla="*/ 65 h 208"/>
                  <a:gd name="T76" fmla="*/ 3 w 166"/>
                  <a:gd name="T77" fmla="*/ 70 h 208"/>
                  <a:gd name="T78" fmla="*/ 5 w 166"/>
                  <a:gd name="T79" fmla="*/ 76 h 208"/>
                  <a:gd name="T80" fmla="*/ 10 w 166"/>
                  <a:gd name="T81" fmla="*/ 86 h 208"/>
                  <a:gd name="T82" fmla="*/ 17 w 166"/>
                  <a:gd name="T83" fmla="*/ 98 h 208"/>
                  <a:gd name="T84" fmla="*/ 22 w 166"/>
                  <a:gd name="T85" fmla="*/ 109 h 208"/>
                  <a:gd name="T86" fmla="*/ 28 w 166"/>
                  <a:gd name="T87" fmla="*/ 120 h 208"/>
                  <a:gd name="T88" fmla="*/ 30 w 166"/>
                  <a:gd name="T89" fmla="*/ 126 h 208"/>
                  <a:gd name="T90" fmla="*/ 32 w 166"/>
                  <a:gd name="T91" fmla="*/ 133 h 208"/>
                  <a:gd name="T92" fmla="*/ 33 w 166"/>
                  <a:gd name="T93" fmla="*/ 139 h 208"/>
                  <a:gd name="T94" fmla="*/ 33 w 166"/>
                  <a:gd name="T95" fmla="*/ 147 h 208"/>
                  <a:gd name="T96" fmla="*/ 32 w 166"/>
                  <a:gd name="T97" fmla="*/ 153 h 208"/>
                  <a:gd name="T98" fmla="*/ 31 w 166"/>
                  <a:gd name="T99" fmla="*/ 159 h 208"/>
                  <a:gd name="T100" fmla="*/ 28 w 166"/>
                  <a:gd name="T101" fmla="*/ 165 h 208"/>
                  <a:gd name="T102" fmla="*/ 25 w 166"/>
                  <a:gd name="T103" fmla="*/ 169 h 208"/>
                  <a:gd name="T104" fmla="*/ 21 w 166"/>
                  <a:gd name="T105" fmla="*/ 174 h 208"/>
                  <a:gd name="T106" fmla="*/ 17 w 166"/>
                  <a:gd name="T107" fmla="*/ 177 h 208"/>
                  <a:gd name="T108" fmla="*/ 11 w 166"/>
                  <a:gd name="T109" fmla="*/ 180 h 208"/>
                  <a:gd name="T110" fmla="*/ 7 w 166"/>
                  <a:gd name="T111" fmla="*/ 183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4" name="Freeform 196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3175579" y="3358213"/>
                <a:ext cx="92903" cy="58751"/>
              </a:xfrm>
              <a:custGeom>
                <a:avLst/>
                <a:gdLst>
                  <a:gd name="T0" fmla="*/ 153 w 164"/>
                  <a:gd name="T1" fmla="*/ 104 h 104"/>
                  <a:gd name="T2" fmla="*/ 134 w 164"/>
                  <a:gd name="T3" fmla="*/ 102 h 104"/>
                  <a:gd name="T4" fmla="*/ 110 w 164"/>
                  <a:gd name="T5" fmla="*/ 97 h 104"/>
                  <a:gd name="T6" fmla="*/ 96 w 164"/>
                  <a:gd name="T7" fmla="*/ 94 h 104"/>
                  <a:gd name="T8" fmla="*/ 80 w 164"/>
                  <a:gd name="T9" fmla="*/ 93 h 104"/>
                  <a:gd name="T10" fmla="*/ 73 w 164"/>
                  <a:gd name="T11" fmla="*/ 93 h 104"/>
                  <a:gd name="T12" fmla="*/ 64 w 164"/>
                  <a:gd name="T13" fmla="*/ 94 h 104"/>
                  <a:gd name="T14" fmla="*/ 55 w 164"/>
                  <a:gd name="T15" fmla="*/ 96 h 104"/>
                  <a:gd name="T16" fmla="*/ 47 w 164"/>
                  <a:gd name="T17" fmla="*/ 98 h 104"/>
                  <a:gd name="T18" fmla="*/ 41 w 164"/>
                  <a:gd name="T19" fmla="*/ 100 h 104"/>
                  <a:gd name="T20" fmla="*/ 34 w 164"/>
                  <a:gd name="T21" fmla="*/ 100 h 104"/>
                  <a:gd name="T22" fmla="*/ 27 w 164"/>
                  <a:gd name="T23" fmla="*/ 99 h 104"/>
                  <a:gd name="T24" fmla="*/ 19 w 164"/>
                  <a:gd name="T25" fmla="*/ 96 h 104"/>
                  <a:gd name="T26" fmla="*/ 11 w 164"/>
                  <a:gd name="T27" fmla="*/ 92 h 104"/>
                  <a:gd name="T28" fmla="*/ 6 w 164"/>
                  <a:gd name="T29" fmla="*/ 88 h 104"/>
                  <a:gd name="T30" fmla="*/ 3 w 164"/>
                  <a:gd name="T31" fmla="*/ 86 h 104"/>
                  <a:gd name="T32" fmla="*/ 1 w 164"/>
                  <a:gd name="T33" fmla="*/ 84 h 104"/>
                  <a:gd name="T34" fmla="*/ 0 w 164"/>
                  <a:gd name="T35" fmla="*/ 81 h 104"/>
                  <a:gd name="T36" fmla="*/ 0 w 164"/>
                  <a:gd name="T37" fmla="*/ 79 h 104"/>
                  <a:gd name="T38" fmla="*/ 0 w 164"/>
                  <a:gd name="T39" fmla="*/ 76 h 104"/>
                  <a:gd name="T40" fmla="*/ 1 w 164"/>
                  <a:gd name="T41" fmla="*/ 74 h 104"/>
                  <a:gd name="T42" fmla="*/ 3 w 164"/>
                  <a:gd name="T43" fmla="*/ 71 h 104"/>
                  <a:gd name="T44" fmla="*/ 6 w 164"/>
                  <a:gd name="T45" fmla="*/ 70 h 104"/>
                  <a:gd name="T46" fmla="*/ 12 w 164"/>
                  <a:gd name="T47" fmla="*/ 67 h 104"/>
                  <a:gd name="T48" fmla="*/ 20 w 164"/>
                  <a:gd name="T49" fmla="*/ 66 h 104"/>
                  <a:gd name="T50" fmla="*/ 40 w 164"/>
                  <a:gd name="T51" fmla="*/ 66 h 104"/>
                  <a:gd name="T52" fmla="*/ 61 w 164"/>
                  <a:gd name="T53" fmla="*/ 67 h 104"/>
                  <a:gd name="T54" fmla="*/ 70 w 164"/>
                  <a:gd name="T55" fmla="*/ 67 h 104"/>
                  <a:gd name="T56" fmla="*/ 79 w 164"/>
                  <a:gd name="T57" fmla="*/ 67 h 104"/>
                  <a:gd name="T58" fmla="*/ 87 w 164"/>
                  <a:gd name="T59" fmla="*/ 67 h 104"/>
                  <a:gd name="T60" fmla="*/ 94 w 164"/>
                  <a:gd name="T61" fmla="*/ 67 h 104"/>
                  <a:gd name="T62" fmla="*/ 94 w 164"/>
                  <a:gd name="T63" fmla="*/ 56 h 104"/>
                  <a:gd name="T64" fmla="*/ 94 w 164"/>
                  <a:gd name="T65" fmla="*/ 43 h 104"/>
                  <a:gd name="T66" fmla="*/ 94 w 164"/>
                  <a:gd name="T67" fmla="*/ 29 h 104"/>
                  <a:gd name="T68" fmla="*/ 94 w 164"/>
                  <a:gd name="T69" fmla="*/ 18 h 104"/>
                  <a:gd name="T70" fmla="*/ 79 w 164"/>
                  <a:gd name="T71" fmla="*/ 17 h 104"/>
                  <a:gd name="T72" fmla="*/ 67 w 164"/>
                  <a:gd name="T73" fmla="*/ 15 h 104"/>
                  <a:gd name="T74" fmla="*/ 62 w 164"/>
                  <a:gd name="T75" fmla="*/ 13 h 104"/>
                  <a:gd name="T76" fmla="*/ 57 w 164"/>
                  <a:gd name="T77" fmla="*/ 10 h 104"/>
                  <a:gd name="T78" fmla="*/ 52 w 164"/>
                  <a:gd name="T79" fmla="*/ 6 h 104"/>
                  <a:gd name="T80" fmla="*/ 47 w 164"/>
                  <a:gd name="T81" fmla="*/ 0 h 104"/>
                  <a:gd name="T82" fmla="*/ 146 w 164"/>
                  <a:gd name="T83" fmla="*/ 0 h 104"/>
                  <a:gd name="T84" fmla="*/ 147 w 164"/>
                  <a:gd name="T85" fmla="*/ 6 h 104"/>
                  <a:gd name="T86" fmla="*/ 148 w 164"/>
                  <a:gd name="T87" fmla="*/ 13 h 104"/>
                  <a:gd name="T88" fmla="*/ 150 w 164"/>
                  <a:gd name="T89" fmla="*/ 19 h 104"/>
                  <a:gd name="T90" fmla="*/ 152 w 164"/>
                  <a:gd name="T91" fmla="*/ 25 h 104"/>
                  <a:gd name="T92" fmla="*/ 156 w 164"/>
                  <a:gd name="T93" fmla="*/ 35 h 104"/>
                  <a:gd name="T94" fmla="*/ 159 w 164"/>
                  <a:gd name="T95" fmla="*/ 46 h 104"/>
                  <a:gd name="T96" fmla="*/ 163 w 164"/>
                  <a:gd name="T97" fmla="*/ 54 h 104"/>
                  <a:gd name="T98" fmla="*/ 164 w 164"/>
                  <a:gd name="T99" fmla="*/ 62 h 104"/>
                  <a:gd name="T100" fmla="*/ 163 w 164"/>
                  <a:gd name="T101" fmla="*/ 65 h 104"/>
                  <a:gd name="T102" fmla="*/ 160 w 164"/>
                  <a:gd name="T103" fmla="*/ 68 h 104"/>
                  <a:gd name="T104" fmla="*/ 157 w 164"/>
                  <a:gd name="T105" fmla="*/ 71 h 104"/>
                  <a:gd name="T106" fmla="*/ 153 w 164"/>
                  <a:gd name="T107" fmla="*/ 73 h 104"/>
                  <a:gd name="T108" fmla="*/ 153 w 164"/>
                  <a:gd name="T10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5" name="Freeform 197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3776457" y="5713019"/>
                <a:ext cx="31672" cy="57162"/>
              </a:xfrm>
              <a:custGeom>
                <a:avLst/>
                <a:gdLst>
                  <a:gd name="T0" fmla="*/ 0 w 53"/>
                  <a:gd name="T1" fmla="*/ 8 h 19"/>
                  <a:gd name="T2" fmla="*/ 7 w 53"/>
                  <a:gd name="T3" fmla="*/ 13 h 19"/>
                  <a:gd name="T4" fmla="*/ 14 w 53"/>
                  <a:gd name="T5" fmla="*/ 17 h 19"/>
                  <a:gd name="T6" fmla="*/ 22 w 53"/>
                  <a:gd name="T7" fmla="*/ 19 h 19"/>
                  <a:gd name="T8" fmla="*/ 29 w 53"/>
                  <a:gd name="T9" fmla="*/ 19 h 19"/>
                  <a:gd name="T10" fmla="*/ 35 w 53"/>
                  <a:gd name="T11" fmla="*/ 18 h 19"/>
                  <a:gd name="T12" fmla="*/ 42 w 53"/>
                  <a:gd name="T13" fmla="*/ 15 h 19"/>
                  <a:gd name="T14" fmla="*/ 47 w 53"/>
                  <a:gd name="T15" fmla="*/ 12 h 19"/>
                  <a:gd name="T16" fmla="*/ 53 w 53"/>
                  <a:gd name="T17" fmla="*/ 8 h 19"/>
                  <a:gd name="T18" fmla="*/ 47 w 53"/>
                  <a:gd name="T19" fmla="*/ 5 h 19"/>
                  <a:gd name="T20" fmla="*/ 42 w 53"/>
                  <a:gd name="T21" fmla="*/ 2 h 19"/>
                  <a:gd name="T22" fmla="*/ 35 w 53"/>
                  <a:gd name="T23" fmla="*/ 1 h 19"/>
                  <a:gd name="T24" fmla="*/ 29 w 53"/>
                  <a:gd name="T25" fmla="*/ 0 h 19"/>
                  <a:gd name="T26" fmla="*/ 22 w 53"/>
                  <a:gd name="T27" fmla="*/ 0 h 19"/>
                  <a:gd name="T28" fmla="*/ 14 w 53"/>
                  <a:gd name="T29" fmla="*/ 1 h 19"/>
                  <a:gd name="T30" fmla="*/ 7 w 53"/>
                  <a:gd name="T31" fmla="*/ 3 h 19"/>
                  <a:gd name="T32" fmla="*/ 0 w 53"/>
                  <a:gd name="T33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6" name="Freeform 198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3730006" y="5692376"/>
                <a:ext cx="46451" cy="58751"/>
              </a:xfrm>
              <a:custGeom>
                <a:avLst/>
                <a:gdLst>
                  <a:gd name="T0" fmla="*/ 0 w 80"/>
                  <a:gd name="T1" fmla="*/ 0 h 18"/>
                  <a:gd name="T2" fmla="*/ 1 w 80"/>
                  <a:gd name="T3" fmla="*/ 6 h 18"/>
                  <a:gd name="T4" fmla="*/ 5 w 80"/>
                  <a:gd name="T5" fmla="*/ 12 h 18"/>
                  <a:gd name="T6" fmla="*/ 8 w 80"/>
                  <a:gd name="T7" fmla="*/ 14 h 18"/>
                  <a:gd name="T8" fmla="*/ 11 w 80"/>
                  <a:gd name="T9" fmla="*/ 16 h 18"/>
                  <a:gd name="T10" fmla="*/ 15 w 80"/>
                  <a:gd name="T11" fmla="*/ 18 h 18"/>
                  <a:gd name="T12" fmla="*/ 20 w 80"/>
                  <a:gd name="T13" fmla="*/ 18 h 18"/>
                  <a:gd name="T14" fmla="*/ 22 w 80"/>
                  <a:gd name="T15" fmla="*/ 15 h 18"/>
                  <a:gd name="T16" fmla="*/ 24 w 80"/>
                  <a:gd name="T17" fmla="*/ 13 h 18"/>
                  <a:gd name="T18" fmla="*/ 26 w 80"/>
                  <a:gd name="T19" fmla="*/ 11 h 18"/>
                  <a:gd name="T20" fmla="*/ 31 w 80"/>
                  <a:gd name="T21" fmla="*/ 10 h 18"/>
                  <a:gd name="T22" fmla="*/ 38 w 80"/>
                  <a:gd name="T23" fmla="*/ 8 h 18"/>
                  <a:gd name="T24" fmla="*/ 47 w 80"/>
                  <a:gd name="T25" fmla="*/ 7 h 18"/>
                  <a:gd name="T26" fmla="*/ 57 w 80"/>
                  <a:gd name="T27" fmla="*/ 7 h 18"/>
                  <a:gd name="T28" fmla="*/ 66 w 80"/>
                  <a:gd name="T29" fmla="*/ 6 h 18"/>
                  <a:gd name="T30" fmla="*/ 70 w 80"/>
                  <a:gd name="T31" fmla="*/ 5 h 18"/>
                  <a:gd name="T32" fmla="*/ 74 w 80"/>
                  <a:gd name="T33" fmla="*/ 4 h 18"/>
                  <a:gd name="T34" fmla="*/ 77 w 80"/>
                  <a:gd name="T35" fmla="*/ 2 h 18"/>
                  <a:gd name="T36" fmla="*/ 80 w 80"/>
                  <a:gd name="T37" fmla="*/ 0 h 18"/>
                  <a:gd name="T38" fmla="*/ 0 w 80"/>
                  <a:gd name="T3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7" name="Freeform 199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3730006" y="5671734"/>
                <a:ext cx="29560" cy="60339"/>
              </a:xfrm>
              <a:custGeom>
                <a:avLst/>
                <a:gdLst>
                  <a:gd name="T0" fmla="*/ 20 w 46"/>
                  <a:gd name="T1" fmla="*/ 0 h 27"/>
                  <a:gd name="T2" fmla="*/ 0 w 46"/>
                  <a:gd name="T3" fmla="*/ 18 h 27"/>
                  <a:gd name="T4" fmla="*/ 9 w 46"/>
                  <a:gd name="T5" fmla="*/ 22 h 27"/>
                  <a:gd name="T6" fmla="*/ 16 w 46"/>
                  <a:gd name="T7" fmla="*/ 25 h 27"/>
                  <a:gd name="T8" fmla="*/ 23 w 46"/>
                  <a:gd name="T9" fmla="*/ 27 h 27"/>
                  <a:gd name="T10" fmla="*/ 29 w 46"/>
                  <a:gd name="T11" fmla="*/ 27 h 27"/>
                  <a:gd name="T12" fmla="*/ 33 w 46"/>
                  <a:gd name="T13" fmla="*/ 27 h 27"/>
                  <a:gd name="T14" fmla="*/ 37 w 46"/>
                  <a:gd name="T15" fmla="*/ 25 h 27"/>
                  <a:gd name="T16" fmla="*/ 42 w 46"/>
                  <a:gd name="T17" fmla="*/ 22 h 27"/>
                  <a:gd name="T18" fmla="*/ 46 w 46"/>
                  <a:gd name="T19" fmla="*/ 18 h 27"/>
                  <a:gd name="T20" fmla="*/ 41 w 46"/>
                  <a:gd name="T21" fmla="*/ 16 h 27"/>
                  <a:gd name="T22" fmla="*/ 33 w 46"/>
                  <a:gd name="T23" fmla="*/ 11 h 27"/>
                  <a:gd name="T24" fmla="*/ 26 w 46"/>
                  <a:gd name="T25" fmla="*/ 5 h 27"/>
                  <a:gd name="T26" fmla="*/ 20 w 46"/>
                  <a:gd name="T2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8" name="Freeform 200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3689888" y="5665383"/>
                <a:ext cx="33783" cy="60339"/>
              </a:xfrm>
              <a:custGeom>
                <a:avLst/>
                <a:gdLst>
                  <a:gd name="T0" fmla="*/ 34 w 54"/>
                  <a:gd name="T1" fmla="*/ 0 h 39"/>
                  <a:gd name="T2" fmla="*/ 20 w 54"/>
                  <a:gd name="T3" fmla="*/ 4 h 39"/>
                  <a:gd name="T4" fmla="*/ 10 w 54"/>
                  <a:gd name="T5" fmla="*/ 10 h 39"/>
                  <a:gd name="T6" fmla="*/ 6 w 54"/>
                  <a:gd name="T7" fmla="*/ 13 h 39"/>
                  <a:gd name="T8" fmla="*/ 4 w 54"/>
                  <a:gd name="T9" fmla="*/ 16 h 39"/>
                  <a:gd name="T10" fmla="*/ 2 w 54"/>
                  <a:gd name="T11" fmla="*/ 20 h 39"/>
                  <a:gd name="T12" fmla="*/ 0 w 54"/>
                  <a:gd name="T13" fmla="*/ 24 h 39"/>
                  <a:gd name="T14" fmla="*/ 2 w 54"/>
                  <a:gd name="T15" fmla="*/ 28 h 39"/>
                  <a:gd name="T16" fmla="*/ 3 w 54"/>
                  <a:gd name="T17" fmla="*/ 32 h 39"/>
                  <a:gd name="T18" fmla="*/ 5 w 54"/>
                  <a:gd name="T19" fmla="*/ 35 h 39"/>
                  <a:gd name="T20" fmla="*/ 8 w 54"/>
                  <a:gd name="T21" fmla="*/ 37 h 39"/>
                  <a:gd name="T22" fmla="*/ 11 w 54"/>
                  <a:gd name="T23" fmla="*/ 38 h 39"/>
                  <a:gd name="T24" fmla="*/ 16 w 54"/>
                  <a:gd name="T25" fmla="*/ 39 h 39"/>
                  <a:gd name="T26" fmla="*/ 20 w 54"/>
                  <a:gd name="T27" fmla="*/ 39 h 39"/>
                  <a:gd name="T28" fmla="*/ 25 w 54"/>
                  <a:gd name="T29" fmla="*/ 39 h 39"/>
                  <a:gd name="T30" fmla="*/ 30 w 54"/>
                  <a:gd name="T31" fmla="*/ 38 h 39"/>
                  <a:gd name="T32" fmla="*/ 34 w 54"/>
                  <a:gd name="T33" fmla="*/ 37 h 39"/>
                  <a:gd name="T34" fmla="*/ 39 w 54"/>
                  <a:gd name="T35" fmla="*/ 35 h 39"/>
                  <a:gd name="T36" fmla="*/ 43 w 54"/>
                  <a:gd name="T37" fmla="*/ 33 h 39"/>
                  <a:gd name="T38" fmla="*/ 47 w 54"/>
                  <a:gd name="T39" fmla="*/ 30 h 39"/>
                  <a:gd name="T40" fmla="*/ 50 w 54"/>
                  <a:gd name="T41" fmla="*/ 26 h 39"/>
                  <a:gd name="T42" fmla="*/ 52 w 54"/>
                  <a:gd name="T43" fmla="*/ 22 h 39"/>
                  <a:gd name="T44" fmla="*/ 54 w 54"/>
                  <a:gd name="T45" fmla="*/ 18 h 39"/>
                  <a:gd name="T46" fmla="*/ 51 w 54"/>
                  <a:gd name="T47" fmla="*/ 17 h 39"/>
                  <a:gd name="T48" fmla="*/ 48 w 54"/>
                  <a:gd name="T49" fmla="*/ 16 h 39"/>
                  <a:gd name="T50" fmla="*/ 44 w 54"/>
                  <a:gd name="T51" fmla="*/ 14 h 39"/>
                  <a:gd name="T52" fmla="*/ 42 w 54"/>
                  <a:gd name="T53" fmla="*/ 11 h 39"/>
                  <a:gd name="T54" fmla="*/ 39 w 54"/>
                  <a:gd name="T55" fmla="*/ 8 h 39"/>
                  <a:gd name="T56" fmla="*/ 37 w 54"/>
                  <a:gd name="T57" fmla="*/ 5 h 39"/>
                  <a:gd name="T58" fmla="*/ 34 w 54"/>
                  <a:gd name="T59" fmla="*/ 2 h 39"/>
                  <a:gd name="T60" fmla="*/ 34 w 54"/>
                  <a:gd name="T6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9" name="Freeform 201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3656105" y="5655855"/>
                <a:ext cx="38005" cy="58752"/>
              </a:xfrm>
              <a:custGeom>
                <a:avLst/>
                <a:gdLst>
                  <a:gd name="T0" fmla="*/ 0 w 60"/>
                  <a:gd name="T1" fmla="*/ 11 h 15"/>
                  <a:gd name="T2" fmla="*/ 10 w 60"/>
                  <a:gd name="T3" fmla="*/ 13 h 15"/>
                  <a:gd name="T4" fmla="*/ 18 w 60"/>
                  <a:gd name="T5" fmla="*/ 14 h 15"/>
                  <a:gd name="T6" fmla="*/ 27 w 60"/>
                  <a:gd name="T7" fmla="*/ 15 h 15"/>
                  <a:gd name="T8" fmla="*/ 35 w 60"/>
                  <a:gd name="T9" fmla="*/ 15 h 15"/>
                  <a:gd name="T10" fmla="*/ 41 w 60"/>
                  <a:gd name="T11" fmla="*/ 14 h 15"/>
                  <a:gd name="T12" fmla="*/ 48 w 60"/>
                  <a:gd name="T13" fmla="*/ 12 h 15"/>
                  <a:gd name="T14" fmla="*/ 55 w 60"/>
                  <a:gd name="T15" fmla="*/ 9 h 15"/>
                  <a:gd name="T16" fmla="*/ 60 w 60"/>
                  <a:gd name="T17" fmla="*/ 5 h 15"/>
                  <a:gd name="T18" fmla="*/ 57 w 60"/>
                  <a:gd name="T19" fmla="*/ 3 h 15"/>
                  <a:gd name="T20" fmla="*/ 54 w 60"/>
                  <a:gd name="T21" fmla="*/ 0 h 15"/>
                  <a:gd name="T22" fmla="*/ 51 w 60"/>
                  <a:gd name="T23" fmla="*/ 0 h 15"/>
                  <a:gd name="T24" fmla="*/ 47 w 60"/>
                  <a:gd name="T25" fmla="*/ 0 h 15"/>
                  <a:gd name="T26" fmla="*/ 40 w 60"/>
                  <a:gd name="T27" fmla="*/ 0 h 15"/>
                  <a:gd name="T28" fmla="*/ 33 w 60"/>
                  <a:gd name="T29" fmla="*/ 3 h 15"/>
                  <a:gd name="T30" fmla="*/ 24 w 60"/>
                  <a:gd name="T31" fmla="*/ 6 h 15"/>
                  <a:gd name="T32" fmla="*/ 16 w 60"/>
                  <a:gd name="T33" fmla="*/ 8 h 15"/>
                  <a:gd name="T34" fmla="*/ 7 w 60"/>
                  <a:gd name="T35" fmla="*/ 10 h 15"/>
                  <a:gd name="T36" fmla="*/ 0 w 60"/>
                  <a:gd name="T37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0" name="Freeform 202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3624433" y="5643153"/>
                <a:ext cx="44341" cy="57162"/>
              </a:xfrm>
              <a:custGeom>
                <a:avLst/>
                <a:gdLst>
                  <a:gd name="T0" fmla="*/ 40 w 79"/>
                  <a:gd name="T1" fmla="*/ 0 h 32"/>
                  <a:gd name="T2" fmla="*/ 34 w 79"/>
                  <a:gd name="T3" fmla="*/ 1 h 32"/>
                  <a:gd name="T4" fmla="*/ 30 w 79"/>
                  <a:gd name="T5" fmla="*/ 2 h 32"/>
                  <a:gd name="T6" fmla="*/ 25 w 79"/>
                  <a:gd name="T7" fmla="*/ 4 h 32"/>
                  <a:gd name="T8" fmla="*/ 20 w 79"/>
                  <a:gd name="T9" fmla="*/ 6 h 32"/>
                  <a:gd name="T10" fmla="*/ 15 w 79"/>
                  <a:gd name="T11" fmla="*/ 9 h 32"/>
                  <a:gd name="T12" fmla="*/ 10 w 79"/>
                  <a:gd name="T13" fmla="*/ 11 h 32"/>
                  <a:gd name="T14" fmla="*/ 5 w 79"/>
                  <a:gd name="T15" fmla="*/ 12 h 32"/>
                  <a:gd name="T16" fmla="*/ 0 w 79"/>
                  <a:gd name="T17" fmla="*/ 13 h 32"/>
                  <a:gd name="T18" fmla="*/ 5 w 79"/>
                  <a:gd name="T19" fmla="*/ 21 h 32"/>
                  <a:gd name="T20" fmla="*/ 10 w 79"/>
                  <a:gd name="T21" fmla="*/ 26 h 32"/>
                  <a:gd name="T22" fmla="*/ 12 w 79"/>
                  <a:gd name="T23" fmla="*/ 29 h 32"/>
                  <a:gd name="T24" fmla="*/ 15 w 79"/>
                  <a:gd name="T25" fmla="*/ 31 h 32"/>
                  <a:gd name="T26" fmla="*/ 18 w 79"/>
                  <a:gd name="T27" fmla="*/ 31 h 32"/>
                  <a:gd name="T28" fmla="*/ 20 w 79"/>
                  <a:gd name="T29" fmla="*/ 32 h 32"/>
                  <a:gd name="T30" fmla="*/ 27 w 79"/>
                  <a:gd name="T31" fmla="*/ 31 h 32"/>
                  <a:gd name="T32" fmla="*/ 34 w 79"/>
                  <a:gd name="T33" fmla="*/ 30 h 32"/>
                  <a:gd name="T34" fmla="*/ 41 w 79"/>
                  <a:gd name="T35" fmla="*/ 27 h 32"/>
                  <a:gd name="T36" fmla="*/ 48 w 79"/>
                  <a:gd name="T37" fmla="*/ 24 h 32"/>
                  <a:gd name="T38" fmla="*/ 62 w 79"/>
                  <a:gd name="T39" fmla="*/ 18 h 32"/>
                  <a:gd name="T40" fmla="*/ 79 w 79"/>
                  <a:gd name="T41" fmla="*/ 13 h 32"/>
                  <a:gd name="T42" fmla="*/ 67 w 79"/>
                  <a:gd name="T43" fmla="*/ 6 h 32"/>
                  <a:gd name="T44" fmla="*/ 58 w 79"/>
                  <a:gd name="T45" fmla="*/ 2 h 32"/>
                  <a:gd name="T46" fmla="*/ 49 w 79"/>
                  <a:gd name="T47" fmla="*/ 1 h 32"/>
                  <a:gd name="T48" fmla="*/ 40 w 79"/>
                  <a:gd name="T4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1" name="Freeform 203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3615988" y="5624098"/>
                <a:ext cx="40118" cy="57162"/>
              </a:xfrm>
              <a:custGeom>
                <a:avLst/>
                <a:gdLst>
                  <a:gd name="T0" fmla="*/ 33 w 66"/>
                  <a:gd name="T1" fmla="*/ 0 h 19"/>
                  <a:gd name="T2" fmla="*/ 25 w 66"/>
                  <a:gd name="T3" fmla="*/ 1 h 19"/>
                  <a:gd name="T4" fmla="*/ 19 w 66"/>
                  <a:gd name="T5" fmla="*/ 2 h 19"/>
                  <a:gd name="T6" fmla="*/ 13 w 66"/>
                  <a:gd name="T7" fmla="*/ 4 h 19"/>
                  <a:gd name="T8" fmla="*/ 9 w 66"/>
                  <a:gd name="T9" fmla="*/ 7 h 19"/>
                  <a:gd name="T10" fmla="*/ 5 w 66"/>
                  <a:gd name="T11" fmla="*/ 11 h 19"/>
                  <a:gd name="T12" fmla="*/ 2 w 66"/>
                  <a:gd name="T13" fmla="*/ 14 h 19"/>
                  <a:gd name="T14" fmla="*/ 0 w 66"/>
                  <a:gd name="T15" fmla="*/ 17 h 19"/>
                  <a:gd name="T16" fmla="*/ 0 w 66"/>
                  <a:gd name="T17" fmla="*/ 19 h 19"/>
                  <a:gd name="T18" fmla="*/ 19 w 66"/>
                  <a:gd name="T19" fmla="*/ 19 h 19"/>
                  <a:gd name="T20" fmla="*/ 38 w 66"/>
                  <a:gd name="T21" fmla="*/ 19 h 19"/>
                  <a:gd name="T22" fmla="*/ 46 w 66"/>
                  <a:gd name="T23" fmla="*/ 18 h 19"/>
                  <a:gd name="T24" fmla="*/ 54 w 66"/>
                  <a:gd name="T25" fmla="*/ 17 h 19"/>
                  <a:gd name="T26" fmla="*/ 61 w 66"/>
                  <a:gd name="T27" fmla="*/ 15 h 19"/>
                  <a:gd name="T28" fmla="*/ 66 w 66"/>
                  <a:gd name="T29" fmla="*/ 13 h 19"/>
                  <a:gd name="T30" fmla="*/ 57 w 66"/>
                  <a:gd name="T31" fmla="*/ 8 h 19"/>
                  <a:gd name="T32" fmla="*/ 50 w 66"/>
                  <a:gd name="T33" fmla="*/ 4 h 19"/>
                  <a:gd name="T34" fmla="*/ 42 w 66"/>
                  <a:gd name="T35" fmla="*/ 1 h 19"/>
                  <a:gd name="T36" fmla="*/ 33 w 66"/>
                  <a:gd name="T3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2" name="Freeform 204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3369831" y="5314465"/>
                <a:ext cx="33783" cy="60339"/>
              </a:xfrm>
              <a:custGeom>
                <a:avLst/>
                <a:gdLst>
                  <a:gd name="T0" fmla="*/ 13 w 53"/>
                  <a:gd name="T1" fmla="*/ 0 h 80"/>
                  <a:gd name="T2" fmla="*/ 8 w 53"/>
                  <a:gd name="T3" fmla="*/ 5 h 80"/>
                  <a:gd name="T4" fmla="*/ 4 w 53"/>
                  <a:gd name="T5" fmla="*/ 10 h 80"/>
                  <a:gd name="T6" fmla="*/ 2 w 53"/>
                  <a:gd name="T7" fmla="*/ 13 h 80"/>
                  <a:gd name="T8" fmla="*/ 1 w 53"/>
                  <a:gd name="T9" fmla="*/ 16 h 80"/>
                  <a:gd name="T10" fmla="*/ 0 w 53"/>
                  <a:gd name="T11" fmla="*/ 20 h 80"/>
                  <a:gd name="T12" fmla="*/ 0 w 53"/>
                  <a:gd name="T13" fmla="*/ 25 h 80"/>
                  <a:gd name="T14" fmla="*/ 0 w 53"/>
                  <a:gd name="T15" fmla="*/ 30 h 80"/>
                  <a:gd name="T16" fmla="*/ 2 w 53"/>
                  <a:gd name="T17" fmla="*/ 39 h 80"/>
                  <a:gd name="T18" fmla="*/ 6 w 53"/>
                  <a:gd name="T19" fmla="*/ 48 h 80"/>
                  <a:gd name="T20" fmla="*/ 9 w 53"/>
                  <a:gd name="T21" fmla="*/ 57 h 80"/>
                  <a:gd name="T22" fmla="*/ 13 w 53"/>
                  <a:gd name="T23" fmla="*/ 66 h 80"/>
                  <a:gd name="T24" fmla="*/ 20 w 53"/>
                  <a:gd name="T25" fmla="*/ 73 h 80"/>
                  <a:gd name="T26" fmla="*/ 22 w 53"/>
                  <a:gd name="T27" fmla="*/ 76 h 80"/>
                  <a:gd name="T28" fmla="*/ 26 w 53"/>
                  <a:gd name="T29" fmla="*/ 78 h 80"/>
                  <a:gd name="T30" fmla="*/ 30 w 53"/>
                  <a:gd name="T31" fmla="*/ 80 h 80"/>
                  <a:gd name="T32" fmla="*/ 33 w 53"/>
                  <a:gd name="T33" fmla="*/ 80 h 80"/>
                  <a:gd name="T34" fmla="*/ 36 w 53"/>
                  <a:gd name="T35" fmla="*/ 79 h 80"/>
                  <a:gd name="T36" fmla="*/ 38 w 53"/>
                  <a:gd name="T37" fmla="*/ 78 h 80"/>
                  <a:gd name="T38" fmla="*/ 42 w 53"/>
                  <a:gd name="T39" fmla="*/ 76 h 80"/>
                  <a:gd name="T40" fmla="*/ 45 w 53"/>
                  <a:gd name="T41" fmla="*/ 73 h 80"/>
                  <a:gd name="T42" fmla="*/ 48 w 53"/>
                  <a:gd name="T43" fmla="*/ 70 h 80"/>
                  <a:gd name="T44" fmla="*/ 51 w 53"/>
                  <a:gd name="T45" fmla="*/ 67 h 80"/>
                  <a:gd name="T46" fmla="*/ 53 w 53"/>
                  <a:gd name="T47" fmla="*/ 64 h 80"/>
                  <a:gd name="T48" fmla="*/ 53 w 53"/>
                  <a:gd name="T49" fmla="*/ 62 h 80"/>
                  <a:gd name="T50" fmla="*/ 52 w 53"/>
                  <a:gd name="T51" fmla="*/ 54 h 80"/>
                  <a:gd name="T52" fmla="*/ 49 w 53"/>
                  <a:gd name="T53" fmla="*/ 47 h 80"/>
                  <a:gd name="T54" fmla="*/ 46 w 53"/>
                  <a:gd name="T55" fmla="*/ 42 h 80"/>
                  <a:gd name="T56" fmla="*/ 43 w 53"/>
                  <a:gd name="T57" fmla="*/ 37 h 80"/>
                  <a:gd name="T58" fmla="*/ 40 w 53"/>
                  <a:gd name="T59" fmla="*/ 32 h 80"/>
                  <a:gd name="T60" fmla="*/ 36 w 53"/>
                  <a:gd name="T61" fmla="*/ 27 h 80"/>
                  <a:gd name="T62" fmla="*/ 34 w 53"/>
                  <a:gd name="T63" fmla="*/ 20 h 80"/>
                  <a:gd name="T64" fmla="*/ 33 w 53"/>
                  <a:gd name="T65" fmla="*/ 12 h 80"/>
                  <a:gd name="T66" fmla="*/ 33 w 53"/>
                  <a:gd name="T67" fmla="*/ 10 h 80"/>
                  <a:gd name="T68" fmla="*/ 31 w 53"/>
                  <a:gd name="T69" fmla="*/ 8 h 80"/>
                  <a:gd name="T70" fmla="*/ 29 w 53"/>
                  <a:gd name="T71" fmla="*/ 6 h 80"/>
                  <a:gd name="T72" fmla="*/ 25 w 53"/>
                  <a:gd name="T73" fmla="*/ 4 h 80"/>
                  <a:gd name="T74" fmla="*/ 19 w 53"/>
                  <a:gd name="T75" fmla="*/ 1 h 80"/>
                  <a:gd name="T76" fmla="*/ 13 w 53"/>
                  <a:gd name="T7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3" name="Freeform 205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3409947" y="5409736"/>
                <a:ext cx="23226" cy="53987"/>
              </a:xfrm>
              <a:custGeom>
                <a:avLst/>
                <a:gdLst>
                  <a:gd name="T0" fmla="*/ 0 w 41"/>
                  <a:gd name="T1" fmla="*/ 43 h 43"/>
                  <a:gd name="T2" fmla="*/ 27 w 41"/>
                  <a:gd name="T3" fmla="*/ 43 h 43"/>
                  <a:gd name="T4" fmla="*/ 41 w 41"/>
                  <a:gd name="T5" fmla="*/ 24 h 43"/>
                  <a:gd name="T6" fmla="*/ 38 w 41"/>
                  <a:gd name="T7" fmla="*/ 12 h 43"/>
                  <a:gd name="T8" fmla="*/ 34 w 41"/>
                  <a:gd name="T9" fmla="*/ 0 h 43"/>
                  <a:gd name="T10" fmla="*/ 27 w 41"/>
                  <a:gd name="T11" fmla="*/ 4 h 43"/>
                  <a:gd name="T12" fmla="*/ 20 w 41"/>
                  <a:gd name="T13" fmla="*/ 9 h 43"/>
                  <a:gd name="T14" fmla="*/ 15 w 41"/>
                  <a:gd name="T15" fmla="*/ 14 h 43"/>
                  <a:gd name="T16" fmla="*/ 10 w 41"/>
                  <a:gd name="T17" fmla="*/ 19 h 43"/>
                  <a:gd name="T18" fmla="*/ 6 w 41"/>
                  <a:gd name="T19" fmla="*/ 24 h 43"/>
                  <a:gd name="T20" fmla="*/ 3 w 41"/>
                  <a:gd name="T21" fmla="*/ 30 h 43"/>
                  <a:gd name="T22" fmla="*/ 1 w 41"/>
                  <a:gd name="T23" fmla="*/ 37 h 43"/>
                  <a:gd name="T24" fmla="*/ 0 w 41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4" name="Freeform 206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3416282" y="5431967"/>
                <a:ext cx="10556" cy="58751"/>
              </a:xfrm>
              <a:custGeom>
                <a:avLst/>
                <a:gdLst>
                  <a:gd name="T0" fmla="*/ 20 w 20"/>
                  <a:gd name="T1" fmla="*/ 0 h 24"/>
                  <a:gd name="T2" fmla="*/ 0 w 20"/>
                  <a:gd name="T3" fmla="*/ 0 h 24"/>
                  <a:gd name="T4" fmla="*/ 1 w 20"/>
                  <a:gd name="T5" fmla="*/ 5 h 24"/>
                  <a:gd name="T6" fmla="*/ 2 w 20"/>
                  <a:gd name="T7" fmla="*/ 9 h 24"/>
                  <a:gd name="T8" fmla="*/ 4 w 20"/>
                  <a:gd name="T9" fmla="*/ 13 h 24"/>
                  <a:gd name="T10" fmla="*/ 7 w 20"/>
                  <a:gd name="T11" fmla="*/ 17 h 24"/>
                  <a:gd name="T12" fmla="*/ 10 w 20"/>
                  <a:gd name="T13" fmla="*/ 20 h 24"/>
                  <a:gd name="T14" fmla="*/ 14 w 20"/>
                  <a:gd name="T15" fmla="*/ 22 h 24"/>
                  <a:gd name="T16" fmla="*/ 17 w 20"/>
                  <a:gd name="T17" fmla="*/ 24 h 24"/>
                  <a:gd name="T18" fmla="*/ 20 w 20"/>
                  <a:gd name="T19" fmla="*/ 24 h 24"/>
                  <a:gd name="T20" fmla="*/ 20 w 20"/>
                  <a:gd name="T2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5" name="Freeform 207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3435284" y="5493892"/>
                <a:ext cx="23226" cy="60339"/>
              </a:xfrm>
              <a:custGeom>
                <a:avLst/>
                <a:gdLst>
                  <a:gd name="T0" fmla="*/ 0 w 39"/>
                  <a:gd name="T1" fmla="*/ 12 h 43"/>
                  <a:gd name="T2" fmla="*/ 2 w 39"/>
                  <a:gd name="T3" fmla="*/ 17 h 43"/>
                  <a:gd name="T4" fmla="*/ 6 w 39"/>
                  <a:gd name="T5" fmla="*/ 22 h 43"/>
                  <a:gd name="T6" fmla="*/ 12 w 39"/>
                  <a:gd name="T7" fmla="*/ 27 h 43"/>
                  <a:gd name="T8" fmla="*/ 16 w 39"/>
                  <a:gd name="T9" fmla="*/ 32 h 43"/>
                  <a:gd name="T10" fmla="*/ 23 w 39"/>
                  <a:gd name="T11" fmla="*/ 37 h 43"/>
                  <a:gd name="T12" fmla="*/ 28 w 39"/>
                  <a:gd name="T13" fmla="*/ 40 h 43"/>
                  <a:gd name="T14" fmla="*/ 34 w 39"/>
                  <a:gd name="T15" fmla="*/ 43 h 43"/>
                  <a:gd name="T16" fmla="*/ 39 w 39"/>
                  <a:gd name="T17" fmla="*/ 43 h 43"/>
                  <a:gd name="T18" fmla="*/ 38 w 39"/>
                  <a:gd name="T19" fmla="*/ 32 h 43"/>
                  <a:gd name="T20" fmla="*/ 36 w 39"/>
                  <a:gd name="T21" fmla="*/ 19 h 43"/>
                  <a:gd name="T22" fmla="*/ 34 w 39"/>
                  <a:gd name="T23" fmla="*/ 8 h 43"/>
                  <a:gd name="T24" fmla="*/ 32 w 39"/>
                  <a:gd name="T25" fmla="*/ 0 h 43"/>
                  <a:gd name="T26" fmla="*/ 19 w 39"/>
                  <a:gd name="T27" fmla="*/ 3 h 43"/>
                  <a:gd name="T28" fmla="*/ 6 w 39"/>
                  <a:gd name="T29" fmla="*/ 6 h 43"/>
                  <a:gd name="T30" fmla="*/ 0 w 39"/>
                  <a:gd name="T31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6" name="Freeform 208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3531530" y="5506596"/>
                <a:ext cx="35895" cy="58752"/>
              </a:xfrm>
              <a:custGeom>
                <a:avLst/>
                <a:gdLst>
                  <a:gd name="T0" fmla="*/ 29 w 55"/>
                  <a:gd name="T1" fmla="*/ 26 h 62"/>
                  <a:gd name="T2" fmla="*/ 8 w 55"/>
                  <a:gd name="T3" fmla="*/ 0 h 62"/>
                  <a:gd name="T4" fmla="*/ 4 w 55"/>
                  <a:gd name="T5" fmla="*/ 5 h 62"/>
                  <a:gd name="T6" fmla="*/ 1 w 55"/>
                  <a:gd name="T7" fmla="*/ 11 h 62"/>
                  <a:gd name="T8" fmla="*/ 0 w 55"/>
                  <a:gd name="T9" fmla="*/ 16 h 62"/>
                  <a:gd name="T10" fmla="*/ 0 w 55"/>
                  <a:gd name="T11" fmla="*/ 21 h 62"/>
                  <a:gd name="T12" fmla="*/ 2 w 55"/>
                  <a:gd name="T13" fmla="*/ 26 h 62"/>
                  <a:gd name="T14" fmla="*/ 4 w 55"/>
                  <a:gd name="T15" fmla="*/ 31 h 62"/>
                  <a:gd name="T16" fmla="*/ 8 w 55"/>
                  <a:gd name="T17" fmla="*/ 36 h 62"/>
                  <a:gd name="T18" fmla="*/ 11 w 55"/>
                  <a:gd name="T19" fmla="*/ 41 h 62"/>
                  <a:gd name="T20" fmla="*/ 16 w 55"/>
                  <a:gd name="T21" fmla="*/ 45 h 62"/>
                  <a:gd name="T22" fmla="*/ 21 w 55"/>
                  <a:gd name="T23" fmla="*/ 49 h 62"/>
                  <a:gd name="T24" fmla="*/ 26 w 55"/>
                  <a:gd name="T25" fmla="*/ 53 h 62"/>
                  <a:gd name="T26" fmla="*/ 33 w 55"/>
                  <a:gd name="T27" fmla="*/ 56 h 62"/>
                  <a:gd name="T28" fmla="*/ 38 w 55"/>
                  <a:gd name="T29" fmla="*/ 58 h 62"/>
                  <a:gd name="T30" fmla="*/ 44 w 55"/>
                  <a:gd name="T31" fmla="*/ 60 h 62"/>
                  <a:gd name="T32" fmla="*/ 49 w 55"/>
                  <a:gd name="T33" fmla="*/ 61 h 62"/>
                  <a:gd name="T34" fmla="*/ 55 w 55"/>
                  <a:gd name="T35" fmla="*/ 62 h 62"/>
                  <a:gd name="T36" fmla="*/ 54 w 55"/>
                  <a:gd name="T37" fmla="*/ 53 h 62"/>
                  <a:gd name="T38" fmla="*/ 53 w 55"/>
                  <a:gd name="T39" fmla="*/ 46 h 62"/>
                  <a:gd name="T40" fmla="*/ 49 w 55"/>
                  <a:gd name="T41" fmla="*/ 40 h 62"/>
                  <a:gd name="T42" fmla="*/ 46 w 55"/>
                  <a:gd name="T43" fmla="*/ 35 h 62"/>
                  <a:gd name="T44" fmla="*/ 43 w 55"/>
                  <a:gd name="T45" fmla="*/ 31 h 62"/>
                  <a:gd name="T46" fmla="*/ 38 w 55"/>
                  <a:gd name="T47" fmla="*/ 28 h 62"/>
                  <a:gd name="T48" fmla="*/ 33 w 55"/>
                  <a:gd name="T49" fmla="*/ 26 h 62"/>
                  <a:gd name="T50" fmla="*/ 29 w 55"/>
                  <a:gd name="T51" fmla="*/ 2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" name="Freeform 209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3571649" y="5539942"/>
                <a:ext cx="14779" cy="58751"/>
              </a:xfrm>
              <a:custGeom>
                <a:avLst/>
                <a:gdLst>
                  <a:gd name="T0" fmla="*/ 33 w 35"/>
                  <a:gd name="T1" fmla="*/ 13 h 43"/>
                  <a:gd name="T2" fmla="*/ 7 w 35"/>
                  <a:gd name="T3" fmla="*/ 0 h 43"/>
                  <a:gd name="T4" fmla="*/ 4 w 35"/>
                  <a:gd name="T5" fmla="*/ 8 h 43"/>
                  <a:gd name="T6" fmla="*/ 0 w 35"/>
                  <a:gd name="T7" fmla="*/ 19 h 43"/>
                  <a:gd name="T8" fmla="*/ 2 w 35"/>
                  <a:gd name="T9" fmla="*/ 28 h 43"/>
                  <a:gd name="T10" fmla="*/ 5 w 35"/>
                  <a:gd name="T11" fmla="*/ 36 h 43"/>
                  <a:gd name="T12" fmla="*/ 6 w 35"/>
                  <a:gd name="T13" fmla="*/ 39 h 43"/>
                  <a:gd name="T14" fmla="*/ 8 w 35"/>
                  <a:gd name="T15" fmla="*/ 41 h 43"/>
                  <a:gd name="T16" fmla="*/ 11 w 35"/>
                  <a:gd name="T17" fmla="*/ 43 h 43"/>
                  <a:gd name="T18" fmla="*/ 14 w 35"/>
                  <a:gd name="T19" fmla="*/ 43 h 43"/>
                  <a:gd name="T20" fmla="*/ 18 w 35"/>
                  <a:gd name="T21" fmla="*/ 43 h 43"/>
                  <a:gd name="T22" fmla="*/ 22 w 35"/>
                  <a:gd name="T23" fmla="*/ 42 h 43"/>
                  <a:gd name="T24" fmla="*/ 26 w 35"/>
                  <a:gd name="T25" fmla="*/ 41 h 43"/>
                  <a:gd name="T26" fmla="*/ 28 w 35"/>
                  <a:gd name="T27" fmla="*/ 39 h 43"/>
                  <a:gd name="T28" fmla="*/ 31 w 35"/>
                  <a:gd name="T29" fmla="*/ 35 h 43"/>
                  <a:gd name="T30" fmla="*/ 33 w 35"/>
                  <a:gd name="T31" fmla="*/ 30 h 43"/>
                  <a:gd name="T32" fmla="*/ 35 w 35"/>
                  <a:gd name="T33" fmla="*/ 20 h 43"/>
                  <a:gd name="T34" fmla="*/ 33 w 35"/>
                  <a:gd name="T35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8" name="Freeform 210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3567425" y="5573286"/>
                <a:ext cx="27448" cy="55576"/>
              </a:xfrm>
              <a:custGeom>
                <a:avLst/>
                <a:gdLst>
                  <a:gd name="T0" fmla="*/ 53 w 53"/>
                  <a:gd name="T1" fmla="*/ 0 h 21"/>
                  <a:gd name="T2" fmla="*/ 41 w 53"/>
                  <a:gd name="T3" fmla="*/ 1 h 21"/>
                  <a:gd name="T4" fmla="*/ 32 w 53"/>
                  <a:gd name="T5" fmla="*/ 2 h 21"/>
                  <a:gd name="T6" fmla="*/ 25 w 53"/>
                  <a:gd name="T7" fmla="*/ 5 h 21"/>
                  <a:gd name="T8" fmla="*/ 21 w 53"/>
                  <a:gd name="T9" fmla="*/ 7 h 21"/>
                  <a:gd name="T10" fmla="*/ 17 w 53"/>
                  <a:gd name="T11" fmla="*/ 10 h 21"/>
                  <a:gd name="T12" fmla="*/ 13 w 53"/>
                  <a:gd name="T13" fmla="*/ 13 h 21"/>
                  <a:gd name="T14" fmla="*/ 8 w 53"/>
                  <a:gd name="T15" fmla="*/ 16 h 21"/>
                  <a:gd name="T16" fmla="*/ 0 w 53"/>
                  <a:gd name="T17" fmla="*/ 18 h 21"/>
                  <a:gd name="T18" fmla="*/ 5 w 53"/>
                  <a:gd name="T19" fmla="*/ 20 h 21"/>
                  <a:gd name="T20" fmla="*/ 11 w 53"/>
                  <a:gd name="T21" fmla="*/ 21 h 21"/>
                  <a:gd name="T22" fmla="*/ 17 w 53"/>
                  <a:gd name="T23" fmla="*/ 21 h 21"/>
                  <a:gd name="T24" fmla="*/ 24 w 53"/>
                  <a:gd name="T25" fmla="*/ 21 h 21"/>
                  <a:gd name="T26" fmla="*/ 38 w 53"/>
                  <a:gd name="T27" fmla="*/ 19 h 21"/>
                  <a:gd name="T28" fmla="*/ 53 w 53"/>
                  <a:gd name="T29" fmla="*/ 18 h 21"/>
                  <a:gd name="T30" fmla="*/ 53 w 53"/>
                  <a:gd name="T3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9" name="Freeform 211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3599097" y="5587578"/>
                <a:ext cx="23226" cy="57162"/>
              </a:xfrm>
              <a:custGeom>
                <a:avLst/>
                <a:gdLst>
                  <a:gd name="T0" fmla="*/ 22 w 43"/>
                  <a:gd name="T1" fmla="*/ 0 h 38"/>
                  <a:gd name="T2" fmla="*/ 12 w 43"/>
                  <a:gd name="T3" fmla="*/ 0 h 38"/>
                  <a:gd name="T4" fmla="*/ 2 w 43"/>
                  <a:gd name="T5" fmla="*/ 0 h 38"/>
                  <a:gd name="T6" fmla="*/ 1 w 43"/>
                  <a:gd name="T7" fmla="*/ 0 h 38"/>
                  <a:gd name="T8" fmla="*/ 0 w 43"/>
                  <a:gd name="T9" fmla="*/ 1 h 38"/>
                  <a:gd name="T10" fmla="*/ 0 w 43"/>
                  <a:gd name="T11" fmla="*/ 3 h 38"/>
                  <a:gd name="T12" fmla="*/ 0 w 43"/>
                  <a:gd name="T13" fmla="*/ 6 h 38"/>
                  <a:gd name="T14" fmla="*/ 1 w 43"/>
                  <a:gd name="T15" fmla="*/ 10 h 38"/>
                  <a:gd name="T16" fmla="*/ 2 w 43"/>
                  <a:gd name="T17" fmla="*/ 12 h 38"/>
                  <a:gd name="T18" fmla="*/ 3 w 43"/>
                  <a:gd name="T19" fmla="*/ 18 h 38"/>
                  <a:gd name="T20" fmla="*/ 5 w 43"/>
                  <a:gd name="T21" fmla="*/ 25 h 38"/>
                  <a:gd name="T22" fmla="*/ 10 w 43"/>
                  <a:gd name="T23" fmla="*/ 30 h 38"/>
                  <a:gd name="T24" fmla="*/ 15 w 43"/>
                  <a:gd name="T25" fmla="*/ 34 h 38"/>
                  <a:gd name="T26" fmla="*/ 21 w 43"/>
                  <a:gd name="T27" fmla="*/ 37 h 38"/>
                  <a:gd name="T28" fmla="*/ 27 w 43"/>
                  <a:gd name="T29" fmla="*/ 38 h 38"/>
                  <a:gd name="T30" fmla="*/ 35 w 43"/>
                  <a:gd name="T31" fmla="*/ 38 h 38"/>
                  <a:gd name="T32" fmla="*/ 43 w 43"/>
                  <a:gd name="T33" fmla="*/ 37 h 38"/>
                  <a:gd name="T34" fmla="*/ 40 w 43"/>
                  <a:gd name="T35" fmla="*/ 29 h 38"/>
                  <a:gd name="T36" fmla="*/ 36 w 43"/>
                  <a:gd name="T37" fmla="*/ 23 h 38"/>
                  <a:gd name="T38" fmla="*/ 33 w 43"/>
                  <a:gd name="T39" fmla="*/ 17 h 38"/>
                  <a:gd name="T40" fmla="*/ 30 w 43"/>
                  <a:gd name="T41" fmla="*/ 13 h 38"/>
                  <a:gd name="T42" fmla="*/ 27 w 43"/>
                  <a:gd name="T43" fmla="*/ 10 h 38"/>
                  <a:gd name="T44" fmla="*/ 24 w 43"/>
                  <a:gd name="T45" fmla="*/ 7 h 38"/>
                  <a:gd name="T46" fmla="*/ 23 w 43"/>
                  <a:gd name="T47" fmla="*/ 4 h 38"/>
                  <a:gd name="T48" fmla="*/ 22 w 43"/>
                  <a:gd name="T4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0" name="Freeform 212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3601209" y="5616159"/>
                <a:ext cx="8446" cy="57162"/>
              </a:xfrm>
              <a:custGeom>
                <a:avLst/>
                <a:gdLst>
                  <a:gd name="T0" fmla="*/ 0 w 20"/>
                  <a:gd name="T1" fmla="*/ 0 h 5"/>
                  <a:gd name="T2" fmla="*/ 1 w 20"/>
                  <a:gd name="T3" fmla="*/ 2 h 5"/>
                  <a:gd name="T4" fmla="*/ 2 w 20"/>
                  <a:gd name="T5" fmla="*/ 3 h 5"/>
                  <a:gd name="T6" fmla="*/ 4 w 20"/>
                  <a:gd name="T7" fmla="*/ 4 h 5"/>
                  <a:gd name="T8" fmla="*/ 7 w 20"/>
                  <a:gd name="T9" fmla="*/ 5 h 5"/>
                  <a:gd name="T10" fmla="*/ 11 w 20"/>
                  <a:gd name="T11" fmla="*/ 4 h 5"/>
                  <a:gd name="T12" fmla="*/ 14 w 20"/>
                  <a:gd name="T13" fmla="*/ 3 h 5"/>
                  <a:gd name="T14" fmla="*/ 17 w 20"/>
                  <a:gd name="T15" fmla="*/ 2 h 5"/>
                  <a:gd name="T16" fmla="*/ 20 w 20"/>
                  <a:gd name="T17" fmla="*/ 0 h 5"/>
                  <a:gd name="T18" fmla="*/ 0 w 20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1" name="Freeform 213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3700446" y="5686026"/>
                <a:ext cx="46451" cy="57162"/>
              </a:xfrm>
              <a:custGeom>
                <a:avLst/>
                <a:gdLst>
                  <a:gd name="T0" fmla="*/ 40 w 73"/>
                  <a:gd name="T1" fmla="*/ 0 h 22"/>
                  <a:gd name="T2" fmla="*/ 32 w 73"/>
                  <a:gd name="T3" fmla="*/ 1 h 22"/>
                  <a:gd name="T4" fmla="*/ 26 w 73"/>
                  <a:gd name="T5" fmla="*/ 2 h 22"/>
                  <a:gd name="T6" fmla="*/ 20 w 73"/>
                  <a:gd name="T7" fmla="*/ 5 h 22"/>
                  <a:gd name="T8" fmla="*/ 15 w 73"/>
                  <a:gd name="T9" fmla="*/ 8 h 22"/>
                  <a:gd name="T10" fmla="*/ 6 w 73"/>
                  <a:gd name="T11" fmla="*/ 14 h 22"/>
                  <a:gd name="T12" fmla="*/ 0 w 73"/>
                  <a:gd name="T13" fmla="*/ 19 h 22"/>
                  <a:gd name="T14" fmla="*/ 20 w 73"/>
                  <a:gd name="T15" fmla="*/ 20 h 22"/>
                  <a:gd name="T16" fmla="*/ 39 w 73"/>
                  <a:gd name="T17" fmla="*/ 22 h 22"/>
                  <a:gd name="T18" fmla="*/ 49 w 73"/>
                  <a:gd name="T19" fmla="*/ 22 h 22"/>
                  <a:gd name="T20" fmla="*/ 57 w 73"/>
                  <a:gd name="T21" fmla="*/ 22 h 22"/>
                  <a:gd name="T22" fmla="*/ 65 w 73"/>
                  <a:gd name="T23" fmla="*/ 21 h 22"/>
                  <a:gd name="T24" fmla="*/ 73 w 73"/>
                  <a:gd name="T25" fmla="*/ 19 h 22"/>
                  <a:gd name="T26" fmla="*/ 64 w 73"/>
                  <a:gd name="T27" fmla="*/ 14 h 22"/>
                  <a:gd name="T28" fmla="*/ 56 w 73"/>
                  <a:gd name="T29" fmla="*/ 8 h 22"/>
                  <a:gd name="T30" fmla="*/ 53 w 73"/>
                  <a:gd name="T31" fmla="*/ 5 h 22"/>
                  <a:gd name="T32" fmla="*/ 49 w 73"/>
                  <a:gd name="T33" fmla="*/ 2 h 22"/>
                  <a:gd name="T34" fmla="*/ 44 w 73"/>
                  <a:gd name="T35" fmla="*/ 1 h 22"/>
                  <a:gd name="T36" fmla="*/ 40 w 73"/>
                  <a:gd name="T3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2" name="Freeform 214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3751120" y="5627274"/>
                <a:ext cx="164692" cy="100035"/>
              </a:xfrm>
              <a:custGeom>
                <a:avLst/>
                <a:gdLst>
                  <a:gd name="T0" fmla="*/ 235 w 281"/>
                  <a:gd name="T1" fmla="*/ 168 h 193"/>
                  <a:gd name="T2" fmla="*/ 188 w 281"/>
                  <a:gd name="T3" fmla="*/ 171 h 193"/>
                  <a:gd name="T4" fmla="*/ 168 w 281"/>
                  <a:gd name="T5" fmla="*/ 168 h 193"/>
                  <a:gd name="T6" fmla="*/ 155 w 281"/>
                  <a:gd name="T7" fmla="*/ 164 h 193"/>
                  <a:gd name="T8" fmla="*/ 130 w 281"/>
                  <a:gd name="T9" fmla="*/ 135 h 193"/>
                  <a:gd name="T10" fmla="*/ 104 w 281"/>
                  <a:gd name="T11" fmla="*/ 94 h 193"/>
                  <a:gd name="T12" fmla="*/ 94 w 281"/>
                  <a:gd name="T13" fmla="*/ 74 h 193"/>
                  <a:gd name="T14" fmla="*/ 87 w 281"/>
                  <a:gd name="T15" fmla="*/ 51 h 193"/>
                  <a:gd name="T16" fmla="*/ 83 w 281"/>
                  <a:gd name="T17" fmla="*/ 27 h 193"/>
                  <a:gd name="T18" fmla="*/ 43 w 281"/>
                  <a:gd name="T19" fmla="*/ 0 h 193"/>
                  <a:gd name="T20" fmla="*/ 28 w 281"/>
                  <a:gd name="T21" fmla="*/ 52 h 193"/>
                  <a:gd name="T22" fmla="*/ 18 w 281"/>
                  <a:gd name="T23" fmla="*/ 61 h 193"/>
                  <a:gd name="T24" fmla="*/ 6 w 281"/>
                  <a:gd name="T25" fmla="*/ 69 h 193"/>
                  <a:gd name="T26" fmla="*/ 0 w 281"/>
                  <a:gd name="T27" fmla="*/ 73 h 193"/>
                  <a:gd name="T28" fmla="*/ 1 w 281"/>
                  <a:gd name="T29" fmla="*/ 75 h 193"/>
                  <a:gd name="T30" fmla="*/ 9 w 281"/>
                  <a:gd name="T31" fmla="*/ 81 h 193"/>
                  <a:gd name="T32" fmla="*/ 37 w 281"/>
                  <a:gd name="T33" fmla="*/ 111 h 193"/>
                  <a:gd name="T34" fmla="*/ 45 w 281"/>
                  <a:gd name="T35" fmla="*/ 122 h 193"/>
                  <a:gd name="T36" fmla="*/ 53 w 281"/>
                  <a:gd name="T37" fmla="*/ 129 h 193"/>
                  <a:gd name="T38" fmla="*/ 62 w 281"/>
                  <a:gd name="T39" fmla="*/ 134 h 193"/>
                  <a:gd name="T40" fmla="*/ 71 w 281"/>
                  <a:gd name="T41" fmla="*/ 136 h 193"/>
                  <a:gd name="T42" fmla="*/ 76 w 281"/>
                  <a:gd name="T43" fmla="*/ 141 h 193"/>
                  <a:gd name="T44" fmla="*/ 79 w 281"/>
                  <a:gd name="T45" fmla="*/ 148 h 193"/>
                  <a:gd name="T46" fmla="*/ 86 w 281"/>
                  <a:gd name="T47" fmla="*/ 153 h 193"/>
                  <a:gd name="T48" fmla="*/ 99 w 281"/>
                  <a:gd name="T49" fmla="*/ 154 h 193"/>
                  <a:gd name="T50" fmla="*/ 106 w 281"/>
                  <a:gd name="T51" fmla="*/ 157 h 193"/>
                  <a:gd name="T52" fmla="*/ 109 w 281"/>
                  <a:gd name="T53" fmla="*/ 163 h 193"/>
                  <a:gd name="T54" fmla="*/ 109 w 281"/>
                  <a:gd name="T55" fmla="*/ 179 h 193"/>
                  <a:gd name="T56" fmla="*/ 111 w 281"/>
                  <a:gd name="T57" fmla="*/ 189 h 193"/>
                  <a:gd name="T58" fmla="*/ 115 w 281"/>
                  <a:gd name="T59" fmla="*/ 193 h 193"/>
                  <a:gd name="T60" fmla="*/ 129 w 281"/>
                  <a:gd name="T61" fmla="*/ 193 h 193"/>
                  <a:gd name="T62" fmla="*/ 164 w 281"/>
                  <a:gd name="T63" fmla="*/ 191 h 193"/>
                  <a:gd name="T64" fmla="*/ 180 w 281"/>
                  <a:gd name="T65" fmla="*/ 189 h 193"/>
                  <a:gd name="T66" fmla="*/ 192 w 281"/>
                  <a:gd name="T67" fmla="*/ 186 h 193"/>
                  <a:gd name="T68" fmla="*/ 212 w 281"/>
                  <a:gd name="T69" fmla="*/ 188 h 193"/>
                  <a:gd name="T70" fmla="*/ 281 w 281"/>
                  <a:gd name="T71" fmla="*/ 16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3" name="Freeform 215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3042558" y="3393146"/>
                <a:ext cx="69678" cy="58751"/>
              </a:xfrm>
              <a:custGeom>
                <a:avLst/>
                <a:gdLst>
                  <a:gd name="T0" fmla="*/ 0 w 120"/>
                  <a:gd name="T1" fmla="*/ 18 h 56"/>
                  <a:gd name="T2" fmla="*/ 4 w 120"/>
                  <a:gd name="T3" fmla="*/ 26 h 56"/>
                  <a:gd name="T4" fmla="*/ 10 w 120"/>
                  <a:gd name="T5" fmla="*/ 33 h 56"/>
                  <a:gd name="T6" fmla="*/ 15 w 120"/>
                  <a:gd name="T7" fmla="*/ 37 h 56"/>
                  <a:gd name="T8" fmla="*/ 21 w 120"/>
                  <a:gd name="T9" fmla="*/ 41 h 56"/>
                  <a:gd name="T10" fmla="*/ 27 w 120"/>
                  <a:gd name="T11" fmla="*/ 44 h 56"/>
                  <a:gd name="T12" fmla="*/ 35 w 120"/>
                  <a:gd name="T13" fmla="*/ 46 h 56"/>
                  <a:gd name="T14" fmla="*/ 43 w 120"/>
                  <a:gd name="T15" fmla="*/ 48 h 56"/>
                  <a:gd name="T16" fmla="*/ 51 w 120"/>
                  <a:gd name="T17" fmla="*/ 49 h 56"/>
                  <a:gd name="T18" fmla="*/ 67 w 120"/>
                  <a:gd name="T19" fmla="*/ 50 h 56"/>
                  <a:gd name="T20" fmla="*/ 85 w 120"/>
                  <a:gd name="T21" fmla="*/ 51 h 56"/>
                  <a:gd name="T22" fmla="*/ 102 w 120"/>
                  <a:gd name="T23" fmla="*/ 52 h 56"/>
                  <a:gd name="T24" fmla="*/ 120 w 120"/>
                  <a:gd name="T25" fmla="*/ 56 h 56"/>
                  <a:gd name="T26" fmla="*/ 120 w 120"/>
                  <a:gd name="T27" fmla="*/ 37 h 56"/>
                  <a:gd name="T28" fmla="*/ 111 w 120"/>
                  <a:gd name="T29" fmla="*/ 34 h 56"/>
                  <a:gd name="T30" fmla="*/ 102 w 120"/>
                  <a:gd name="T31" fmla="*/ 30 h 56"/>
                  <a:gd name="T32" fmla="*/ 94 w 120"/>
                  <a:gd name="T33" fmla="*/ 24 h 56"/>
                  <a:gd name="T34" fmla="*/ 88 w 120"/>
                  <a:gd name="T35" fmla="*/ 18 h 56"/>
                  <a:gd name="T36" fmla="*/ 81 w 120"/>
                  <a:gd name="T37" fmla="*/ 13 h 56"/>
                  <a:gd name="T38" fmla="*/ 75 w 120"/>
                  <a:gd name="T39" fmla="*/ 7 h 56"/>
                  <a:gd name="T40" fmla="*/ 67 w 120"/>
                  <a:gd name="T41" fmla="*/ 3 h 56"/>
                  <a:gd name="T42" fmla="*/ 60 w 120"/>
                  <a:gd name="T43" fmla="*/ 0 h 56"/>
                  <a:gd name="T44" fmla="*/ 55 w 120"/>
                  <a:gd name="T45" fmla="*/ 1 h 56"/>
                  <a:gd name="T46" fmla="*/ 48 w 120"/>
                  <a:gd name="T47" fmla="*/ 3 h 56"/>
                  <a:gd name="T48" fmla="*/ 41 w 120"/>
                  <a:gd name="T49" fmla="*/ 6 h 56"/>
                  <a:gd name="T50" fmla="*/ 33 w 120"/>
                  <a:gd name="T51" fmla="*/ 9 h 56"/>
                  <a:gd name="T52" fmla="*/ 24 w 120"/>
                  <a:gd name="T53" fmla="*/ 13 h 56"/>
                  <a:gd name="T54" fmla="*/ 16 w 120"/>
                  <a:gd name="T55" fmla="*/ 15 h 56"/>
                  <a:gd name="T56" fmla="*/ 8 w 120"/>
                  <a:gd name="T57" fmla="*/ 18 h 56"/>
                  <a:gd name="T58" fmla="*/ 0 w 120"/>
                  <a:gd name="T5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4" name="Freeform 216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852530" y="3255001"/>
                <a:ext cx="333606" cy="109563"/>
              </a:xfrm>
              <a:custGeom>
                <a:avLst/>
                <a:gdLst>
                  <a:gd name="T0" fmla="*/ 127 w 574"/>
                  <a:gd name="T1" fmla="*/ 1 h 204"/>
                  <a:gd name="T2" fmla="*/ 95 w 574"/>
                  <a:gd name="T3" fmla="*/ 6 h 204"/>
                  <a:gd name="T4" fmla="*/ 66 w 574"/>
                  <a:gd name="T5" fmla="*/ 16 h 204"/>
                  <a:gd name="T6" fmla="*/ 43 w 574"/>
                  <a:gd name="T7" fmla="*/ 26 h 204"/>
                  <a:gd name="T8" fmla="*/ 30 w 574"/>
                  <a:gd name="T9" fmla="*/ 35 h 204"/>
                  <a:gd name="T10" fmla="*/ 16 w 574"/>
                  <a:gd name="T11" fmla="*/ 51 h 204"/>
                  <a:gd name="T12" fmla="*/ 4 w 574"/>
                  <a:gd name="T13" fmla="*/ 71 h 204"/>
                  <a:gd name="T14" fmla="*/ 0 w 574"/>
                  <a:gd name="T15" fmla="*/ 82 h 204"/>
                  <a:gd name="T16" fmla="*/ 1 w 574"/>
                  <a:gd name="T17" fmla="*/ 86 h 204"/>
                  <a:gd name="T18" fmla="*/ 13 w 574"/>
                  <a:gd name="T19" fmla="*/ 86 h 204"/>
                  <a:gd name="T20" fmla="*/ 29 w 574"/>
                  <a:gd name="T21" fmla="*/ 83 h 204"/>
                  <a:gd name="T22" fmla="*/ 52 w 574"/>
                  <a:gd name="T23" fmla="*/ 75 h 204"/>
                  <a:gd name="T24" fmla="*/ 80 w 574"/>
                  <a:gd name="T25" fmla="*/ 58 h 204"/>
                  <a:gd name="T26" fmla="*/ 102 w 574"/>
                  <a:gd name="T27" fmla="*/ 46 h 204"/>
                  <a:gd name="T28" fmla="*/ 119 w 574"/>
                  <a:gd name="T29" fmla="*/ 40 h 204"/>
                  <a:gd name="T30" fmla="*/ 175 w 574"/>
                  <a:gd name="T31" fmla="*/ 37 h 204"/>
                  <a:gd name="T32" fmla="*/ 176 w 574"/>
                  <a:gd name="T33" fmla="*/ 48 h 204"/>
                  <a:gd name="T34" fmla="*/ 180 w 574"/>
                  <a:gd name="T35" fmla="*/ 55 h 204"/>
                  <a:gd name="T36" fmla="*/ 184 w 574"/>
                  <a:gd name="T37" fmla="*/ 59 h 204"/>
                  <a:gd name="T38" fmla="*/ 190 w 574"/>
                  <a:gd name="T39" fmla="*/ 61 h 204"/>
                  <a:gd name="T40" fmla="*/ 229 w 574"/>
                  <a:gd name="T41" fmla="*/ 61 h 204"/>
                  <a:gd name="T42" fmla="*/ 269 w 574"/>
                  <a:gd name="T43" fmla="*/ 78 h 204"/>
                  <a:gd name="T44" fmla="*/ 302 w 574"/>
                  <a:gd name="T45" fmla="*/ 95 h 204"/>
                  <a:gd name="T46" fmla="*/ 336 w 574"/>
                  <a:gd name="T47" fmla="*/ 111 h 204"/>
                  <a:gd name="T48" fmla="*/ 375 w 574"/>
                  <a:gd name="T49" fmla="*/ 123 h 204"/>
                  <a:gd name="T50" fmla="*/ 376 w 574"/>
                  <a:gd name="T51" fmla="*/ 134 h 204"/>
                  <a:gd name="T52" fmla="*/ 382 w 574"/>
                  <a:gd name="T53" fmla="*/ 142 h 204"/>
                  <a:gd name="T54" fmla="*/ 396 w 574"/>
                  <a:gd name="T55" fmla="*/ 152 h 204"/>
                  <a:gd name="T56" fmla="*/ 428 w 574"/>
                  <a:gd name="T57" fmla="*/ 166 h 204"/>
                  <a:gd name="T58" fmla="*/ 402 w 574"/>
                  <a:gd name="T59" fmla="*/ 191 h 204"/>
                  <a:gd name="T60" fmla="*/ 407 w 574"/>
                  <a:gd name="T61" fmla="*/ 197 h 204"/>
                  <a:gd name="T62" fmla="*/ 414 w 574"/>
                  <a:gd name="T63" fmla="*/ 201 h 204"/>
                  <a:gd name="T64" fmla="*/ 429 w 574"/>
                  <a:gd name="T65" fmla="*/ 204 h 204"/>
                  <a:gd name="T66" fmla="*/ 461 w 574"/>
                  <a:gd name="T67" fmla="*/ 204 h 204"/>
                  <a:gd name="T68" fmla="*/ 555 w 574"/>
                  <a:gd name="T69" fmla="*/ 189 h 204"/>
                  <a:gd name="T70" fmla="*/ 559 w 574"/>
                  <a:gd name="T71" fmla="*/ 183 h 204"/>
                  <a:gd name="T72" fmla="*/ 565 w 574"/>
                  <a:gd name="T73" fmla="*/ 177 h 204"/>
                  <a:gd name="T74" fmla="*/ 572 w 574"/>
                  <a:gd name="T75" fmla="*/ 173 h 204"/>
                  <a:gd name="T76" fmla="*/ 574 w 574"/>
                  <a:gd name="T77" fmla="*/ 161 h 204"/>
                  <a:gd name="T78" fmla="*/ 561 w 574"/>
                  <a:gd name="T79" fmla="*/ 153 h 204"/>
                  <a:gd name="T80" fmla="*/ 532 w 574"/>
                  <a:gd name="T81" fmla="*/ 148 h 204"/>
                  <a:gd name="T82" fmla="*/ 504 w 574"/>
                  <a:gd name="T83" fmla="*/ 138 h 204"/>
                  <a:gd name="T84" fmla="*/ 475 w 574"/>
                  <a:gd name="T85" fmla="*/ 124 h 204"/>
                  <a:gd name="T86" fmla="*/ 433 w 574"/>
                  <a:gd name="T87" fmla="*/ 100 h 204"/>
                  <a:gd name="T88" fmla="*/ 383 w 574"/>
                  <a:gd name="T89" fmla="*/ 68 h 204"/>
                  <a:gd name="T90" fmla="*/ 358 w 574"/>
                  <a:gd name="T91" fmla="*/ 54 h 204"/>
                  <a:gd name="T92" fmla="*/ 348 w 574"/>
                  <a:gd name="T93" fmla="*/ 52 h 204"/>
                  <a:gd name="T94" fmla="*/ 330 w 574"/>
                  <a:gd name="T95" fmla="*/ 52 h 204"/>
                  <a:gd name="T96" fmla="*/ 312 w 574"/>
                  <a:gd name="T97" fmla="*/ 51 h 204"/>
                  <a:gd name="T98" fmla="*/ 302 w 574"/>
                  <a:gd name="T99" fmla="*/ 49 h 204"/>
                  <a:gd name="T100" fmla="*/ 294 w 574"/>
                  <a:gd name="T101" fmla="*/ 43 h 204"/>
                  <a:gd name="T102" fmla="*/ 290 w 574"/>
                  <a:gd name="T103" fmla="*/ 32 h 204"/>
                  <a:gd name="T104" fmla="*/ 142 w 574"/>
                  <a:gd name="T10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5" name="Freeform 217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3257924" y="3358213"/>
                <a:ext cx="118240" cy="69866"/>
              </a:xfrm>
              <a:custGeom>
                <a:avLst/>
                <a:gdLst>
                  <a:gd name="T0" fmla="*/ 41 w 207"/>
                  <a:gd name="T1" fmla="*/ 129 h 129"/>
                  <a:gd name="T2" fmla="*/ 50 w 207"/>
                  <a:gd name="T3" fmla="*/ 121 h 129"/>
                  <a:gd name="T4" fmla="*/ 60 w 207"/>
                  <a:gd name="T5" fmla="*/ 115 h 129"/>
                  <a:gd name="T6" fmla="*/ 70 w 207"/>
                  <a:gd name="T7" fmla="*/ 110 h 129"/>
                  <a:gd name="T8" fmla="*/ 81 w 207"/>
                  <a:gd name="T9" fmla="*/ 105 h 129"/>
                  <a:gd name="T10" fmla="*/ 105 w 207"/>
                  <a:gd name="T11" fmla="*/ 99 h 129"/>
                  <a:gd name="T12" fmla="*/ 129 w 207"/>
                  <a:gd name="T13" fmla="*/ 92 h 129"/>
                  <a:gd name="T14" fmla="*/ 152 w 207"/>
                  <a:gd name="T15" fmla="*/ 87 h 129"/>
                  <a:gd name="T16" fmla="*/ 173 w 207"/>
                  <a:gd name="T17" fmla="*/ 81 h 129"/>
                  <a:gd name="T18" fmla="*/ 182 w 207"/>
                  <a:gd name="T19" fmla="*/ 77 h 129"/>
                  <a:gd name="T20" fmla="*/ 191 w 207"/>
                  <a:gd name="T21" fmla="*/ 73 h 129"/>
                  <a:gd name="T22" fmla="*/ 200 w 207"/>
                  <a:gd name="T23" fmla="*/ 67 h 129"/>
                  <a:gd name="T24" fmla="*/ 207 w 207"/>
                  <a:gd name="T25" fmla="*/ 61 h 129"/>
                  <a:gd name="T26" fmla="*/ 198 w 207"/>
                  <a:gd name="T27" fmla="*/ 54 h 129"/>
                  <a:gd name="T28" fmla="*/ 188 w 207"/>
                  <a:gd name="T29" fmla="*/ 47 h 129"/>
                  <a:gd name="T30" fmla="*/ 179 w 207"/>
                  <a:gd name="T31" fmla="*/ 42 h 129"/>
                  <a:gd name="T32" fmla="*/ 169 w 207"/>
                  <a:gd name="T33" fmla="*/ 36 h 129"/>
                  <a:gd name="T34" fmla="*/ 150 w 207"/>
                  <a:gd name="T35" fmla="*/ 29 h 129"/>
                  <a:gd name="T36" fmla="*/ 129 w 207"/>
                  <a:gd name="T37" fmla="*/ 23 h 129"/>
                  <a:gd name="T38" fmla="*/ 107 w 207"/>
                  <a:gd name="T39" fmla="*/ 18 h 129"/>
                  <a:gd name="T40" fmla="*/ 85 w 207"/>
                  <a:gd name="T41" fmla="*/ 13 h 129"/>
                  <a:gd name="T42" fmla="*/ 63 w 207"/>
                  <a:gd name="T43" fmla="*/ 7 h 129"/>
                  <a:gd name="T44" fmla="*/ 41 w 207"/>
                  <a:gd name="T45" fmla="*/ 0 h 129"/>
                  <a:gd name="T46" fmla="*/ 0 w 207"/>
                  <a:gd name="T47" fmla="*/ 0 h 129"/>
                  <a:gd name="T48" fmla="*/ 1 w 207"/>
                  <a:gd name="T49" fmla="*/ 6 h 129"/>
                  <a:gd name="T50" fmla="*/ 2 w 207"/>
                  <a:gd name="T51" fmla="*/ 13 h 129"/>
                  <a:gd name="T52" fmla="*/ 4 w 207"/>
                  <a:gd name="T53" fmla="*/ 19 h 129"/>
                  <a:gd name="T54" fmla="*/ 6 w 207"/>
                  <a:gd name="T55" fmla="*/ 25 h 129"/>
                  <a:gd name="T56" fmla="*/ 10 w 207"/>
                  <a:gd name="T57" fmla="*/ 35 h 129"/>
                  <a:gd name="T58" fmla="*/ 13 w 207"/>
                  <a:gd name="T59" fmla="*/ 46 h 129"/>
                  <a:gd name="T60" fmla="*/ 17 w 207"/>
                  <a:gd name="T61" fmla="*/ 54 h 129"/>
                  <a:gd name="T62" fmla="*/ 18 w 207"/>
                  <a:gd name="T63" fmla="*/ 62 h 129"/>
                  <a:gd name="T64" fmla="*/ 17 w 207"/>
                  <a:gd name="T65" fmla="*/ 65 h 129"/>
                  <a:gd name="T66" fmla="*/ 14 w 207"/>
                  <a:gd name="T67" fmla="*/ 68 h 129"/>
                  <a:gd name="T68" fmla="*/ 11 w 207"/>
                  <a:gd name="T69" fmla="*/ 71 h 129"/>
                  <a:gd name="T70" fmla="*/ 7 w 207"/>
                  <a:gd name="T71" fmla="*/ 73 h 129"/>
                  <a:gd name="T72" fmla="*/ 0 w 207"/>
                  <a:gd name="T73" fmla="*/ 104 h 129"/>
                  <a:gd name="T74" fmla="*/ 4 w 207"/>
                  <a:gd name="T75" fmla="*/ 106 h 129"/>
                  <a:gd name="T76" fmla="*/ 13 w 207"/>
                  <a:gd name="T77" fmla="*/ 110 h 129"/>
                  <a:gd name="T78" fmla="*/ 19 w 207"/>
                  <a:gd name="T79" fmla="*/ 113 h 129"/>
                  <a:gd name="T80" fmla="*/ 25 w 207"/>
                  <a:gd name="T81" fmla="*/ 117 h 129"/>
                  <a:gd name="T82" fmla="*/ 33 w 207"/>
                  <a:gd name="T83" fmla="*/ 122 h 129"/>
                  <a:gd name="T84" fmla="*/ 41 w 207"/>
                  <a:gd name="T8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6" name="Freeform 218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683614" y="3418552"/>
                <a:ext cx="44341" cy="84156"/>
              </a:xfrm>
              <a:custGeom>
                <a:avLst/>
                <a:gdLst>
                  <a:gd name="T0" fmla="*/ 72 w 72"/>
                  <a:gd name="T1" fmla="*/ 0 h 154"/>
                  <a:gd name="T2" fmla="*/ 69 w 72"/>
                  <a:gd name="T3" fmla="*/ 4 h 154"/>
                  <a:gd name="T4" fmla="*/ 67 w 72"/>
                  <a:gd name="T5" fmla="*/ 9 h 154"/>
                  <a:gd name="T6" fmla="*/ 66 w 72"/>
                  <a:gd name="T7" fmla="*/ 13 h 154"/>
                  <a:gd name="T8" fmla="*/ 66 w 72"/>
                  <a:gd name="T9" fmla="*/ 18 h 154"/>
                  <a:gd name="T10" fmla="*/ 66 w 72"/>
                  <a:gd name="T11" fmla="*/ 27 h 154"/>
                  <a:gd name="T12" fmla="*/ 66 w 72"/>
                  <a:gd name="T13" fmla="*/ 37 h 154"/>
                  <a:gd name="T14" fmla="*/ 69 w 72"/>
                  <a:gd name="T15" fmla="*/ 43 h 154"/>
                  <a:gd name="T16" fmla="*/ 71 w 72"/>
                  <a:gd name="T17" fmla="*/ 50 h 154"/>
                  <a:gd name="T18" fmla="*/ 71 w 72"/>
                  <a:gd name="T19" fmla="*/ 57 h 154"/>
                  <a:gd name="T20" fmla="*/ 71 w 72"/>
                  <a:gd name="T21" fmla="*/ 65 h 154"/>
                  <a:gd name="T22" fmla="*/ 69 w 72"/>
                  <a:gd name="T23" fmla="*/ 73 h 154"/>
                  <a:gd name="T24" fmla="*/ 67 w 72"/>
                  <a:gd name="T25" fmla="*/ 82 h 154"/>
                  <a:gd name="T26" fmla="*/ 65 w 72"/>
                  <a:gd name="T27" fmla="*/ 91 h 154"/>
                  <a:gd name="T28" fmla="*/ 61 w 72"/>
                  <a:gd name="T29" fmla="*/ 100 h 154"/>
                  <a:gd name="T30" fmla="*/ 53 w 72"/>
                  <a:gd name="T31" fmla="*/ 116 h 154"/>
                  <a:gd name="T32" fmla="*/ 44 w 72"/>
                  <a:gd name="T33" fmla="*/ 131 h 154"/>
                  <a:gd name="T34" fmla="*/ 34 w 72"/>
                  <a:gd name="T35" fmla="*/ 144 h 154"/>
                  <a:gd name="T36" fmla="*/ 26 w 72"/>
                  <a:gd name="T37" fmla="*/ 154 h 154"/>
                  <a:gd name="T38" fmla="*/ 26 w 72"/>
                  <a:gd name="T39" fmla="*/ 141 h 154"/>
                  <a:gd name="T40" fmla="*/ 15 w 72"/>
                  <a:gd name="T41" fmla="*/ 144 h 154"/>
                  <a:gd name="T42" fmla="*/ 0 w 72"/>
                  <a:gd name="T43" fmla="*/ 148 h 154"/>
                  <a:gd name="T44" fmla="*/ 3 w 72"/>
                  <a:gd name="T45" fmla="*/ 129 h 154"/>
                  <a:gd name="T46" fmla="*/ 8 w 72"/>
                  <a:gd name="T47" fmla="*/ 105 h 154"/>
                  <a:gd name="T48" fmla="*/ 9 w 72"/>
                  <a:gd name="T49" fmla="*/ 92 h 154"/>
                  <a:gd name="T50" fmla="*/ 12 w 72"/>
                  <a:gd name="T51" fmla="*/ 77 h 154"/>
                  <a:gd name="T52" fmla="*/ 15 w 72"/>
                  <a:gd name="T53" fmla="*/ 63 h 154"/>
                  <a:gd name="T54" fmla="*/ 20 w 72"/>
                  <a:gd name="T55" fmla="*/ 49 h 154"/>
                  <a:gd name="T56" fmla="*/ 20 w 72"/>
                  <a:gd name="T57" fmla="*/ 0 h 154"/>
                  <a:gd name="T58" fmla="*/ 25 w 72"/>
                  <a:gd name="T59" fmla="*/ 0 h 154"/>
                  <a:gd name="T60" fmla="*/ 38 w 72"/>
                  <a:gd name="T61" fmla="*/ 0 h 154"/>
                  <a:gd name="T62" fmla="*/ 56 w 72"/>
                  <a:gd name="T63" fmla="*/ 0 h 154"/>
                  <a:gd name="T64" fmla="*/ 72 w 72"/>
                  <a:gd name="T65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7" name="Freeform 219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578043" y="3418552"/>
                <a:ext cx="124575" cy="146084"/>
              </a:xfrm>
              <a:custGeom>
                <a:avLst/>
                <a:gdLst>
                  <a:gd name="T0" fmla="*/ 8 w 214"/>
                  <a:gd name="T1" fmla="*/ 207 h 271"/>
                  <a:gd name="T2" fmla="*/ 12 w 214"/>
                  <a:gd name="T3" fmla="*/ 181 h 271"/>
                  <a:gd name="T4" fmla="*/ 24 w 214"/>
                  <a:gd name="T5" fmla="*/ 148 h 271"/>
                  <a:gd name="T6" fmla="*/ 35 w 214"/>
                  <a:gd name="T7" fmla="*/ 118 h 271"/>
                  <a:gd name="T8" fmla="*/ 44 w 214"/>
                  <a:gd name="T9" fmla="*/ 112 h 271"/>
                  <a:gd name="T10" fmla="*/ 65 w 214"/>
                  <a:gd name="T11" fmla="*/ 111 h 271"/>
                  <a:gd name="T12" fmla="*/ 89 w 214"/>
                  <a:gd name="T13" fmla="*/ 111 h 271"/>
                  <a:gd name="T14" fmla="*/ 106 w 214"/>
                  <a:gd name="T15" fmla="*/ 110 h 271"/>
                  <a:gd name="T16" fmla="*/ 120 w 214"/>
                  <a:gd name="T17" fmla="*/ 105 h 271"/>
                  <a:gd name="T18" fmla="*/ 130 w 214"/>
                  <a:gd name="T19" fmla="*/ 94 h 271"/>
                  <a:gd name="T20" fmla="*/ 113 w 214"/>
                  <a:gd name="T21" fmla="*/ 73 h 271"/>
                  <a:gd name="T22" fmla="*/ 86 w 214"/>
                  <a:gd name="T23" fmla="*/ 58 h 271"/>
                  <a:gd name="T24" fmla="*/ 77 w 214"/>
                  <a:gd name="T25" fmla="*/ 49 h 271"/>
                  <a:gd name="T26" fmla="*/ 74 w 214"/>
                  <a:gd name="T27" fmla="*/ 41 h 271"/>
                  <a:gd name="T28" fmla="*/ 75 w 214"/>
                  <a:gd name="T29" fmla="*/ 34 h 271"/>
                  <a:gd name="T30" fmla="*/ 82 w 214"/>
                  <a:gd name="T31" fmla="*/ 28 h 271"/>
                  <a:gd name="T32" fmla="*/ 101 w 214"/>
                  <a:gd name="T33" fmla="*/ 19 h 271"/>
                  <a:gd name="T34" fmla="*/ 150 w 214"/>
                  <a:gd name="T35" fmla="*/ 3 h 271"/>
                  <a:gd name="T36" fmla="*/ 180 w 214"/>
                  <a:gd name="T37" fmla="*/ 0 h 271"/>
                  <a:gd name="T38" fmla="*/ 198 w 214"/>
                  <a:gd name="T39" fmla="*/ 0 h 271"/>
                  <a:gd name="T40" fmla="*/ 207 w 214"/>
                  <a:gd name="T41" fmla="*/ 49 h 271"/>
                  <a:gd name="T42" fmla="*/ 199 w 214"/>
                  <a:gd name="T43" fmla="*/ 77 h 271"/>
                  <a:gd name="T44" fmla="*/ 195 w 214"/>
                  <a:gd name="T45" fmla="*/ 105 h 271"/>
                  <a:gd name="T46" fmla="*/ 187 w 214"/>
                  <a:gd name="T47" fmla="*/ 148 h 271"/>
                  <a:gd name="T48" fmla="*/ 213 w 214"/>
                  <a:gd name="T49" fmla="*/ 154 h 271"/>
                  <a:gd name="T50" fmla="*/ 214 w 214"/>
                  <a:gd name="T51" fmla="*/ 166 h 271"/>
                  <a:gd name="T52" fmla="*/ 210 w 214"/>
                  <a:gd name="T53" fmla="*/ 174 h 271"/>
                  <a:gd name="T54" fmla="*/ 207 w 214"/>
                  <a:gd name="T55" fmla="*/ 177 h 271"/>
                  <a:gd name="T56" fmla="*/ 200 w 214"/>
                  <a:gd name="T57" fmla="*/ 178 h 271"/>
                  <a:gd name="T58" fmla="*/ 192 w 214"/>
                  <a:gd name="T59" fmla="*/ 196 h 271"/>
                  <a:gd name="T60" fmla="*/ 181 w 214"/>
                  <a:gd name="T61" fmla="*/ 214 h 271"/>
                  <a:gd name="T62" fmla="*/ 155 w 214"/>
                  <a:gd name="T63" fmla="*/ 243 h 271"/>
                  <a:gd name="T64" fmla="*/ 120 w 214"/>
                  <a:gd name="T65" fmla="*/ 271 h 271"/>
                  <a:gd name="T66" fmla="*/ 87 w 214"/>
                  <a:gd name="T67" fmla="*/ 261 h 271"/>
                  <a:gd name="T68" fmla="*/ 55 w 214"/>
                  <a:gd name="T69" fmla="*/ 248 h 271"/>
                  <a:gd name="T70" fmla="*/ 0 w 214"/>
                  <a:gd name="T71" fmla="*/ 22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8" name="Freeform 220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641387" y="3529702"/>
                <a:ext cx="95015" cy="57162"/>
              </a:xfrm>
              <a:custGeom>
                <a:avLst/>
                <a:gdLst>
                  <a:gd name="T0" fmla="*/ 60 w 153"/>
                  <a:gd name="T1" fmla="*/ 0 h 80"/>
                  <a:gd name="T2" fmla="*/ 83 w 153"/>
                  <a:gd name="T3" fmla="*/ 14 h 80"/>
                  <a:gd name="T4" fmla="*/ 104 w 153"/>
                  <a:gd name="T5" fmla="*/ 24 h 80"/>
                  <a:gd name="T6" fmla="*/ 115 w 153"/>
                  <a:gd name="T7" fmla="*/ 28 h 80"/>
                  <a:gd name="T8" fmla="*/ 126 w 153"/>
                  <a:gd name="T9" fmla="*/ 31 h 80"/>
                  <a:gd name="T10" fmla="*/ 133 w 153"/>
                  <a:gd name="T11" fmla="*/ 32 h 80"/>
                  <a:gd name="T12" fmla="*/ 139 w 153"/>
                  <a:gd name="T13" fmla="*/ 32 h 80"/>
                  <a:gd name="T14" fmla="*/ 146 w 153"/>
                  <a:gd name="T15" fmla="*/ 31 h 80"/>
                  <a:gd name="T16" fmla="*/ 153 w 153"/>
                  <a:gd name="T17" fmla="*/ 30 h 80"/>
                  <a:gd name="T18" fmla="*/ 153 w 153"/>
                  <a:gd name="T19" fmla="*/ 56 h 80"/>
                  <a:gd name="T20" fmla="*/ 149 w 153"/>
                  <a:gd name="T21" fmla="*/ 60 h 80"/>
                  <a:gd name="T22" fmla="*/ 145 w 153"/>
                  <a:gd name="T23" fmla="*/ 65 h 80"/>
                  <a:gd name="T24" fmla="*/ 138 w 153"/>
                  <a:gd name="T25" fmla="*/ 69 h 80"/>
                  <a:gd name="T26" fmla="*/ 132 w 153"/>
                  <a:gd name="T27" fmla="*/ 72 h 80"/>
                  <a:gd name="T28" fmla="*/ 125 w 153"/>
                  <a:gd name="T29" fmla="*/ 75 h 80"/>
                  <a:gd name="T30" fmla="*/ 119 w 153"/>
                  <a:gd name="T31" fmla="*/ 78 h 80"/>
                  <a:gd name="T32" fmla="*/ 112 w 153"/>
                  <a:gd name="T33" fmla="*/ 79 h 80"/>
                  <a:gd name="T34" fmla="*/ 106 w 153"/>
                  <a:gd name="T35" fmla="*/ 80 h 80"/>
                  <a:gd name="T36" fmla="*/ 90 w 153"/>
                  <a:gd name="T37" fmla="*/ 74 h 80"/>
                  <a:gd name="T38" fmla="*/ 76 w 153"/>
                  <a:gd name="T39" fmla="*/ 71 h 80"/>
                  <a:gd name="T40" fmla="*/ 63 w 153"/>
                  <a:gd name="T41" fmla="*/ 69 h 80"/>
                  <a:gd name="T42" fmla="*/ 50 w 153"/>
                  <a:gd name="T43" fmla="*/ 69 h 80"/>
                  <a:gd name="T44" fmla="*/ 39 w 153"/>
                  <a:gd name="T45" fmla="*/ 68 h 80"/>
                  <a:gd name="T46" fmla="*/ 27 w 153"/>
                  <a:gd name="T47" fmla="*/ 67 h 80"/>
                  <a:gd name="T48" fmla="*/ 14 w 153"/>
                  <a:gd name="T49" fmla="*/ 65 h 80"/>
                  <a:gd name="T50" fmla="*/ 0 w 153"/>
                  <a:gd name="T51" fmla="*/ 62 h 80"/>
                  <a:gd name="T52" fmla="*/ 7 w 153"/>
                  <a:gd name="T53" fmla="*/ 58 h 80"/>
                  <a:gd name="T54" fmla="*/ 23 w 153"/>
                  <a:gd name="T55" fmla="*/ 45 h 80"/>
                  <a:gd name="T56" fmla="*/ 34 w 153"/>
                  <a:gd name="T57" fmla="*/ 37 h 80"/>
                  <a:gd name="T58" fmla="*/ 45 w 153"/>
                  <a:gd name="T59" fmla="*/ 28 h 80"/>
                  <a:gd name="T60" fmla="*/ 56 w 153"/>
                  <a:gd name="T61" fmla="*/ 17 h 80"/>
                  <a:gd name="T62" fmla="*/ 67 w 153"/>
                  <a:gd name="T63" fmla="*/ 6 h 80"/>
                  <a:gd name="T64" fmla="*/ 60 w 153"/>
                  <a:gd name="T6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9" name="Freeform 221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683614" y="3491594"/>
                <a:ext cx="190029" cy="87331"/>
              </a:xfrm>
              <a:custGeom>
                <a:avLst/>
                <a:gdLst>
                  <a:gd name="T0" fmla="*/ 0 w 332"/>
                  <a:gd name="T1" fmla="*/ 77 h 169"/>
                  <a:gd name="T2" fmla="*/ 44 w 332"/>
                  <a:gd name="T3" fmla="*/ 101 h 169"/>
                  <a:gd name="T4" fmla="*/ 66 w 332"/>
                  <a:gd name="T5" fmla="*/ 108 h 169"/>
                  <a:gd name="T6" fmla="*/ 79 w 332"/>
                  <a:gd name="T7" fmla="*/ 109 h 169"/>
                  <a:gd name="T8" fmla="*/ 93 w 332"/>
                  <a:gd name="T9" fmla="*/ 107 h 169"/>
                  <a:gd name="T10" fmla="*/ 90 w 332"/>
                  <a:gd name="T11" fmla="*/ 144 h 169"/>
                  <a:gd name="T12" fmla="*/ 95 w 332"/>
                  <a:gd name="T13" fmla="*/ 154 h 169"/>
                  <a:gd name="T14" fmla="*/ 99 w 332"/>
                  <a:gd name="T15" fmla="*/ 163 h 169"/>
                  <a:gd name="T16" fmla="*/ 107 w 332"/>
                  <a:gd name="T17" fmla="*/ 168 h 169"/>
                  <a:gd name="T18" fmla="*/ 117 w 332"/>
                  <a:gd name="T19" fmla="*/ 169 h 169"/>
                  <a:gd name="T20" fmla="*/ 123 w 332"/>
                  <a:gd name="T21" fmla="*/ 166 h 169"/>
                  <a:gd name="T22" fmla="*/ 132 w 332"/>
                  <a:gd name="T23" fmla="*/ 157 h 169"/>
                  <a:gd name="T24" fmla="*/ 146 w 332"/>
                  <a:gd name="T25" fmla="*/ 136 h 169"/>
                  <a:gd name="T26" fmla="*/ 174 w 332"/>
                  <a:gd name="T27" fmla="*/ 115 h 169"/>
                  <a:gd name="T28" fmla="*/ 214 w 332"/>
                  <a:gd name="T29" fmla="*/ 96 h 169"/>
                  <a:gd name="T30" fmla="*/ 256 w 332"/>
                  <a:gd name="T31" fmla="*/ 80 h 169"/>
                  <a:gd name="T32" fmla="*/ 304 w 332"/>
                  <a:gd name="T33" fmla="*/ 65 h 169"/>
                  <a:gd name="T34" fmla="*/ 332 w 332"/>
                  <a:gd name="T35" fmla="*/ 46 h 169"/>
                  <a:gd name="T36" fmla="*/ 332 w 332"/>
                  <a:gd name="T37" fmla="*/ 22 h 169"/>
                  <a:gd name="T38" fmla="*/ 320 w 332"/>
                  <a:gd name="T39" fmla="*/ 2 h 169"/>
                  <a:gd name="T40" fmla="*/ 283 w 332"/>
                  <a:gd name="T41" fmla="*/ 1 h 169"/>
                  <a:gd name="T42" fmla="*/ 234 w 332"/>
                  <a:gd name="T43" fmla="*/ 0 h 169"/>
                  <a:gd name="T44" fmla="*/ 180 w 332"/>
                  <a:gd name="T45" fmla="*/ 1 h 169"/>
                  <a:gd name="T46" fmla="*/ 131 w 332"/>
                  <a:gd name="T47" fmla="*/ 4 h 169"/>
                  <a:gd name="T48" fmla="*/ 90 w 332"/>
                  <a:gd name="T49" fmla="*/ 10 h 169"/>
                  <a:gd name="T50" fmla="*/ 59 w 332"/>
                  <a:gd name="T51" fmla="*/ 19 h 169"/>
                  <a:gd name="T52" fmla="*/ 42 w 332"/>
                  <a:gd name="T53" fmla="*/ 22 h 169"/>
                  <a:gd name="T54" fmla="*/ 35 w 332"/>
                  <a:gd name="T55" fmla="*/ 23 h 169"/>
                  <a:gd name="T56" fmla="*/ 34 w 332"/>
                  <a:gd name="T57" fmla="*/ 26 h 169"/>
                  <a:gd name="T58" fmla="*/ 33 w 332"/>
                  <a:gd name="T59" fmla="*/ 38 h 169"/>
                  <a:gd name="T60" fmla="*/ 29 w 332"/>
                  <a:gd name="T61" fmla="*/ 44 h 169"/>
                  <a:gd name="T62" fmla="*/ 23 w 332"/>
                  <a:gd name="T63" fmla="*/ 46 h 169"/>
                  <a:gd name="T64" fmla="*/ 19 w 332"/>
                  <a:gd name="T65" fmla="*/ 55 h 169"/>
                  <a:gd name="T66" fmla="*/ 11 w 332"/>
                  <a:gd name="T67" fmla="*/ 72 h 169"/>
                  <a:gd name="T68" fmla="*/ 7 w 332"/>
                  <a:gd name="T69" fmla="*/ 8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0" name="Freeform 222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706842" y="3521762"/>
                <a:ext cx="166802" cy="122266"/>
              </a:xfrm>
              <a:custGeom>
                <a:avLst/>
                <a:gdLst>
                  <a:gd name="T0" fmla="*/ 44 w 286"/>
                  <a:gd name="T1" fmla="*/ 86 h 235"/>
                  <a:gd name="T2" fmla="*/ 49 w 286"/>
                  <a:gd name="T3" fmla="*/ 96 h 235"/>
                  <a:gd name="T4" fmla="*/ 53 w 286"/>
                  <a:gd name="T5" fmla="*/ 105 h 235"/>
                  <a:gd name="T6" fmla="*/ 61 w 286"/>
                  <a:gd name="T7" fmla="*/ 110 h 235"/>
                  <a:gd name="T8" fmla="*/ 71 w 286"/>
                  <a:gd name="T9" fmla="*/ 111 h 235"/>
                  <a:gd name="T10" fmla="*/ 77 w 286"/>
                  <a:gd name="T11" fmla="*/ 108 h 235"/>
                  <a:gd name="T12" fmla="*/ 86 w 286"/>
                  <a:gd name="T13" fmla="*/ 99 h 235"/>
                  <a:gd name="T14" fmla="*/ 100 w 286"/>
                  <a:gd name="T15" fmla="*/ 78 h 235"/>
                  <a:gd name="T16" fmla="*/ 128 w 286"/>
                  <a:gd name="T17" fmla="*/ 57 h 235"/>
                  <a:gd name="T18" fmla="*/ 168 w 286"/>
                  <a:gd name="T19" fmla="*/ 38 h 235"/>
                  <a:gd name="T20" fmla="*/ 210 w 286"/>
                  <a:gd name="T21" fmla="*/ 22 h 235"/>
                  <a:gd name="T22" fmla="*/ 258 w 286"/>
                  <a:gd name="T23" fmla="*/ 7 h 235"/>
                  <a:gd name="T24" fmla="*/ 286 w 286"/>
                  <a:gd name="T25" fmla="*/ 11 h 235"/>
                  <a:gd name="T26" fmla="*/ 282 w 286"/>
                  <a:gd name="T27" fmla="*/ 32 h 235"/>
                  <a:gd name="T28" fmla="*/ 272 w 286"/>
                  <a:gd name="T29" fmla="*/ 70 h 235"/>
                  <a:gd name="T30" fmla="*/ 254 w 286"/>
                  <a:gd name="T31" fmla="*/ 128 h 235"/>
                  <a:gd name="T32" fmla="*/ 244 w 286"/>
                  <a:gd name="T33" fmla="*/ 174 h 235"/>
                  <a:gd name="T34" fmla="*/ 240 w 286"/>
                  <a:gd name="T35" fmla="*/ 206 h 235"/>
                  <a:gd name="T36" fmla="*/ 146 w 286"/>
                  <a:gd name="T37" fmla="*/ 216 h 235"/>
                  <a:gd name="T38" fmla="*/ 138 w 286"/>
                  <a:gd name="T39" fmla="*/ 218 h 235"/>
                  <a:gd name="T40" fmla="*/ 132 w 286"/>
                  <a:gd name="T41" fmla="*/ 223 h 235"/>
                  <a:gd name="T42" fmla="*/ 127 w 286"/>
                  <a:gd name="T43" fmla="*/ 235 h 235"/>
                  <a:gd name="T44" fmla="*/ 109 w 286"/>
                  <a:gd name="T45" fmla="*/ 217 h 235"/>
                  <a:gd name="T46" fmla="*/ 94 w 286"/>
                  <a:gd name="T47" fmla="*/ 199 h 235"/>
                  <a:gd name="T48" fmla="*/ 69 w 286"/>
                  <a:gd name="T49" fmla="*/ 160 h 235"/>
                  <a:gd name="T50" fmla="*/ 55 w 286"/>
                  <a:gd name="T51" fmla="*/ 142 h 235"/>
                  <a:gd name="T52" fmla="*/ 41 w 286"/>
                  <a:gd name="T53" fmla="*/ 125 h 235"/>
                  <a:gd name="T54" fmla="*/ 22 w 286"/>
                  <a:gd name="T55" fmla="*/ 110 h 235"/>
                  <a:gd name="T56" fmla="*/ 0 w 286"/>
                  <a:gd name="T57" fmla="*/ 99 h 235"/>
                  <a:gd name="T58" fmla="*/ 13 w 286"/>
                  <a:gd name="T59" fmla="*/ 97 h 235"/>
                  <a:gd name="T60" fmla="*/ 26 w 286"/>
                  <a:gd name="T61" fmla="*/ 91 h 235"/>
                  <a:gd name="T62" fmla="*/ 39 w 286"/>
                  <a:gd name="T63" fmla="*/ 84 h 235"/>
                  <a:gd name="T64" fmla="*/ 47 w 286"/>
                  <a:gd name="T65" fmla="*/ 7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1" name="Freeform 223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774407" y="3634502"/>
                <a:ext cx="111905" cy="100035"/>
              </a:xfrm>
              <a:custGeom>
                <a:avLst/>
                <a:gdLst>
                  <a:gd name="T0" fmla="*/ 188 w 205"/>
                  <a:gd name="T1" fmla="*/ 185 h 191"/>
                  <a:gd name="T2" fmla="*/ 175 w 205"/>
                  <a:gd name="T3" fmla="*/ 185 h 191"/>
                  <a:gd name="T4" fmla="*/ 158 w 205"/>
                  <a:gd name="T5" fmla="*/ 185 h 191"/>
                  <a:gd name="T6" fmla="*/ 144 w 205"/>
                  <a:gd name="T7" fmla="*/ 180 h 191"/>
                  <a:gd name="T8" fmla="*/ 136 w 205"/>
                  <a:gd name="T9" fmla="*/ 173 h 191"/>
                  <a:gd name="T10" fmla="*/ 129 w 205"/>
                  <a:gd name="T11" fmla="*/ 163 h 191"/>
                  <a:gd name="T12" fmla="*/ 120 w 205"/>
                  <a:gd name="T13" fmla="*/ 147 h 191"/>
                  <a:gd name="T14" fmla="*/ 110 w 205"/>
                  <a:gd name="T15" fmla="*/ 131 h 191"/>
                  <a:gd name="T16" fmla="*/ 99 w 205"/>
                  <a:gd name="T17" fmla="*/ 121 h 191"/>
                  <a:gd name="T18" fmla="*/ 93 w 205"/>
                  <a:gd name="T19" fmla="*/ 126 h 191"/>
                  <a:gd name="T20" fmla="*/ 90 w 205"/>
                  <a:gd name="T21" fmla="*/ 135 h 191"/>
                  <a:gd name="T22" fmla="*/ 84 w 205"/>
                  <a:gd name="T23" fmla="*/ 130 h 191"/>
                  <a:gd name="T24" fmla="*/ 72 w 205"/>
                  <a:gd name="T25" fmla="*/ 113 h 191"/>
                  <a:gd name="T26" fmla="*/ 56 w 205"/>
                  <a:gd name="T27" fmla="*/ 87 h 191"/>
                  <a:gd name="T28" fmla="*/ 41 w 205"/>
                  <a:gd name="T29" fmla="*/ 67 h 191"/>
                  <a:gd name="T30" fmla="*/ 31 w 205"/>
                  <a:gd name="T31" fmla="*/ 58 h 191"/>
                  <a:gd name="T32" fmla="*/ 26 w 205"/>
                  <a:gd name="T33" fmla="*/ 60 h 191"/>
                  <a:gd name="T34" fmla="*/ 29 w 205"/>
                  <a:gd name="T35" fmla="*/ 69 h 191"/>
                  <a:gd name="T36" fmla="*/ 34 w 205"/>
                  <a:gd name="T37" fmla="*/ 78 h 191"/>
                  <a:gd name="T38" fmla="*/ 41 w 205"/>
                  <a:gd name="T39" fmla="*/ 84 h 191"/>
                  <a:gd name="T40" fmla="*/ 46 w 205"/>
                  <a:gd name="T41" fmla="*/ 105 h 191"/>
                  <a:gd name="T42" fmla="*/ 13 w 205"/>
                  <a:gd name="T43" fmla="*/ 98 h 191"/>
                  <a:gd name="T44" fmla="*/ 4 w 205"/>
                  <a:gd name="T45" fmla="*/ 84 h 191"/>
                  <a:gd name="T46" fmla="*/ 0 w 205"/>
                  <a:gd name="T47" fmla="*/ 60 h 191"/>
                  <a:gd name="T48" fmla="*/ 0 w 205"/>
                  <a:gd name="T49" fmla="*/ 38 h 191"/>
                  <a:gd name="T50" fmla="*/ 3 w 205"/>
                  <a:gd name="T51" fmla="*/ 28 h 191"/>
                  <a:gd name="T52" fmla="*/ 8 w 205"/>
                  <a:gd name="T53" fmla="*/ 22 h 191"/>
                  <a:gd name="T54" fmla="*/ 14 w 205"/>
                  <a:gd name="T55" fmla="*/ 13 h 191"/>
                  <a:gd name="T56" fmla="*/ 20 w 205"/>
                  <a:gd name="T57" fmla="*/ 4 h 191"/>
                  <a:gd name="T58" fmla="*/ 28 w 205"/>
                  <a:gd name="T59" fmla="*/ 0 h 191"/>
                  <a:gd name="T60" fmla="*/ 126 w 205"/>
                  <a:gd name="T61" fmla="*/ 6 h 191"/>
                  <a:gd name="T62" fmla="*/ 127 w 205"/>
                  <a:gd name="T63" fmla="*/ 21 h 191"/>
                  <a:gd name="T64" fmla="*/ 130 w 205"/>
                  <a:gd name="T65" fmla="*/ 37 h 191"/>
                  <a:gd name="T66" fmla="*/ 143 w 205"/>
                  <a:gd name="T67" fmla="*/ 70 h 191"/>
                  <a:gd name="T68" fmla="*/ 165 w 205"/>
                  <a:gd name="T69" fmla="*/ 102 h 191"/>
                  <a:gd name="T70" fmla="*/ 177 w 205"/>
                  <a:gd name="T71" fmla="*/ 117 h 191"/>
                  <a:gd name="T72" fmla="*/ 192 w 205"/>
                  <a:gd name="T73" fmla="*/ 130 h 191"/>
                  <a:gd name="T74" fmla="*/ 189 w 205"/>
                  <a:gd name="T75" fmla="*/ 143 h 191"/>
                  <a:gd name="T76" fmla="*/ 189 w 205"/>
                  <a:gd name="T77" fmla="*/ 156 h 191"/>
                  <a:gd name="T78" fmla="*/ 192 w 205"/>
                  <a:gd name="T79" fmla="*/ 191 h 191"/>
                  <a:gd name="T80" fmla="*/ 205 w 205"/>
                  <a:gd name="T81" fmla="*/ 185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2" name="Freeform 224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882090" y="3688489"/>
                <a:ext cx="190029" cy="79393"/>
              </a:xfrm>
              <a:custGeom>
                <a:avLst/>
                <a:gdLst>
                  <a:gd name="T0" fmla="*/ 3 w 329"/>
                  <a:gd name="T1" fmla="*/ 58 h 154"/>
                  <a:gd name="T2" fmla="*/ 0 w 329"/>
                  <a:gd name="T3" fmla="*/ 42 h 154"/>
                  <a:gd name="T4" fmla="*/ 2 w 329"/>
                  <a:gd name="T5" fmla="*/ 31 h 154"/>
                  <a:gd name="T6" fmla="*/ 17 w 329"/>
                  <a:gd name="T7" fmla="*/ 33 h 154"/>
                  <a:gd name="T8" fmla="*/ 36 w 329"/>
                  <a:gd name="T9" fmla="*/ 41 h 154"/>
                  <a:gd name="T10" fmla="*/ 49 w 329"/>
                  <a:gd name="T11" fmla="*/ 43 h 154"/>
                  <a:gd name="T12" fmla="*/ 67 w 329"/>
                  <a:gd name="T13" fmla="*/ 43 h 154"/>
                  <a:gd name="T14" fmla="*/ 86 w 329"/>
                  <a:gd name="T15" fmla="*/ 39 h 154"/>
                  <a:gd name="T16" fmla="*/ 110 w 329"/>
                  <a:gd name="T17" fmla="*/ 30 h 154"/>
                  <a:gd name="T18" fmla="*/ 140 w 329"/>
                  <a:gd name="T19" fmla="*/ 13 h 154"/>
                  <a:gd name="T20" fmla="*/ 162 w 329"/>
                  <a:gd name="T21" fmla="*/ 4 h 154"/>
                  <a:gd name="T22" fmla="*/ 179 w 329"/>
                  <a:gd name="T23" fmla="*/ 0 h 154"/>
                  <a:gd name="T24" fmla="*/ 203 w 329"/>
                  <a:gd name="T25" fmla="*/ 0 h 154"/>
                  <a:gd name="T26" fmla="*/ 224 w 329"/>
                  <a:gd name="T27" fmla="*/ 6 h 154"/>
                  <a:gd name="T28" fmla="*/ 243 w 329"/>
                  <a:gd name="T29" fmla="*/ 15 h 154"/>
                  <a:gd name="T30" fmla="*/ 259 w 329"/>
                  <a:gd name="T31" fmla="*/ 28 h 154"/>
                  <a:gd name="T32" fmla="*/ 280 w 329"/>
                  <a:gd name="T33" fmla="*/ 46 h 154"/>
                  <a:gd name="T34" fmla="*/ 302 w 329"/>
                  <a:gd name="T35" fmla="*/ 61 h 154"/>
                  <a:gd name="T36" fmla="*/ 319 w 329"/>
                  <a:gd name="T37" fmla="*/ 67 h 154"/>
                  <a:gd name="T38" fmla="*/ 313 w 329"/>
                  <a:gd name="T39" fmla="*/ 82 h 154"/>
                  <a:gd name="T40" fmla="*/ 293 w 329"/>
                  <a:gd name="T41" fmla="*/ 106 h 154"/>
                  <a:gd name="T42" fmla="*/ 277 w 329"/>
                  <a:gd name="T43" fmla="*/ 138 h 154"/>
                  <a:gd name="T44" fmla="*/ 265 w 329"/>
                  <a:gd name="T45" fmla="*/ 153 h 154"/>
                  <a:gd name="T46" fmla="*/ 253 w 329"/>
                  <a:gd name="T47" fmla="*/ 146 h 154"/>
                  <a:gd name="T48" fmla="*/ 240 w 329"/>
                  <a:gd name="T49" fmla="*/ 136 h 154"/>
                  <a:gd name="T50" fmla="*/ 230 w 329"/>
                  <a:gd name="T51" fmla="*/ 126 h 154"/>
                  <a:gd name="T52" fmla="*/ 230 w 329"/>
                  <a:gd name="T53" fmla="*/ 114 h 154"/>
                  <a:gd name="T54" fmla="*/ 235 w 329"/>
                  <a:gd name="T55" fmla="*/ 100 h 154"/>
                  <a:gd name="T56" fmla="*/ 249 w 329"/>
                  <a:gd name="T57" fmla="*/ 86 h 154"/>
                  <a:gd name="T58" fmla="*/ 233 w 329"/>
                  <a:gd name="T59" fmla="*/ 68 h 154"/>
                  <a:gd name="T60" fmla="*/ 207 w 329"/>
                  <a:gd name="T61" fmla="*/ 55 h 154"/>
                  <a:gd name="T62" fmla="*/ 195 w 329"/>
                  <a:gd name="T63" fmla="*/ 41 h 154"/>
                  <a:gd name="T64" fmla="*/ 179 w 329"/>
                  <a:gd name="T65" fmla="*/ 34 h 154"/>
                  <a:gd name="T66" fmla="*/ 163 w 329"/>
                  <a:gd name="T67" fmla="*/ 41 h 154"/>
                  <a:gd name="T68" fmla="*/ 150 w 329"/>
                  <a:gd name="T69" fmla="*/ 50 h 154"/>
                  <a:gd name="T70" fmla="*/ 140 w 329"/>
                  <a:gd name="T71" fmla="*/ 61 h 154"/>
                  <a:gd name="T72" fmla="*/ 132 w 329"/>
                  <a:gd name="T73" fmla="*/ 74 h 154"/>
                  <a:gd name="T74" fmla="*/ 128 w 329"/>
                  <a:gd name="T75" fmla="*/ 88 h 154"/>
                  <a:gd name="T76" fmla="*/ 123 w 329"/>
                  <a:gd name="T77" fmla="*/ 109 h 154"/>
                  <a:gd name="T78" fmla="*/ 122 w 329"/>
                  <a:gd name="T79" fmla="*/ 125 h 154"/>
                  <a:gd name="T80" fmla="*/ 118 w 329"/>
                  <a:gd name="T81" fmla="*/ 129 h 154"/>
                  <a:gd name="T82" fmla="*/ 108 w 329"/>
                  <a:gd name="T83" fmla="*/ 135 h 154"/>
                  <a:gd name="T84" fmla="*/ 96 w 329"/>
                  <a:gd name="T85" fmla="*/ 135 h 154"/>
                  <a:gd name="T86" fmla="*/ 83 w 329"/>
                  <a:gd name="T87" fmla="*/ 129 h 154"/>
                  <a:gd name="T88" fmla="*/ 66 w 329"/>
                  <a:gd name="T89" fmla="*/ 116 h 154"/>
                  <a:gd name="T90" fmla="*/ 48 w 329"/>
                  <a:gd name="T91" fmla="*/ 94 h 154"/>
                  <a:gd name="T92" fmla="*/ 33 w 329"/>
                  <a:gd name="T93" fmla="*/ 80 h 154"/>
                  <a:gd name="T94" fmla="*/ 22 w 329"/>
                  <a:gd name="T95" fmla="*/ 74 h 154"/>
                  <a:gd name="T96" fmla="*/ 3 w 329"/>
                  <a:gd name="T97" fmla="*/ 7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3" name="Freeform 225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3787893" y="4942904"/>
                <a:ext cx="177360" cy="155611"/>
              </a:xfrm>
              <a:custGeom>
                <a:avLst/>
                <a:gdLst>
                  <a:gd name="T0" fmla="*/ 297 w 306"/>
                  <a:gd name="T1" fmla="*/ 181 h 293"/>
                  <a:gd name="T2" fmla="*/ 296 w 306"/>
                  <a:gd name="T3" fmla="*/ 185 h 293"/>
                  <a:gd name="T4" fmla="*/ 291 w 306"/>
                  <a:gd name="T5" fmla="*/ 194 h 293"/>
                  <a:gd name="T6" fmla="*/ 282 w 306"/>
                  <a:gd name="T7" fmla="*/ 199 h 293"/>
                  <a:gd name="T8" fmla="*/ 272 w 306"/>
                  <a:gd name="T9" fmla="*/ 201 h 293"/>
                  <a:gd name="T10" fmla="*/ 263 w 306"/>
                  <a:gd name="T11" fmla="*/ 207 h 293"/>
                  <a:gd name="T12" fmla="*/ 253 w 306"/>
                  <a:gd name="T13" fmla="*/ 229 h 293"/>
                  <a:gd name="T14" fmla="*/ 242 w 306"/>
                  <a:gd name="T15" fmla="*/ 254 h 293"/>
                  <a:gd name="T16" fmla="*/ 231 w 306"/>
                  <a:gd name="T17" fmla="*/ 267 h 293"/>
                  <a:gd name="T18" fmla="*/ 221 w 306"/>
                  <a:gd name="T19" fmla="*/ 273 h 293"/>
                  <a:gd name="T20" fmla="*/ 200 w 306"/>
                  <a:gd name="T21" fmla="*/ 281 h 293"/>
                  <a:gd name="T22" fmla="*/ 164 w 306"/>
                  <a:gd name="T23" fmla="*/ 290 h 293"/>
                  <a:gd name="T24" fmla="*/ 139 w 306"/>
                  <a:gd name="T25" fmla="*/ 293 h 293"/>
                  <a:gd name="T26" fmla="*/ 123 w 306"/>
                  <a:gd name="T27" fmla="*/ 293 h 293"/>
                  <a:gd name="T28" fmla="*/ 106 w 306"/>
                  <a:gd name="T29" fmla="*/ 290 h 293"/>
                  <a:gd name="T30" fmla="*/ 92 w 306"/>
                  <a:gd name="T31" fmla="*/ 286 h 293"/>
                  <a:gd name="T32" fmla="*/ 80 w 306"/>
                  <a:gd name="T33" fmla="*/ 278 h 293"/>
                  <a:gd name="T34" fmla="*/ 71 w 306"/>
                  <a:gd name="T35" fmla="*/ 268 h 293"/>
                  <a:gd name="T36" fmla="*/ 1 w 306"/>
                  <a:gd name="T37" fmla="*/ 236 h 293"/>
                  <a:gd name="T38" fmla="*/ 0 w 306"/>
                  <a:gd name="T39" fmla="*/ 88 h 293"/>
                  <a:gd name="T40" fmla="*/ 1 w 306"/>
                  <a:gd name="T41" fmla="*/ 49 h 293"/>
                  <a:gd name="T42" fmla="*/ 4 w 306"/>
                  <a:gd name="T43" fmla="*/ 35 h 293"/>
                  <a:gd name="T44" fmla="*/ 11 w 306"/>
                  <a:gd name="T45" fmla="*/ 21 h 293"/>
                  <a:gd name="T46" fmla="*/ 20 w 306"/>
                  <a:gd name="T47" fmla="*/ 8 h 293"/>
                  <a:gd name="T48" fmla="*/ 41 w 306"/>
                  <a:gd name="T49" fmla="*/ 2 h 293"/>
                  <a:gd name="T50" fmla="*/ 53 w 306"/>
                  <a:gd name="T51" fmla="*/ 0 h 293"/>
                  <a:gd name="T52" fmla="*/ 72 w 306"/>
                  <a:gd name="T53" fmla="*/ 6 h 293"/>
                  <a:gd name="T54" fmla="*/ 80 w 306"/>
                  <a:gd name="T55" fmla="*/ 7 h 293"/>
                  <a:gd name="T56" fmla="*/ 84 w 306"/>
                  <a:gd name="T57" fmla="*/ 4 h 293"/>
                  <a:gd name="T58" fmla="*/ 87 w 306"/>
                  <a:gd name="T59" fmla="*/ 5 h 293"/>
                  <a:gd name="T60" fmla="*/ 90 w 306"/>
                  <a:gd name="T61" fmla="*/ 11 h 293"/>
                  <a:gd name="T62" fmla="*/ 99 w 306"/>
                  <a:gd name="T63" fmla="*/ 19 h 293"/>
                  <a:gd name="T64" fmla="*/ 121 w 306"/>
                  <a:gd name="T65" fmla="*/ 31 h 293"/>
                  <a:gd name="T66" fmla="*/ 148 w 306"/>
                  <a:gd name="T67" fmla="*/ 41 h 293"/>
                  <a:gd name="T68" fmla="*/ 182 w 306"/>
                  <a:gd name="T69" fmla="*/ 59 h 293"/>
                  <a:gd name="T70" fmla="*/ 210 w 306"/>
                  <a:gd name="T71" fmla="*/ 79 h 293"/>
                  <a:gd name="T72" fmla="*/ 241 w 306"/>
                  <a:gd name="T73" fmla="*/ 102 h 293"/>
                  <a:gd name="T74" fmla="*/ 261 w 306"/>
                  <a:gd name="T75" fmla="*/ 117 h 293"/>
                  <a:gd name="T76" fmla="*/ 266 w 306"/>
                  <a:gd name="T77" fmla="*/ 124 h 293"/>
                  <a:gd name="T78" fmla="*/ 280 w 306"/>
                  <a:gd name="T79" fmla="*/ 135 h 293"/>
                  <a:gd name="T80" fmla="*/ 299 w 306"/>
                  <a:gd name="T81" fmla="*/ 151 h 293"/>
                  <a:gd name="T82" fmla="*/ 306 w 306"/>
                  <a:gd name="T83" fmla="*/ 161 h 293"/>
                  <a:gd name="T84" fmla="*/ 304 w 306"/>
                  <a:gd name="T85" fmla="*/ 166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4" name="Freeform 226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5703005" y="155915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5" name="Freeform 227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5605879" y="1789400"/>
                <a:ext cx="597534" cy="362034"/>
              </a:xfrm>
              <a:custGeom>
                <a:avLst/>
                <a:gdLst>
                  <a:gd name="T0" fmla="*/ 240 w 1037"/>
                  <a:gd name="T1" fmla="*/ 622 h 690"/>
                  <a:gd name="T2" fmla="*/ 155 w 1037"/>
                  <a:gd name="T3" fmla="*/ 683 h 690"/>
                  <a:gd name="T4" fmla="*/ 32 w 1037"/>
                  <a:gd name="T5" fmla="*/ 654 h 690"/>
                  <a:gd name="T6" fmla="*/ 67 w 1037"/>
                  <a:gd name="T7" fmla="*/ 634 h 690"/>
                  <a:gd name="T8" fmla="*/ 18 w 1037"/>
                  <a:gd name="T9" fmla="*/ 596 h 690"/>
                  <a:gd name="T10" fmla="*/ 44 w 1037"/>
                  <a:gd name="T11" fmla="*/ 595 h 690"/>
                  <a:gd name="T12" fmla="*/ 67 w 1037"/>
                  <a:gd name="T13" fmla="*/ 567 h 690"/>
                  <a:gd name="T14" fmla="*/ 8 w 1037"/>
                  <a:gd name="T15" fmla="*/ 546 h 690"/>
                  <a:gd name="T16" fmla="*/ 74 w 1037"/>
                  <a:gd name="T17" fmla="*/ 523 h 690"/>
                  <a:gd name="T18" fmla="*/ 0 w 1037"/>
                  <a:gd name="T19" fmla="*/ 499 h 690"/>
                  <a:gd name="T20" fmla="*/ 20 w 1037"/>
                  <a:gd name="T21" fmla="*/ 456 h 690"/>
                  <a:gd name="T22" fmla="*/ 37 w 1037"/>
                  <a:gd name="T23" fmla="*/ 461 h 690"/>
                  <a:gd name="T24" fmla="*/ 77 w 1037"/>
                  <a:gd name="T25" fmla="*/ 449 h 690"/>
                  <a:gd name="T26" fmla="*/ 92 w 1037"/>
                  <a:gd name="T27" fmla="*/ 424 h 690"/>
                  <a:gd name="T28" fmla="*/ 130 w 1037"/>
                  <a:gd name="T29" fmla="*/ 409 h 690"/>
                  <a:gd name="T30" fmla="*/ 220 w 1037"/>
                  <a:gd name="T31" fmla="*/ 382 h 690"/>
                  <a:gd name="T32" fmla="*/ 227 w 1037"/>
                  <a:gd name="T33" fmla="*/ 339 h 690"/>
                  <a:gd name="T34" fmla="*/ 283 w 1037"/>
                  <a:gd name="T35" fmla="*/ 325 h 690"/>
                  <a:gd name="T36" fmla="*/ 282 w 1037"/>
                  <a:gd name="T37" fmla="*/ 310 h 690"/>
                  <a:gd name="T38" fmla="*/ 298 w 1037"/>
                  <a:gd name="T39" fmla="*/ 285 h 690"/>
                  <a:gd name="T40" fmla="*/ 335 w 1037"/>
                  <a:gd name="T41" fmla="*/ 243 h 690"/>
                  <a:gd name="T42" fmla="*/ 343 w 1037"/>
                  <a:gd name="T43" fmla="*/ 226 h 690"/>
                  <a:gd name="T44" fmla="*/ 390 w 1037"/>
                  <a:gd name="T45" fmla="*/ 200 h 690"/>
                  <a:gd name="T46" fmla="*/ 387 w 1037"/>
                  <a:gd name="T47" fmla="*/ 157 h 690"/>
                  <a:gd name="T48" fmla="*/ 373 w 1037"/>
                  <a:gd name="T49" fmla="*/ 142 h 690"/>
                  <a:gd name="T50" fmla="*/ 334 w 1037"/>
                  <a:gd name="T51" fmla="*/ 154 h 690"/>
                  <a:gd name="T52" fmla="*/ 390 w 1037"/>
                  <a:gd name="T53" fmla="*/ 103 h 690"/>
                  <a:gd name="T54" fmla="*/ 411 w 1037"/>
                  <a:gd name="T55" fmla="*/ 96 h 690"/>
                  <a:gd name="T56" fmla="*/ 463 w 1037"/>
                  <a:gd name="T57" fmla="*/ 114 h 690"/>
                  <a:gd name="T58" fmla="*/ 466 w 1037"/>
                  <a:gd name="T59" fmla="*/ 91 h 690"/>
                  <a:gd name="T60" fmla="*/ 558 w 1037"/>
                  <a:gd name="T61" fmla="*/ 61 h 690"/>
                  <a:gd name="T62" fmla="*/ 591 w 1037"/>
                  <a:gd name="T63" fmla="*/ 63 h 690"/>
                  <a:gd name="T64" fmla="*/ 645 w 1037"/>
                  <a:gd name="T65" fmla="*/ 55 h 690"/>
                  <a:gd name="T66" fmla="*/ 645 w 1037"/>
                  <a:gd name="T67" fmla="*/ 33 h 690"/>
                  <a:gd name="T68" fmla="*/ 699 w 1037"/>
                  <a:gd name="T69" fmla="*/ 13 h 690"/>
                  <a:gd name="T70" fmla="*/ 705 w 1037"/>
                  <a:gd name="T71" fmla="*/ 29 h 690"/>
                  <a:gd name="T72" fmla="*/ 712 w 1037"/>
                  <a:gd name="T73" fmla="*/ 40 h 690"/>
                  <a:gd name="T74" fmla="*/ 758 w 1037"/>
                  <a:gd name="T75" fmla="*/ 12 h 690"/>
                  <a:gd name="T76" fmla="*/ 817 w 1037"/>
                  <a:gd name="T77" fmla="*/ 6 h 690"/>
                  <a:gd name="T78" fmla="*/ 844 w 1037"/>
                  <a:gd name="T79" fmla="*/ 8 h 690"/>
                  <a:gd name="T80" fmla="*/ 862 w 1037"/>
                  <a:gd name="T81" fmla="*/ 11 h 690"/>
                  <a:gd name="T82" fmla="*/ 924 w 1037"/>
                  <a:gd name="T83" fmla="*/ 6 h 690"/>
                  <a:gd name="T84" fmla="*/ 1037 w 1037"/>
                  <a:gd name="T85" fmla="*/ 43 h 690"/>
                  <a:gd name="T86" fmla="*/ 1005 w 1037"/>
                  <a:gd name="T87" fmla="*/ 79 h 690"/>
                  <a:gd name="T88" fmla="*/ 930 w 1037"/>
                  <a:gd name="T89" fmla="*/ 55 h 690"/>
                  <a:gd name="T90" fmla="*/ 873 w 1037"/>
                  <a:gd name="T91" fmla="*/ 74 h 690"/>
                  <a:gd name="T92" fmla="*/ 848 w 1037"/>
                  <a:gd name="T93" fmla="*/ 116 h 690"/>
                  <a:gd name="T94" fmla="*/ 811 w 1037"/>
                  <a:gd name="T95" fmla="*/ 111 h 690"/>
                  <a:gd name="T96" fmla="*/ 745 w 1037"/>
                  <a:gd name="T97" fmla="*/ 128 h 690"/>
                  <a:gd name="T98" fmla="*/ 694 w 1037"/>
                  <a:gd name="T99" fmla="*/ 92 h 690"/>
                  <a:gd name="T100" fmla="*/ 620 w 1037"/>
                  <a:gd name="T101" fmla="*/ 112 h 690"/>
                  <a:gd name="T102" fmla="*/ 534 w 1037"/>
                  <a:gd name="T103" fmla="*/ 134 h 690"/>
                  <a:gd name="T104" fmla="*/ 486 w 1037"/>
                  <a:gd name="T105" fmla="*/ 210 h 690"/>
                  <a:gd name="T106" fmla="*/ 430 w 1037"/>
                  <a:gd name="T107" fmla="*/ 279 h 690"/>
                  <a:gd name="T108" fmla="*/ 399 w 1037"/>
                  <a:gd name="T109" fmla="*/ 364 h 690"/>
                  <a:gd name="T110" fmla="*/ 333 w 1037"/>
                  <a:gd name="T111" fmla="*/ 425 h 690"/>
                  <a:gd name="T112" fmla="*/ 355 w 1037"/>
                  <a:gd name="T113" fmla="*/ 497 h 690"/>
                  <a:gd name="T114" fmla="*/ 354 w 1037"/>
                  <a:gd name="T115" fmla="*/ 558 h 690"/>
                  <a:gd name="T116" fmla="*/ 331 w 1037"/>
                  <a:gd name="T117" fmla="*/ 615 h 690"/>
                  <a:gd name="T118" fmla="*/ 295 w 1037"/>
                  <a:gd name="T119" fmla="*/ 645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6" name="Freeform 228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6057725" y="2630969"/>
                <a:ext cx="65454" cy="90508"/>
              </a:xfrm>
              <a:custGeom>
                <a:avLst/>
                <a:gdLst>
                  <a:gd name="T0" fmla="*/ 120 w 120"/>
                  <a:gd name="T1" fmla="*/ 99 h 173"/>
                  <a:gd name="T2" fmla="*/ 92 w 120"/>
                  <a:gd name="T3" fmla="*/ 60 h 173"/>
                  <a:gd name="T4" fmla="*/ 70 w 120"/>
                  <a:gd name="T5" fmla="*/ 28 h 173"/>
                  <a:gd name="T6" fmla="*/ 60 w 120"/>
                  <a:gd name="T7" fmla="*/ 16 h 173"/>
                  <a:gd name="T8" fmla="*/ 53 w 120"/>
                  <a:gd name="T9" fmla="*/ 8 h 173"/>
                  <a:gd name="T10" fmla="*/ 48 w 120"/>
                  <a:gd name="T11" fmla="*/ 4 h 173"/>
                  <a:gd name="T12" fmla="*/ 45 w 120"/>
                  <a:gd name="T13" fmla="*/ 2 h 173"/>
                  <a:gd name="T14" fmla="*/ 43 w 120"/>
                  <a:gd name="T15" fmla="*/ 1 h 173"/>
                  <a:gd name="T16" fmla="*/ 39 w 120"/>
                  <a:gd name="T17" fmla="*/ 0 h 173"/>
                  <a:gd name="T18" fmla="*/ 33 w 120"/>
                  <a:gd name="T19" fmla="*/ 0 h 173"/>
                  <a:gd name="T20" fmla="*/ 27 w 120"/>
                  <a:gd name="T21" fmla="*/ 1 h 173"/>
                  <a:gd name="T22" fmla="*/ 24 w 120"/>
                  <a:gd name="T23" fmla="*/ 3 h 173"/>
                  <a:gd name="T24" fmla="*/ 21 w 120"/>
                  <a:gd name="T25" fmla="*/ 5 h 173"/>
                  <a:gd name="T26" fmla="*/ 19 w 120"/>
                  <a:gd name="T27" fmla="*/ 8 h 173"/>
                  <a:gd name="T28" fmla="*/ 16 w 120"/>
                  <a:gd name="T29" fmla="*/ 12 h 173"/>
                  <a:gd name="T30" fmla="*/ 15 w 120"/>
                  <a:gd name="T31" fmla="*/ 15 h 173"/>
                  <a:gd name="T32" fmla="*/ 15 w 120"/>
                  <a:gd name="T33" fmla="*/ 20 h 173"/>
                  <a:gd name="T34" fmla="*/ 14 w 120"/>
                  <a:gd name="T35" fmla="*/ 30 h 173"/>
                  <a:gd name="T36" fmla="*/ 12 w 120"/>
                  <a:gd name="T37" fmla="*/ 42 h 173"/>
                  <a:gd name="T38" fmla="*/ 10 w 120"/>
                  <a:gd name="T39" fmla="*/ 48 h 173"/>
                  <a:gd name="T40" fmla="*/ 8 w 120"/>
                  <a:gd name="T41" fmla="*/ 54 h 173"/>
                  <a:gd name="T42" fmla="*/ 4 w 120"/>
                  <a:gd name="T43" fmla="*/ 61 h 173"/>
                  <a:gd name="T44" fmla="*/ 0 w 120"/>
                  <a:gd name="T45" fmla="*/ 68 h 173"/>
                  <a:gd name="T46" fmla="*/ 5 w 120"/>
                  <a:gd name="T47" fmla="*/ 82 h 173"/>
                  <a:gd name="T48" fmla="*/ 10 w 120"/>
                  <a:gd name="T49" fmla="*/ 99 h 173"/>
                  <a:gd name="T50" fmla="*/ 15 w 120"/>
                  <a:gd name="T51" fmla="*/ 115 h 173"/>
                  <a:gd name="T52" fmla="*/ 20 w 120"/>
                  <a:gd name="T53" fmla="*/ 129 h 173"/>
                  <a:gd name="T54" fmla="*/ 24 w 120"/>
                  <a:gd name="T55" fmla="*/ 134 h 173"/>
                  <a:gd name="T56" fmla="*/ 30 w 120"/>
                  <a:gd name="T57" fmla="*/ 139 h 173"/>
                  <a:gd name="T58" fmla="*/ 37 w 120"/>
                  <a:gd name="T59" fmla="*/ 145 h 173"/>
                  <a:gd name="T60" fmla="*/ 46 w 120"/>
                  <a:gd name="T61" fmla="*/ 151 h 173"/>
                  <a:gd name="T62" fmla="*/ 54 w 120"/>
                  <a:gd name="T63" fmla="*/ 157 h 173"/>
                  <a:gd name="T64" fmla="*/ 60 w 120"/>
                  <a:gd name="T65" fmla="*/ 163 h 173"/>
                  <a:gd name="T66" fmla="*/ 62 w 120"/>
                  <a:gd name="T67" fmla="*/ 165 h 173"/>
                  <a:gd name="T68" fmla="*/ 65 w 120"/>
                  <a:gd name="T69" fmla="*/ 168 h 173"/>
                  <a:gd name="T70" fmla="*/ 66 w 120"/>
                  <a:gd name="T71" fmla="*/ 170 h 173"/>
                  <a:gd name="T72" fmla="*/ 67 w 120"/>
                  <a:gd name="T73" fmla="*/ 173 h 173"/>
                  <a:gd name="T74" fmla="*/ 76 w 120"/>
                  <a:gd name="T75" fmla="*/ 167 h 173"/>
                  <a:gd name="T76" fmla="*/ 86 w 120"/>
                  <a:gd name="T77" fmla="*/ 160 h 173"/>
                  <a:gd name="T78" fmla="*/ 93 w 120"/>
                  <a:gd name="T79" fmla="*/ 152 h 173"/>
                  <a:gd name="T80" fmla="*/ 101 w 120"/>
                  <a:gd name="T81" fmla="*/ 142 h 173"/>
                  <a:gd name="T82" fmla="*/ 106 w 120"/>
                  <a:gd name="T83" fmla="*/ 132 h 173"/>
                  <a:gd name="T84" fmla="*/ 112 w 120"/>
                  <a:gd name="T85" fmla="*/ 121 h 173"/>
                  <a:gd name="T86" fmla="*/ 116 w 120"/>
                  <a:gd name="T87" fmla="*/ 110 h 173"/>
                  <a:gd name="T88" fmla="*/ 120 w 120"/>
                  <a:gd name="T89" fmla="*/ 9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7" name="Freeform 229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5669221" y="2470595"/>
                <a:ext cx="111905" cy="58752"/>
              </a:xfrm>
              <a:custGeom>
                <a:avLst/>
                <a:gdLst>
                  <a:gd name="T0" fmla="*/ 200 w 200"/>
                  <a:gd name="T1" fmla="*/ 55 h 98"/>
                  <a:gd name="T2" fmla="*/ 195 w 200"/>
                  <a:gd name="T3" fmla="*/ 56 h 98"/>
                  <a:gd name="T4" fmla="*/ 186 w 200"/>
                  <a:gd name="T5" fmla="*/ 60 h 98"/>
                  <a:gd name="T6" fmla="*/ 177 w 200"/>
                  <a:gd name="T7" fmla="*/ 65 h 98"/>
                  <a:gd name="T8" fmla="*/ 166 w 200"/>
                  <a:gd name="T9" fmla="*/ 73 h 98"/>
                  <a:gd name="T10" fmla="*/ 155 w 200"/>
                  <a:gd name="T11" fmla="*/ 80 h 98"/>
                  <a:gd name="T12" fmla="*/ 145 w 200"/>
                  <a:gd name="T13" fmla="*/ 87 h 98"/>
                  <a:gd name="T14" fmla="*/ 137 w 200"/>
                  <a:gd name="T15" fmla="*/ 93 h 98"/>
                  <a:gd name="T16" fmla="*/ 133 w 200"/>
                  <a:gd name="T17" fmla="*/ 98 h 98"/>
                  <a:gd name="T18" fmla="*/ 127 w 200"/>
                  <a:gd name="T19" fmla="*/ 98 h 98"/>
                  <a:gd name="T20" fmla="*/ 122 w 200"/>
                  <a:gd name="T21" fmla="*/ 98 h 98"/>
                  <a:gd name="T22" fmla="*/ 116 w 200"/>
                  <a:gd name="T23" fmla="*/ 97 h 98"/>
                  <a:gd name="T24" fmla="*/ 111 w 200"/>
                  <a:gd name="T25" fmla="*/ 95 h 98"/>
                  <a:gd name="T26" fmla="*/ 106 w 200"/>
                  <a:gd name="T27" fmla="*/ 93 h 98"/>
                  <a:gd name="T28" fmla="*/ 103 w 200"/>
                  <a:gd name="T29" fmla="*/ 88 h 98"/>
                  <a:gd name="T30" fmla="*/ 101 w 200"/>
                  <a:gd name="T31" fmla="*/ 82 h 98"/>
                  <a:gd name="T32" fmla="*/ 100 w 200"/>
                  <a:gd name="T33" fmla="*/ 74 h 98"/>
                  <a:gd name="T34" fmla="*/ 91 w 200"/>
                  <a:gd name="T35" fmla="*/ 80 h 98"/>
                  <a:gd name="T36" fmla="*/ 82 w 200"/>
                  <a:gd name="T37" fmla="*/ 86 h 98"/>
                  <a:gd name="T38" fmla="*/ 78 w 200"/>
                  <a:gd name="T39" fmla="*/ 90 h 98"/>
                  <a:gd name="T40" fmla="*/ 72 w 200"/>
                  <a:gd name="T41" fmla="*/ 93 h 98"/>
                  <a:gd name="T42" fmla="*/ 67 w 200"/>
                  <a:gd name="T43" fmla="*/ 96 h 98"/>
                  <a:gd name="T44" fmla="*/ 60 w 200"/>
                  <a:gd name="T45" fmla="*/ 98 h 98"/>
                  <a:gd name="T46" fmla="*/ 39 w 200"/>
                  <a:gd name="T47" fmla="*/ 98 h 98"/>
                  <a:gd name="T48" fmla="*/ 34 w 200"/>
                  <a:gd name="T49" fmla="*/ 98 h 98"/>
                  <a:gd name="T50" fmla="*/ 28 w 200"/>
                  <a:gd name="T51" fmla="*/ 95 h 98"/>
                  <a:gd name="T52" fmla="*/ 22 w 200"/>
                  <a:gd name="T53" fmla="*/ 92 h 98"/>
                  <a:gd name="T54" fmla="*/ 15 w 200"/>
                  <a:gd name="T55" fmla="*/ 89 h 98"/>
                  <a:gd name="T56" fmla="*/ 9 w 200"/>
                  <a:gd name="T57" fmla="*/ 85 h 98"/>
                  <a:gd name="T58" fmla="*/ 4 w 200"/>
                  <a:gd name="T59" fmla="*/ 81 h 98"/>
                  <a:gd name="T60" fmla="*/ 1 w 200"/>
                  <a:gd name="T61" fmla="*/ 77 h 98"/>
                  <a:gd name="T62" fmla="*/ 0 w 200"/>
                  <a:gd name="T63" fmla="*/ 74 h 98"/>
                  <a:gd name="T64" fmla="*/ 5 w 200"/>
                  <a:gd name="T65" fmla="*/ 71 h 98"/>
                  <a:gd name="T66" fmla="*/ 10 w 200"/>
                  <a:gd name="T67" fmla="*/ 67 h 98"/>
                  <a:gd name="T68" fmla="*/ 14 w 200"/>
                  <a:gd name="T69" fmla="*/ 60 h 98"/>
                  <a:gd name="T70" fmla="*/ 20 w 200"/>
                  <a:gd name="T71" fmla="*/ 53 h 98"/>
                  <a:gd name="T72" fmla="*/ 23 w 200"/>
                  <a:gd name="T73" fmla="*/ 45 h 98"/>
                  <a:gd name="T74" fmla="*/ 27 w 200"/>
                  <a:gd name="T75" fmla="*/ 37 h 98"/>
                  <a:gd name="T76" fmla="*/ 30 w 200"/>
                  <a:gd name="T77" fmla="*/ 28 h 98"/>
                  <a:gd name="T78" fmla="*/ 33 w 200"/>
                  <a:gd name="T79" fmla="*/ 19 h 98"/>
                  <a:gd name="T80" fmla="*/ 66 w 200"/>
                  <a:gd name="T81" fmla="*/ 14 h 98"/>
                  <a:gd name="T82" fmla="*/ 103 w 200"/>
                  <a:gd name="T83" fmla="*/ 9 h 98"/>
                  <a:gd name="T84" fmla="*/ 145 w 200"/>
                  <a:gd name="T85" fmla="*/ 4 h 98"/>
                  <a:gd name="T86" fmla="*/ 193 w 200"/>
                  <a:gd name="T87" fmla="*/ 0 h 98"/>
                  <a:gd name="T88" fmla="*/ 166 w 200"/>
                  <a:gd name="T89" fmla="*/ 31 h 98"/>
                  <a:gd name="T90" fmla="*/ 166 w 200"/>
                  <a:gd name="T91" fmla="*/ 34 h 98"/>
                  <a:gd name="T92" fmla="*/ 164 w 200"/>
                  <a:gd name="T93" fmla="*/ 37 h 98"/>
                  <a:gd name="T94" fmla="*/ 162 w 200"/>
                  <a:gd name="T95" fmla="*/ 39 h 98"/>
                  <a:gd name="T96" fmla="*/ 161 w 200"/>
                  <a:gd name="T97" fmla="*/ 41 h 98"/>
                  <a:gd name="T98" fmla="*/ 157 w 200"/>
                  <a:gd name="T99" fmla="*/ 45 h 98"/>
                  <a:gd name="T100" fmla="*/ 156 w 200"/>
                  <a:gd name="T101" fmla="*/ 47 h 98"/>
                  <a:gd name="T102" fmla="*/ 156 w 200"/>
                  <a:gd name="T103" fmla="*/ 49 h 98"/>
                  <a:gd name="T104" fmla="*/ 157 w 200"/>
                  <a:gd name="T105" fmla="*/ 50 h 98"/>
                  <a:gd name="T106" fmla="*/ 159 w 200"/>
                  <a:gd name="T107" fmla="*/ 50 h 98"/>
                  <a:gd name="T108" fmla="*/ 163 w 200"/>
                  <a:gd name="T109" fmla="*/ 51 h 98"/>
                  <a:gd name="T110" fmla="*/ 177 w 200"/>
                  <a:gd name="T111" fmla="*/ 53 h 98"/>
                  <a:gd name="T112" fmla="*/ 200 w 200"/>
                  <a:gd name="T113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8" name="Freeform 230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5586875" y="2289578"/>
                <a:ext cx="111906" cy="73042"/>
              </a:xfrm>
              <a:custGeom>
                <a:avLst/>
                <a:gdLst>
                  <a:gd name="T0" fmla="*/ 0 w 186"/>
                  <a:gd name="T1" fmla="*/ 112 h 142"/>
                  <a:gd name="T2" fmla="*/ 2 w 186"/>
                  <a:gd name="T3" fmla="*/ 116 h 142"/>
                  <a:gd name="T4" fmla="*/ 3 w 186"/>
                  <a:gd name="T5" fmla="*/ 107 h 142"/>
                  <a:gd name="T6" fmla="*/ 3 w 186"/>
                  <a:gd name="T7" fmla="*/ 93 h 142"/>
                  <a:gd name="T8" fmla="*/ 9 w 186"/>
                  <a:gd name="T9" fmla="*/ 82 h 142"/>
                  <a:gd name="T10" fmla="*/ 17 w 186"/>
                  <a:gd name="T11" fmla="*/ 69 h 142"/>
                  <a:gd name="T12" fmla="*/ 20 w 186"/>
                  <a:gd name="T13" fmla="*/ 56 h 142"/>
                  <a:gd name="T14" fmla="*/ 23 w 186"/>
                  <a:gd name="T15" fmla="*/ 46 h 142"/>
                  <a:gd name="T16" fmla="*/ 28 w 186"/>
                  <a:gd name="T17" fmla="*/ 37 h 142"/>
                  <a:gd name="T18" fmla="*/ 35 w 186"/>
                  <a:gd name="T19" fmla="*/ 32 h 142"/>
                  <a:gd name="T20" fmla="*/ 41 w 186"/>
                  <a:gd name="T21" fmla="*/ 38 h 142"/>
                  <a:gd name="T22" fmla="*/ 43 w 186"/>
                  <a:gd name="T23" fmla="*/ 49 h 142"/>
                  <a:gd name="T24" fmla="*/ 47 w 186"/>
                  <a:gd name="T25" fmla="*/ 58 h 142"/>
                  <a:gd name="T26" fmla="*/ 55 w 186"/>
                  <a:gd name="T27" fmla="*/ 65 h 142"/>
                  <a:gd name="T28" fmla="*/ 87 w 186"/>
                  <a:gd name="T29" fmla="*/ 67 h 142"/>
                  <a:gd name="T30" fmla="*/ 79 w 186"/>
                  <a:gd name="T31" fmla="*/ 41 h 142"/>
                  <a:gd name="T32" fmla="*/ 69 w 186"/>
                  <a:gd name="T33" fmla="*/ 36 h 142"/>
                  <a:gd name="T34" fmla="*/ 63 w 186"/>
                  <a:gd name="T35" fmla="*/ 30 h 142"/>
                  <a:gd name="T36" fmla="*/ 61 w 186"/>
                  <a:gd name="T37" fmla="*/ 23 h 142"/>
                  <a:gd name="T38" fmla="*/ 70 w 186"/>
                  <a:gd name="T39" fmla="*/ 17 h 142"/>
                  <a:gd name="T40" fmla="*/ 87 w 186"/>
                  <a:gd name="T41" fmla="*/ 14 h 142"/>
                  <a:gd name="T42" fmla="*/ 98 w 186"/>
                  <a:gd name="T43" fmla="*/ 10 h 142"/>
                  <a:gd name="T44" fmla="*/ 111 w 186"/>
                  <a:gd name="T45" fmla="*/ 6 h 142"/>
                  <a:gd name="T46" fmla="*/ 130 w 186"/>
                  <a:gd name="T47" fmla="*/ 3 h 142"/>
                  <a:gd name="T48" fmla="*/ 147 w 186"/>
                  <a:gd name="T49" fmla="*/ 1 h 142"/>
                  <a:gd name="T50" fmla="*/ 159 w 186"/>
                  <a:gd name="T51" fmla="*/ 2 h 142"/>
                  <a:gd name="T52" fmla="*/ 176 w 186"/>
                  <a:gd name="T53" fmla="*/ 1 h 142"/>
                  <a:gd name="T54" fmla="*/ 183 w 186"/>
                  <a:gd name="T55" fmla="*/ 10 h 142"/>
                  <a:gd name="T56" fmla="*/ 178 w 186"/>
                  <a:gd name="T57" fmla="*/ 26 h 142"/>
                  <a:gd name="T58" fmla="*/ 169 w 186"/>
                  <a:gd name="T59" fmla="*/ 40 h 142"/>
                  <a:gd name="T60" fmla="*/ 159 w 186"/>
                  <a:gd name="T61" fmla="*/ 51 h 142"/>
                  <a:gd name="T62" fmla="*/ 155 w 186"/>
                  <a:gd name="T63" fmla="*/ 63 h 142"/>
                  <a:gd name="T64" fmla="*/ 153 w 186"/>
                  <a:gd name="T65" fmla="*/ 76 h 142"/>
                  <a:gd name="T66" fmla="*/ 120 w 186"/>
                  <a:gd name="T67" fmla="*/ 142 h 142"/>
                  <a:gd name="T68" fmla="*/ 80 w 186"/>
                  <a:gd name="T69" fmla="*/ 122 h 142"/>
                  <a:gd name="T70" fmla="*/ 35 w 186"/>
                  <a:gd name="T71" fmla="*/ 117 h 142"/>
                  <a:gd name="T72" fmla="*/ 8 w 186"/>
                  <a:gd name="T73" fmla="*/ 113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9" name="Freeform 231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5561539" y="2353092"/>
                <a:ext cx="111906" cy="57162"/>
              </a:xfrm>
              <a:custGeom>
                <a:avLst/>
                <a:gdLst>
                  <a:gd name="T0" fmla="*/ 192 w 192"/>
                  <a:gd name="T1" fmla="*/ 61 h 105"/>
                  <a:gd name="T2" fmla="*/ 189 w 192"/>
                  <a:gd name="T3" fmla="*/ 62 h 105"/>
                  <a:gd name="T4" fmla="*/ 184 w 192"/>
                  <a:gd name="T5" fmla="*/ 63 h 105"/>
                  <a:gd name="T6" fmla="*/ 180 w 192"/>
                  <a:gd name="T7" fmla="*/ 64 h 105"/>
                  <a:gd name="T8" fmla="*/ 177 w 192"/>
                  <a:gd name="T9" fmla="*/ 67 h 105"/>
                  <a:gd name="T10" fmla="*/ 168 w 192"/>
                  <a:gd name="T11" fmla="*/ 72 h 105"/>
                  <a:gd name="T12" fmla="*/ 160 w 192"/>
                  <a:gd name="T13" fmla="*/ 79 h 105"/>
                  <a:gd name="T14" fmla="*/ 154 w 192"/>
                  <a:gd name="T15" fmla="*/ 86 h 105"/>
                  <a:gd name="T16" fmla="*/ 147 w 192"/>
                  <a:gd name="T17" fmla="*/ 93 h 105"/>
                  <a:gd name="T18" fmla="*/ 143 w 192"/>
                  <a:gd name="T19" fmla="*/ 99 h 105"/>
                  <a:gd name="T20" fmla="*/ 139 w 192"/>
                  <a:gd name="T21" fmla="*/ 105 h 105"/>
                  <a:gd name="T22" fmla="*/ 120 w 192"/>
                  <a:gd name="T23" fmla="*/ 97 h 105"/>
                  <a:gd name="T24" fmla="*/ 102 w 192"/>
                  <a:gd name="T25" fmla="*/ 89 h 105"/>
                  <a:gd name="T26" fmla="*/ 86 w 192"/>
                  <a:gd name="T27" fmla="*/ 80 h 105"/>
                  <a:gd name="T28" fmla="*/ 69 w 192"/>
                  <a:gd name="T29" fmla="*/ 71 h 105"/>
                  <a:gd name="T30" fmla="*/ 53 w 192"/>
                  <a:gd name="T31" fmla="*/ 61 h 105"/>
                  <a:gd name="T32" fmla="*/ 36 w 192"/>
                  <a:gd name="T33" fmla="*/ 53 h 105"/>
                  <a:gd name="T34" fmla="*/ 19 w 192"/>
                  <a:gd name="T35" fmla="*/ 44 h 105"/>
                  <a:gd name="T36" fmla="*/ 0 w 192"/>
                  <a:gd name="T37" fmla="*/ 37 h 105"/>
                  <a:gd name="T38" fmla="*/ 0 w 192"/>
                  <a:gd name="T39" fmla="*/ 13 h 105"/>
                  <a:gd name="T40" fmla="*/ 7 w 192"/>
                  <a:gd name="T41" fmla="*/ 7 h 105"/>
                  <a:gd name="T42" fmla="*/ 16 w 192"/>
                  <a:gd name="T43" fmla="*/ 4 h 105"/>
                  <a:gd name="T44" fmla="*/ 29 w 192"/>
                  <a:gd name="T45" fmla="*/ 1 h 105"/>
                  <a:gd name="T46" fmla="*/ 40 w 192"/>
                  <a:gd name="T47" fmla="*/ 0 h 105"/>
                  <a:gd name="T48" fmla="*/ 60 w 192"/>
                  <a:gd name="T49" fmla="*/ 2 h 105"/>
                  <a:gd name="T50" fmla="*/ 93 w 192"/>
                  <a:gd name="T51" fmla="*/ 5 h 105"/>
                  <a:gd name="T52" fmla="*/ 111 w 192"/>
                  <a:gd name="T53" fmla="*/ 7 h 105"/>
                  <a:gd name="T54" fmla="*/ 128 w 192"/>
                  <a:gd name="T55" fmla="*/ 7 h 105"/>
                  <a:gd name="T56" fmla="*/ 143 w 192"/>
                  <a:gd name="T57" fmla="*/ 7 h 105"/>
                  <a:gd name="T58" fmla="*/ 153 w 192"/>
                  <a:gd name="T59" fmla="*/ 6 h 105"/>
                  <a:gd name="T60" fmla="*/ 155 w 192"/>
                  <a:gd name="T61" fmla="*/ 11 h 105"/>
                  <a:gd name="T62" fmla="*/ 159 w 192"/>
                  <a:gd name="T63" fmla="*/ 17 h 105"/>
                  <a:gd name="T64" fmla="*/ 161 w 192"/>
                  <a:gd name="T65" fmla="*/ 20 h 105"/>
                  <a:gd name="T66" fmla="*/ 164 w 192"/>
                  <a:gd name="T67" fmla="*/ 23 h 105"/>
                  <a:gd name="T68" fmla="*/ 165 w 192"/>
                  <a:gd name="T69" fmla="*/ 27 h 105"/>
                  <a:gd name="T70" fmla="*/ 166 w 192"/>
                  <a:gd name="T71" fmla="*/ 31 h 105"/>
                  <a:gd name="T72" fmla="*/ 170 w 192"/>
                  <a:gd name="T73" fmla="*/ 32 h 105"/>
                  <a:gd name="T74" fmla="*/ 177 w 192"/>
                  <a:gd name="T75" fmla="*/ 33 h 105"/>
                  <a:gd name="T76" fmla="*/ 180 w 192"/>
                  <a:gd name="T77" fmla="*/ 34 h 105"/>
                  <a:gd name="T78" fmla="*/ 183 w 192"/>
                  <a:gd name="T79" fmla="*/ 34 h 105"/>
                  <a:gd name="T80" fmla="*/ 188 w 192"/>
                  <a:gd name="T81" fmla="*/ 33 h 105"/>
                  <a:gd name="T82" fmla="*/ 192 w 192"/>
                  <a:gd name="T83" fmla="*/ 31 h 105"/>
                  <a:gd name="T84" fmla="*/ 192 w 192"/>
                  <a:gd name="T85" fmla="*/ 6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0" name="Freeform 232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6572915" y="2907259"/>
                <a:ext cx="44339" cy="131793"/>
              </a:xfrm>
              <a:custGeom>
                <a:avLst/>
                <a:gdLst>
                  <a:gd name="T0" fmla="*/ 33 w 80"/>
                  <a:gd name="T1" fmla="*/ 0 h 254"/>
                  <a:gd name="T2" fmla="*/ 37 w 80"/>
                  <a:gd name="T3" fmla="*/ 2 h 254"/>
                  <a:gd name="T4" fmla="*/ 40 w 80"/>
                  <a:gd name="T5" fmla="*/ 4 h 254"/>
                  <a:gd name="T6" fmla="*/ 43 w 80"/>
                  <a:gd name="T7" fmla="*/ 7 h 254"/>
                  <a:gd name="T8" fmla="*/ 46 w 80"/>
                  <a:gd name="T9" fmla="*/ 10 h 254"/>
                  <a:gd name="T10" fmla="*/ 52 w 80"/>
                  <a:gd name="T11" fmla="*/ 18 h 254"/>
                  <a:gd name="T12" fmla="*/ 56 w 80"/>
                  <a:gd name="T13" fmla="*/ 25 h 254"/>
                  <a:gd name="T14" fmla="*/ 62 w 80"/>
                  <a:gd name="T15" fmla="*/ 32 h 254"/>
                  <a:gd name="T16" fmla="*/ 67 w 80"/>
                  <a:gd name="T17" fmla="*/ 38 h 254"/>
                  <a:gd name="T18" fmla="*/ 70 w 80"/>
                  <a:gd name="T19" fmla="*/ 40 h 254"/>
                  <a:gd name="T20" fmla="*/ 73 w 80"/>
                  <a:gd name="T21" fmla="*/ 42 h 254"/>
                  <a:gd name="T22" fmla="*/ 76 w 80"/>
                  <a:gd name="T23" fmla="*/ 43 h 254"/>
                  <a:gd name="T24" fmla="*/ 80 w 80"/>
                  <a:gd name="T25" fmla="*/ 44 h 254"/>
                  <a:gd name="T26" fmla="*/ 80 w 80"/>
                  <a:gd name="T27" fmla="*/ 53 h 254"/>
                  <a:gd name="T28" fmla="*/ 80 w 80"/>
                  <a:gd name="T29" fmla="*/ 62 h 254"/>
                  <a:gd name="T30" fmla="*/ 53 w 80"/>
                  <a:gd name="T31" fmla="*/ 254 h 254"/>
                  <a:gd name="T32" fmla="*/ 0 w 80"/>
                  <a:gd name="T33" fmla="*/ 93 h 254"/>
                  <a:gd name="T34" fmla="*/ 4 w 80"/>
                  <a:gd name="T35" fmla="*/ 88 h 254"/>
                  <a:gd name="T36" fmla="*/ 11 w 80"/>
                  <a:gd name="T37" fmla="*/ 71 h 254"/>
                  <a:gd name="T38" fmla="*/ 17 w 80"/>
                  <a:gd name="T39" fmla="*/ 57 h 254"/>
                  <a:gd name="T40" fmla="*/ 22 w 80"/>
                  <a:gd name="T41" fmla="*/ 41 h 254"/>
                  <a:gd name="T42" fmla="*/ 28 w 80"/>
                  <a:gd name="T43" fmla="*/ 23 h 254"/>
                  <a:gd name="T44" fmla="*/ 33 w 80"/>
                  <a:gd name="T45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1" name="Freeform 233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6505349" y="2959657"/>
                <a:ext cx="92903" cy="130204"/>
              </a:xfrm>
              <a:custGeom>
                <a:avLst/>
                <a:gdLst>
                  <a:gd name="T0" fmla="*/ 114 w 167"/>
                  <a:gd name="T1" fmla="*/ 0 h 259"/>
                  <a:gd name="T2" fmla="*/ 167 w 167"/>
                  <a:gd name="T3" fmla="*/ 155 h 259"/>
                  <a:gd name="T4" fmla="*/ 121 w 167"/>
                  <a:gd name="T5" fmla="*/ 259 h 259"/>
                  <a:gd name="T6" fmla="*/ 113 w 167"/>
                  <a:gd name="T7" fmla="*/ 259 h 259"/>
                  <a:gd name="T8" fmla="*/ 107 w 167"/>
                  <a:gd name="T9" fmla="*/ 257 h 259"/>
                  <a:gd name="T10" fmla="*/ 100 w 167"/>
                  <a:gd name="T11" fmla="*/ 254 h 259"/>
                  <a:gd name="T12" fmla="*/ 95 w 167"/>
                  <a:gd name="T13" fmla="*/ 251 h 259"/>
                  <a:gd name="T14" fmla="*/ 89 w 167"/>
                  <a:gd name="T15" fmla="*/ 245 h 259"/>
                  <a:gd name="T16" fmla="*/ 85 w 167"/>
                  <a:gd name="T17" fmla="*/ 240 h 259"/>
                  <a:gd name="T18" fmla="*/ 80 w 167"/>
                  <a:gd name="T19" fmla="*/ 235 h 259"/>
                  <a:gd name="T20" fmla="*/ 76 w 167"/>
                  <a:gd name="T21" fmla="*/ 229 h 259"/>
                  <a:gd name="T22" fmla="*/ 69 w 167"/>
                  <a:gd name="T23" fmla="*/ 217 h 259"/>
                  <a:gd name="T24" fmla="*/ 65 w 167"/>
                  <a:gd name="T25" fmla="*/ 205 h 259"/>
                  <a:gd name="T26" fmla="*/ 62 w 167"/>
                  <a:gd name="T27" fmla="*/ 194 h 259"/>
                  <a:gd name="T28" fmla="*/ 62 w 167"/>
                  <a:gd name="T29" fmla="*/ 185 h 259"/>
                  <a:gd name="T30" fmla="*/ 55 w 167"/>
                  <a:gd name="T31" fmla="*/ 184 h 259"/>
                  <a:gd name="T32" fmla="*/ 51 w 167"/>
                  <a:gd name="T33" fmla="*/ 183 h 259"/>
                  <a:gd name="T34" fmla="*/ 45 w 167"/>
                  <a:gd name="T35" fmla="*/ 182 h 259"/>
                  <a:gd name="T36" fmla="*/ 42 w 167"/>
                  <a:gd name="T37" fmla="*/ 180 h 259"/>
                  <a:gd name="T38" fmla="*/ 39 w 167"/>
                  <a:gd name="T39" fmla="*/ 177 h 259"/>
                  <a:gd name="T40" fmla="*/ 36 w 167"/>
                  <a:gd name="T41" fmla="*/ 174 h 259"/>
                  <a:gd name="T42" fmla="*/ 34 w 167"/>
                  <a:gd name="T43" fmla="*/ 170 h 259"/>
                  <a:gd name="T44" fmla="*/ 32 w 167"/>
                  <a:gd name="T45" fmla="*/ 167 h 259"/>
                  <a:gd name="T46" fmla="*/ 30 w 167"/>
                  <a:gd name="T47" fmla="*/ 158 h 259"/>
                  <a:gd name="T48" fmla="*/ 29 w 167"/>
                  <a:gd name="T49" fmla="*/ 149 h 259"/>
                  <a:gd name="T50" fmla="*/ 28 w 167"/>
                  <a:gd name="T51" fmla="*/ 140 h 259"/>
                  <a:gd name="T52" fmla="*/ 28 w 167"/>
                  <a:gd name="T53" fmla="*/ 129 h 259"/>
                  <a:gd name="T54" fmla="*/ 21 w 167"/>
                  <a:gd name="T55" fmla="*/ 129 h 259"/>
                  <a:gd name="T56" fmla="*/ 16 w 167"/>
                  <a:gd name="T57" fmla="*/ 127 h 259"/>
                  <a:gd name="T58" fmla="*/ 11 w 167"/>
                  <a:gd name="T59" fmla="*/ 125 h 259"/>
                  <a:gd name="T60" fmla="*/ 7 w 167"/>
                  <a:gd name="T61" fmla="*/ 121 h 259"/>
                  <a:gd name="T62" fmla="*/ 5 w 167"/>
                  <a:gd name="T63" fmla="*/ 117 h 259"/>
                  <a:gd name="T64" fmla="*/ 2 w 167"/>
                  <a:gd name="T65" fmla="*/ 112 h 259"/>
                  <a:gd name="T66" fmla="*/ 0 w 167"/>
                  <a:gd name="T67" fmla="*/ 107 h 259"/>
                  <a:gd name="T68" fmla="*/ 0 w 167"/>
                  <a:gd name="T69" fmla="*/ 101 h 259"/>
                  <a:gd name="T70" fmla="*/ 0 w 167"/>
                  <a:gd name="T71" fmla="*/ 75 h 259"/>
                  <a:gd name="T72" fmla="*/ 1 w 167"/>
                  <a:gd name="T73" fmla="*/ 50 h 259"/>
                  <a:gd name="T74" fmla="*/ 12 w 167"/>
                  <a:gd name="T75" fmla="*/ 52 h 259"/>
                  <a:gd name="T76" fmla="*/ 22 w 167"/>
                  <a:gd name="T77" fmla="*/ 53 h 259"/>
                  <a:gd name="T78" fmla="*/ 32 w 167"/>
                  <a:gd name="T79" fmla="*/ 53 h 259"/>
                  <a:gd name="T80" fmla="*/ 42 w 167"/>
                  <a:gd name="T81" fmla="*/ 52 h 259"/>
                  <a:gd name="T82" fmla="*/ 50 w 167"/>
                  <a:gd name="T83" fmla="*/ 51 h 259"/>
                  <a:gd name="T84" fmla="*/ 58 w 167"/>
                  <a:gd name="T85" fmla="*/ 49 h 259"/>
                  <a:gd name="T86" fmla="*/ 66 w 167"/>
                  <a:gd name="T87" fmla="*/ 47 h 259"/>
                  <a:gd name="T88" fmla="*/ 73 w 167"/>
                  <a:gd name="T89" fmla="*/ 44 h 259"/>
                  <a:gd name="T90" fmla="*/ 79 w 167"/>
                  <a:gd name="T91" fmla="*/ 40 h 259"/>
                  <a:gd name="T92" fmla="*/ 86 w 167"/>
                  <a:gd name="T93" fmla="*/ 36 h 259"/>
                  <a:gd name="T94" fmla="*/ 91 w 167"/>
                  <a:gd name="T95" fmla="*/ 31 h 259"/>
                  <a:gd name="T96" fmla="*/ 97 w 167"/>
                  <a:gd name="T97" fmla="*/ 26 h 259"/>
                  <a:gd name="T98" fmla="*/ 107 w 167"/>
                  <a:gd name="T99" fmla="*/ 13 h 259"/>
                  <a:gd name="T100" fmla="*/ 114 w 167"/>
                  <a:gd name="T10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2" name="Freeform 234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5177258" y="2213360"/>
                <a:ext cx="128798" cy="144496"/>
              </a:xfrm>
              <a:custGeom>
                <a:avLst/>
                <a:gdLst>
                  <a:gd name="T0" fmla="*/ 185 w 225"/>
                  <a:gd name="T1" fmla="*/ 67 h 273"/>
                  <a:gd name="T2" fmla="*/ 173 w 225"/>
                  <a:gd name="T3" fmla="*/ 78 h 273"/>
                  <a:gd name="T4" fmla="*/ 159 w 225"/>
                  <a:gd name="T5" fmla="*/ 82 h 273"/>
                  <a:gd name="T6" fmla="*/ 163 w 225"/>
                  <a:gd name="T7" fmla="*/ 93 h 273"/>
                  <a:gd name="T8" fmla="*/ 174 w 225"/>
                  <a:gd name="T9" fmla="*/ 101 h 273"/>
                  <a:gd name="T10" fmla="*/ 195 w 225"/>
                  <a:gd name="T11" fmla="*/ 105 h 273"/>
                  <a:gd name="T12" fmla="*/ 225 w 225"/>
                  <a:gd name="T13" fmla="*/ 106 h 273"/>
                  <a:gd name="T14" fmla="*/ 225 w 225"/>
                  <a:gd name="T15" fmla="*/ 152 h 273"/>
                  <a:gd name="T16" fmla="*/ 224 w 225"/>
                  <a:gd name="T17" fmla="*/ 176 h 273"/>
                  <a:gd name="T18" fmla="*/ 215 w 225"/>
                  <a:gd name="T19" fmla="*/ 187 h 273"/>
                  <a:gd name="T20" fmla="*/ 197 w 225"/>
                  <a:gd name="T21" fmla="*/ 205 h 273"/>
                  <a:gd name="T22" fmla="*/ 192 w 225"/>
                  <a:gd name="T23" fmla="*/ 214 h 273"/>
                  <a:gd name="T24" fmla="*/ 179 w 225"/>
                  <a:gd name="T25" fmla="*/ 218 h 273"/>
                  <a:gd name="T26" fmla="*/ 164 w 225"/>
                  <a:gd name="T27" fmla="*/ 225 h 273"/>
                  <a:gd name="T28" fmla="*/ 159 w 225"/>
                  <a:gd name="T29" fmla="*/ 236 h 273"/>
                  <a:gd name="T30" fmla="*/ 140 w 225"/>
                  <a:gd name="T31" fmla="*/ 242 h 273"/>
                  <a:gd name="T32" fmla="*/ 128 w 225"/>
                  <a:gd name="T33" fmla="*/ 252 h 273"/>
                  <a:gd name="T34" fmla="*/ 101 w 225"/>
                  <a:gd name="T35" fmla="*/ 255 h 273"/>
                  <a:gd name="T36" fmla="*/ 60 w 225"/>
                  <a:gd name="T37" fmla="*/ 261 h 273"/>
                  <a:gd name="T38" fmla="*/ 19 w 225"/>
                  <a:gd name="T39" fmla="*/ 261 h 273"/>
                  <a:gd name="T40" fmla="*/ 0 w 225"/>
                  <a:gd name="T41" fmla="*/ 217 h 273"/>
                  <a:gd name="T42" fmla="*/ 21 w 225"/>
                  <a:gd name="T43" fmla="*/ 212 h 273"/>
                  <a:gd name="T44" fmla="*/ 26 w 225"/>
                  <a:gd name="T45" fmla="*/ 205 h 273"/>
                  <a:gd name="T46" fmla="*/ 60 w 225"/>
                  <a:gd name="T47" fmla="*/ 202 h 273"/>
                  <a:gd name="T48" fmla="*/ 72 w 225"/>
                  <a:gd name="T49" fmla="*/ 193 h 273"/>
                  <a:gd name="T50" fmla="*/ 48 w 225"/>
                  <a:gd name="T51" fmla="*/ 198 h 273"/>
                  <a:gd name="T52" fmla="*/ 40 w 225"/>
                  <a:gd name="T53" fmla="*/ 197 h 273"/>
                  <a:gd name="T54" fmla="*/ 39 w 225"/>
                  <a:gd name="T55" fmla="*/ 188 h 273"/>
                  <a:gd name="T56" fmla="*/ 46 w 225"/>
                  <a:gd name="T57" fmla="*/ 173 h 273"/>
                  <a:gd name="T58" fmla="*/ 39 w 225"/>
                  <a:gd name="T59" fmla="*/ 160 h 273"/>
                  <a:gd name="T60" fmla="*/ 14 w 225"/>
                  <a:gd name="T61" fmla="*/ 150 h 273"/>
                  <a:gd name="T62" fmla="*/ 6 w 225"/>
                  <a:gd name="T63" fmla="*/ 130 h 273"/>
                  <a:gd name="T64" fmla="*/ 22 w 225"/>
                  <a:gd name="T65" fmla="*/ 115 h 273"/>
                  <a:gd name="T66" fmla="*/ 35 w 225"/>
                  <a:gd name="T67" fmla="*/ 102 h 273"/>
                  <a:gd name="T68" fmla="*/ 68 w 225"/>
                  <a:gd name="T69" fmla="*/ 94 h 273"/>
                  <a:gd name="T70" fmla="*/ 90 w 225"/>
                  <a:gd name="T71" fmla="*/ 94 h 273"/>
                  <a:gd name="T72" fmla="*/ 100 w 225"/>
                  <a:gd name="T73" fmla="*/ 88 h 273"/>
                  <a:gd name="T74" fmla="*/ 108 w 225"/>
                  <a:gd name="T75" fmla="*/ 52 h 273"/>
                  <a:gd name="T76" fmla="*/ 120 w 225"/>
                  <a:gd name="T77" fmla="*/ 31 h 273"/>
                  <a:gd name="T78" fmla="*/ 130 w 225"/>
                  <a:gd name="T79" fmla="*/ 20 h 273"/>
                  <a:gd name="T80" fmla="*/ 141 w 225"/>
                  <a:gd name="T81" fmla="*/ 7 h 273"/>
                  <a:gd name="T82" fmla="*/ 155 w 225"/>
                  <a:gd name="T83" fmla="*/ 1 h 273"/>
                  <a:gd name="T84" fmla="*/ 179 w 225"/>
                  <a:gd name="T85" fmla="*/ 3 h 273"/>
                  <a:gd name="T86" fmla="*/ 195 w 225"/>
                  <a:gd name="T87" fmla="*/ 38 h 273"/>
                  <a:gd name="T88" fmla="*/ 196 w 225"/>
                  <a:gd name="T89" fmla="*/ 47 h 273"/>
                  <a:gd name="T90" fmla="*/ 190 w 225"/>
                  <a:gd name="T91" fmla="*/ 56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3" name="Freeform 235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928110" y="3124797"/>
                <a:ext cx="407507" cy="390614"/>
              </a:xfrm>
              <a:custGeom>
                <a:avLst/>
                <a:gdLst>
                  <a:gd name="T0" fmla="*/ 94 w 232"/>
                  <a:gd name="T1" fmla="*/ 246 h 248"/>
                  <a:gd name="T2" fmla="*/ 96 w 232"/>
                  <a:gd name="T3" fmla="*/ 243 h 248"/>
                  <a:gd name="T4" fmla="*/ 98 w 232"/>
                  <a:gd name="T5" fmla="*/ 238 h 248"/>
                  <a:gd name="T6" fmla="*/ 100 w 232"/>
                  <a:gd name="T7" fmla="*/ 232 h 248"/>
                  <a:gd name="T8" fmla="*/ 103 w 232"/>
                  <a:gd name="T9" fmla="*/ 231 h 248"/>
                  <a:gd name="T10" fmla="*/ 104 w 232"/>
                  <a:gd name="T11" fmla="*/ 238 h 248"/>
                  <a:gd name="T12" fmla="*/ 106 w 232"/>
                  <a:gd name="T13" fmla="*/ 241 h 248"/>
                  <a:gd name="T14" fmla="*/ 108 w 232"/>
                  <a:gd name="T15" fmla="*/ 242 h 248"/>
                  <a:gd name="T16" fmla="*/ 110 w 232"/>
                  <a:gd name="T17" fmla="*/ 242 h 248"/>
                  <a:gd name="T18" fmla="*/ 113 w 232"/>
                  <a:gd name="T19" fmla="*/ 241 h 248"/>
                  <a:gd name="T20" fmla="*/ 116 w 232"/>
                  <a:gd name="T21" fmla="*/ 238 h 248"/>
                  <a:gd name="T22" fmla="*/ 216 w 232"/>
                  <a:gd name="T23" fmla="*/ 234 h 248"/>
                  <a:gd name="T24" fmla="*/ 213 w 232"/>
                  <a:gd name="T25" fmla="*/ 204 h 248"/>
                  <a:gd name="T26" fmla="*/ 207 w 232"/>
                  <a:gd name="T27" fmla="*/ 138 h 248"/>
                  <a:gd name="T28" fmla="*/ 201 w 232"/>
                  <a:gd name="T29" fmla="*/ 73 h 248"/>
                  <a:gd name="T30" fmla="*/ 198 w 232"/>
                  <a:gd name="T31" fmla="*/ 43 h 248"/>
                  <a:gd name="T32" fmla="*/ 215 w 232"/>
                  <a:gd name="T33" fmla="*/ 44 h 248"/>
                  <a:gd name="T34" fmla="*/ 232 w 232"/>
                  <a:gd name="T35" fmla="*/ 46 h 248"/>
                  <a:gd name="T36" fmla="*/ 161 w 232"/>
                  <a:gd name="T37" fmla="*/ 2 h 248"/>
                  <a:gd name="T38" fmla="*/ 160 w 232"/>
                  <a:gd name="T39" fmla="*/ 8 h 248"/>
                  <a:gd name="T40" fmla="*/ 161 w 232"/>
                  <a:gd name="T41" fmla="*/ 18 h 248"/>
                  <a:gd name="T42" fmla="*/ 98 w 232"/>
                  <a:gd name="T43" fmla="*/ 24 h 248"/>
                  <a:gd name="T44" fmla="*/ 98 w 232"/>
                  <a:gd name="T45" fmla="*/ 74 h 248"/>
                  <a:gd name="T46" fmla="*/ 95 w 232"/>
                  <a:gd name="T47" fmla="*/ 76 h 248"/>
                  <a:gd name="T48" fmla="*/ 87 w 232"/>
                  <a:gd name="T49" fmla="*/ 78 h 248"/>
                  <a:gd name="T50" fmla="*/ 72 w 232"/>
                  <a:gd name="T51" fmla="*/ 82 h 248"/>
                  <a:gd name="T52" fmla="*/ 74 w 232"/>
                  <a:gd name="T53" fmla="*/ 88 h 248"/>
                  <a:gd name="T54" fmla="*/ 78 w 232"/>
                  <a:gd name="T55" fmla="*/ 96 h 248"/>
                  <a:gd name="T56" fmla="*/ 80 w 232"/>
                  <a:gd name="T57" fmla="*/ 105 h 248"/>
                  <a:gd name="T58" fmla="*/ 81 w 232"/>
                  <a:gd name="T59" fmla="*/ 115 h 248"/>
                  <a:gd name="T60" fmla="*/ 9 w 232"/>
                  <a:gd name="T61" fmla="*/ 119 h 248"/>
                  <a:gd name="T62" fmla="*/ 5 w 232"/>
                  <a:gd name="T63" fmla="*/ 130 h 248"/>
                  <a:gd name="T64" fmla="*/ 6 w 232"/>
                  <a:gd name="T65" fmla="*/ 143 h 248"/>
                  <a:gd name="T66" fmla="*/ 8 w 232"/>
                  <a:gd name="T67" fmla="*/ 155 h 248"/>
                  <a:gd name="T68" fmla="*/ 9 w 232"/>
                  <a:gd name="T69" fmla="*/ 168 h 248"/>
                  <a:gd name="T70" fmla="*/ 9 w 232"/>
                  <a:gd name="T71" fmla="*/ 182 h 248"/>
                  <a:gd name="T72" fmla="*/ 8 w 232"/>
                  <a:gd name="T73" fmla="*/ 194 h 248"/>
                  <a:gd name="T74" fmla="*/ 6 w 232"/>
                  <a:gd name="T75" fmla="*/ 206 h 248"/>
                  <a:gd name="T76" fmla="*/ 2 w 232"/>
                  <a:gd name="T77" fmla="*/ 216 h 248"/>
                  <a:gd name="T78" fmla="*/ 2 w 232"/>
                  <a:gd name="T79" fmla="*/ 219 h 248"/>
                  <a:gd name="T80" fmla="*/ 3 w 232"/>
                  <a:gd name="T81" fmla="*/ 220 h 248"/>
                  <a:gd name="T82" fmla="*/ 3 w 232"/>
                  <a:gd name="T83" fmla="*/ 222 h 248"/>
                  <a:gd name="T84" fmla="*/ 7 w 232"/>
                  <a:gd name="T85" fmla="*/ 217 h 248"/>
                  <a:gd name="T86" fmla="*/ 18 w 232"/>
                  <a:gd name="T87" fmla="*/ 213 h 248"/>
                  <a:gd name="T88" fmla="*/ 36 w 232"/>
                  <a:gd name="T89" fmla="*/ 207 h 248"/>
                  <a:gd name="T90" fmla="*/ 45 w 232"/>
                  <a:gd name="T91" fmla="*/ 208 h 248"/>
                  <a:gd name="T92" fmla="*/ 51 w 232"/>
                  <a:gd name="T93" fmla="*/ 212 h 248"/>
                  <a:gd name="T94" fmla="*/ 56 w 232"/>
                  <a:gd name="T95" fmla="*/ 214 h 248"/>
                  <a:gd name="T96" fmla="*/ 62 w 232"/>
                  <a:gd name="T97" fmla="*/ 215 h 248"/>
                  <a:gd name="T98" fmla="*/ 66 w 232"/>
                  <a:gd name="T99" fmla="*/ 219 h 248"/>
                  <a:gd name="T100" fmla="*/ 67 w 232"/>
                  <a:gd name="T101" fmla="*/ 225 h 248"/>
                  <a:gd name="T102" fmla="*/ 70 w 232"/>
                  <a:gd name="T103" fmla="*/ 231 h 248"/>
                  <a:gd name="T104" fmla="*/ 74 w 232"/>
                  <a:gd name="T105" fmla="*/ 235 h 248"/>
                  <a:gd name="T106" fmla="*/ 85 w 232"/>
                  <a:gd name="T107" fmla="*/ 24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4" name="Freeform 236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5082244" y="3185136"/>
                <a:ext cx="551083" cy="468420"/>
              </a:xfrm>
              <a:custGeom>
                <a:avLst/>
                <a:gdLst>
                  <a:gd name="T0" fmla="*/ 90 w 948"/>
                  <a:gd name="T1" fmla="*/ 788 h 893"/>
                  <a:gd name="T2" fmla="*/ 121 w 948"/>
                  <a:gd name="T3" fmla="*/ 788 h 893"/>
                  <a:gd name="T4" fmla="*/ 146 w 948"/>
                  <a:gd name="T5" fmla="*/ 783 h 893"/>
                  <a:gd name="T6" fmla="*/ 186 w 948"/>
                  <a:gd name="T7" fmla="*/ 776 h 893"/>
                  <a:gd name="T8" fmla="*/ 197 w 948"/>
                  <a:gd name="T9" fmla="*/ 813 h 893"/>
                  <a:gd name="T10" fmla="*/ 212 w 948"/>
                  <a:gd name="T11" fmla="*/ 835 h 893"/>
                  <a:gd name="T12" fmla="*/ 226 w 948"/>
                  <a:gd name="T13" fmla="*/ 846 h 893"/>
                  <a:gd name="T14" fmla="*/ 246 w 948"/>
                  <a:gd name="T15" fmla="*/ 850 h 893"/>
                  <a:gd name="T16" fmla="*/ 246 w 948"/>
                  <a:gd name="T17" fmla="*/ 881 h 893"/>
                  <a:gd name="T18" fmla="*/ 326 w 948"/>
                  <a:gd name="T19" fmla="*/ 889 h 893"/>
                  <a:gd name="T20" fmla="*/ 334 w 948"/>
                  <a:gd name="T21" fmla="*/ 876 h 893"/>
                  <a:gd name="T22" fmla="*/ 347 w 948"/>
                  <a:gd name="T23" fmla="*/ 871 h 893"/>
                  <a:gd name="T24" fmla="*/ 348 w 948"/>
                  <a:gd name="T25" fmla="*/ 888 h 893"/>
                  <a:gd name="T26" fmla="*/ 358 w 948"/>
                  <a:gd name="T27" fmla="*/ 893 h 893"/>
                  <a:gd name="T28" fmla="*/ 385 w 948"/>
                  <a:gd name="T29" fmla="*/ 893 h 893"/>
                  <a:gd name="T30" fmla="*/ 401 w 948"/>
                  <a:gd name="T31" fmla="*/ 854 h 893"/>
                  <a:gd name="T32" fmla="*/ 412 w 948"/>
                  <a:gd name="T33" fmla="*/ 788 h 893"/>
                  <a:gd name="T34" fmla="*/ 424 w 948"/>
                  <a:gd name="T35" fmla="*/ 771 h 893"/>
                  <a:gd name="T36" fmla="*/ 452 w 948"/>
                  <a:gd name="T37" fmla="*/ 754 h 893"/>
                  <a:gd name="T38" fmla="*/ 485 w 948"/>
                  <a:gd name="T39" fmla="*/ 743 h 893"/>
                  <a:gd name="T40" fmla="*/ 501 w 948"/>
                  <a:gd name="T41" fmla="*/ 729 h 893"/>
                  <a:gd name="T42" fmla="*/ 515 w 948"/>
                  <a:gd name="T43" fmla="*/ 702 h 893"/>
                  <a:gd name="T44" fmla="*/ 535 w 948"/>
                  <a:gd name="T45" fmla="*/ 668 h 893"/>
                  <a:gd name="T46" fmla="*/ 547 w 948"/>
                  <a:gd name="T47" fmla="*/ 660 h 893"/>
                  <a:gd name="T48" fmla="*/ 572 w 948"/>
                  <a:gd name="T49" fmla="*/ 659 h 893"/>
                  <a:gd name="T50" fmla="*/ 605 w 948"/>
                  <a:gd name="T51" fmla="*/ 644 h 893"/>
                  <a:gd name="T52" fmla="*/ 639 w 948"/>
                  <a:gd name="T53" fmla="*/ 624 h 893"/>
                  <a:gd name="T54" fmla="*/ 674 w 948"/>
                  <a:gd name="T55" fmla="*/ 613 h 893"/>
                  <a:gd name="T56" fmla="*/ 724 w 948"/>
                  <a:gd name="T57" fmla="*/ 610 h 893"/>
                  <a:gd name="T58" fmla="*/ 788 w 948"/>
                  <a:gd name="T59" fmla="*/ 602 h 893"/>
                  <a:gd name="T60" fmla="*/ 815 w 948"/>
                  <a:gd name="T61" fmla="*/ 594 h 893"/>
                  <a:gd name="T62" fmla="*/ 863 w 948"/>
                  <a:gd name="T63" fmla="*/ 590 h 893"/>
                  <a:gd name="T64" fmla="*/ 901 w 948"/>
                  <a:gd name="T65" fmla="*/ 583 h 893"/>
                  <a:gd name="T66" fmla="*/ 913 w 948"/>
                  <a:gd name="T67" fmla="*/ 574 h 893"/>
                  <a:gd name="T68" fmla="*/ 931 w 948"/>
                  <a:gd name="T69" fmla="*/ 544 h 893"/>
                  <a:gd name="T70" fmla="*/ 943 w 948"/>
                  <a:gd name="T71" fmla="*/ 504 h 893"/>
                  <a:gd name="T72" fmla="*/ 948 w 948"/>
                  <a:gd name="T73" fmla="*/ 461 h 893"/>
                  <a:gd name="T74" fmla="*/ 947 w 948"/>
                  <a:gd name="T75" fmla="*/ 421 h 893"/>
                  <a:gd name="T76" fmla="*/ 943 w 948"/>
                  <a:gd name="T77" fmla="*/ 363 h 893"/>
                  <a:gd name="T78" fmla="*/ 922 w 948"/>
                  <a:gd name="T79" fmla="*/ 356 h 893"/>
                  <a:gd name="T80" fmla="*/ 862 w 948"/>
                  <a:gd name="T81" fmla="*/ 322 h 893"/>
                  <a:gd name="T82" fmla="*/ 794 w 948"/>
                  <a:gd name="T83" fmla="*/ 278 h 893"/>
                  <a:gd name="T84" fmla="*/ 738 w 948"/>
                  <a:gd name="T85" fmla="*/ 216 h 893"/>
                  <a:gd name="T86" fmla="*/ 412 w 948"/>
                  <a:gd name="T87" fmla="*/ 12 h 893"/>
                  <a:gd name="T88" fmla="*/ 348 w 948"/>
                  <a:gd name="T89" fmla="*/ 102 h 893"/>
                  <a:gd name="T90" fmla="*/ 379 w 948"/>
                  <a:gd name="T91" fmla="*/ 405 h 893"/>
                  <a:gd name="T92" fmla="*/ 392 w 948"/>
                  <a:gd name="T93" fmla="*/ 565 h 893"/>
                  <a:gd name="T94" fmla="*/ 93 w 948"/>
                  <a:gd name="T95" fmla="*/ 591 h 893"/>
                  <a:gd name="T96" fmla="*/ 79 w 948"/>
                  <a:gd name="T97" fmla="*/ 606 h 893"/>
                  <a:gd name="T98" fmla="*/ 67 w 948"/>
                  <a:gd name="T99" fmla="*/ 610 h 893"/>
                  <a:gd name="T100" fmla="*/ 57 w 948"/>
                  <a:gd name="T101" fmla="*/ 607 h 893"/>
                  <a:gd name="T102" fmla="*/ 49 w 948"/>
                  <a:gd name="T103" fmla="*/ 591 h 893"/>
                  <a:gd name="T104" fmla="*/ 40 w 948"/>
                  <a:gd name="T105" fmla="*/ 581 h 893"/>
                  <a:gd name="T106" fmla="*/ 29 w 948"/>
                  <a:gd name="T107" fmla="*/ 605 h 893"/>
                  <a:gd name="T108" fmla="*/ 15 w 948"/>
                  <a:gd name="T109" fmla="*/ 623 h 893"/>
                  <a:gd name="T110" fmla="*/ 67 w 948"/>
                  <a:gd name="T111" fmla="*/ 733 h 893"/>
                  <a:gd name="T112" fmla="*/ 61 w 948"/>
                  <a:gd name="T113" fmla="*/ 748 h 893"/>
                  <a:gd name="T114" fmla="*/ 62 w 948"/>
                  <a:gd name="T115" fmla="*/ 760 h 893"/>
                  <a:gd name="T116" fmla="*/ 54 w 948"/>
                  <a:gd name="T117" fmla="*/ 788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5" name="Freeform 237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5213153" y="2791344"/>
                <a:ext cx="656654" cy="579572"/>
              </a:xfrm>
              <a:custGeom>
                <a:avLst/>
                <a:gdLst>
                  <a:gd name="T0" fmla="*/ 238 w 373"/>
                  <a:gd name="T1" fmla="*/ 367 h 370"/>
                  <a:gd name="T2" fmla="*/ 244 w 373"/>
                  <a:gd name="T3" fmla="*/ 365 h 370"/>
                  <a:gd name="T4" fmla="*/ 255 w 373"/>
                  <a:gd name="T5" fmla="*/ 368 h 370"/>
                  <a:gd name="T6" fmla="*/ 372 w 373"/>
                  <a:gd name="T7" fmla="*/ 277 h 370"/>
                  <a:gd name="T8" fmla="*/ 369 w 373"/>
                  <a:gd name="T9" fmla="*/ 270 h 370"/>
                  <a:gd name="T10" fmla="*/ 361 w 373"/>
                  <a:gd name="T11" fmla="*/ 264 h 370"/>
                  <a:gd name="T12" fmla="*/ 347 w 373"/>
                  <a:gd name="T13" fmla="*/ 259 h 370"/>
                  <a:gd name="T14" fmla="*/ 339 w 373"/>
                  <a:gd name="T15" fmla="*/ 254 h 370"/>
                  <a:gd name="T16" fmla="*/ 336 w 373"/>
                  <a:gd name="T17" fmla="*/ 247 h 370"/>
                  <a:gd name="T18" fmla="*/ 337 w 373"/>
                  <a:gd name="T19" fmla="*/ 228 h 370"/>
                  <a:gd name="T20" fmla="*/ 337 w 373"/>
                  <a:gd name="T21" fmla="*/ 196 h 370"/>
                  <a:gd name="T22" fmla="*/ 334 w 373"/>
                  <a:gd name="T23" fmla="*/ 168 h 370"/>
                  <a:gd name="T24" fmla="*/ 329 w 373"/>
                  <a:gd name="T25" fmla="*/ 155 h 370"/>
                  <a:gd name="T26" fmla="*/ 323 w 373"/>
                  <a:gd name="T27" fmla="*/ 142 h 370"/>
                  <a:gd name="T28" fmla="*/ 315 w 373"/>
                  <a:gd name="T29" fmla="*/ 109 h 370"/>
                  <a:gd name="T30" fmla="*/ 306 w 373"/>
                  <a:gd name="T31" fmla="*/ 90 h 370"/>
                  <a:gd name="T32" fmla="*/ 297 w 373"/>
                  <a:gd name="T33" fmla="*/ 78 h 370"/>
                  <a:gd name="T34" fmla="*/ 300 w 373"/>
                  <a:gd name="T35" fmla="*/ 63 h 370"/>
                  <a:gd name="T36" fmla="*/ 301 w 373"/>
                  <a:gd name="T37" fmla="*/ 43 h 370"/>
                  <a:gd name="T38" fmla="*/ 302 w 373"/>
                  <a:gd name="T39" fmla="*/ 23 h 370"/>
                  <a:gd name="T40" fmla="*/ 310 w 373"/>
                  <a:gd name="T41" fmla="*/ 7 h 370"/>
                  <a:gd name="T42" fmla="*/ 302 w 373"/>
                  <a:gd name="T43" fmla="*/ 6 h 370"/>
                  <a:gd name="T44" fmla="*/ 278 w 373"/>
                  <a:gd name="T45" fmla="*/ 12 h 370"/>
                  <a:gd name="T46" fmla="*/ 245 w 373"/>
                  <a:gd name="T47" fmla="*/ 12 h 370"/>
                  <a:gd name="T48" fmla="*/ 206 w 373"/>
                  <a:gd name="T49" fmla="*/ 14 h 370"/>
                  <a:gd name="T50" fmla="*/ 168 w 373"/>
                  <a:gd name="T51" fmla="*/ 24 h 370"/>
                  <a:gd name="T52" fmla="*/ 145 w 373"/>
                  <a:gd name="T53" fmla="*/ 32 h 370"/>
                  <a:gd name="T54" fmla="*/ 124 w 373"/>
                  <a:gd name="T55" fmla="*/ 44 h 370"/>
                  <a:gd name="T56" fmla="*/ 123 w 373"/>
                  <a:gd name="T57" fmla="*/ 52 h 370"/>
                  <a:gd name="T58" fmla="*/ 131 w 373"/>
                  <a:gd name="T59" fmla="*/ 89 h 370"/>
                  <a:gd name="T60" fmla="*/ 134 w 373"/>
                  <a:gd name="T61" fmla="*/ 93 h 370"/>
                  <a:gd name="T62" fmla="*/ 141 w 373"/>
                  <a:gd name="T63" fmla="*/ 98 h 370"/>
                  <a:gd name="T64" fmla="*/ 142 w 373"/>
                  <a:gd name="T65" fmla="*/ 102 h 370"/>
                  <a:gd name="T66" fmla="*/ 139 w 373"/>
                  <a:gd name="T67" fmla="*/ 107 h 370"/>
                  <a:gd name="T68" fmla="*/ 128 w 373"/>
                  <a:gd name="T69" fmla="*/ 107 h 370"/>
                  <a:gd name="T70" fmla="*/ 106 w 373"/>
                  <a:gd name="T71" fmla="*/ 113 h 370"/>
                  <a:gd name="T72" fmla="*/ 95 w 373"/>
                  <a:gd name="T73" fmla="*/ 122 h 370"/>
                  <a:gd name="T74" fmla="*/ 90 w 373"/>
                  <a:gd name="T75" fmla="*/ 131 h 370"/>
                  <a:gd name="T76" fmla="*/ 82 w 373"/>
                  <a:gd name="T77" fmla="*/ 137 h 370"/>
                  <a:gd name="T78" fmla="*/ 66 w 373"/>
                  <a:gd name="T79" fmla="*/ 150 h 370"/>
                  <a:gd name="T80" fmla="*/ 51 w 373"/>
                  <a:gd name="T81" fmla="*/ 158 h 370"/>
                  <a:gd name="T82" fmla="*/ 31 w 373"/>
                  <a:gd name="T83" fmla="*/ 160 h 370"/>
                  <a:gd name="T84" fmla="*/ 20 w 373"/>
                  <a:gd name="T85" fmla="*/ 164 h 370"/>
                  <a:gd name="T86" fmla="*/ 8 w 373"/>
                  <a:gd name="T87" fmla="*/ 174 h 370"/>
                  <a:gd name="T88" fmla="*/ 0 w 373"/>
                  <a:gd name="T89" fmla="*/ 200 h 370"/>
                  <a:gd name="T90" fmla="*/ 179 w 373"/>
                  <a:gd name="T91" fmla="*/ 331 h 370"/>
                  <a:gd name="T92" fmla="*/ 201 w 373"/>
                  <a:gd name="T93" fmla="*/ 352 h 370"/>
                  <a:gd name="T94" fmla="*/ 229 w 373"/>
                  <a:gd name="T95" fmla="*/ 36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6" name="Freeform 238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5793796" y="2926314"/>
                <a:ext cx="510966" cy="436663"/>
              </a:xfrm>
              <a:custGeom>
                <a:avLst/>
                <a:gdLst>
                  <a:gd name="T0" fmla="*/ 36 w 877"/>
                  <a:gd name="T1" fmla="*/ 141 h 826"/>
                  <a:gd name="T2" fmla="*/ 46 w 877"/>
                  <a:gd name="T3" fmla="*/ 109 h 826"/>
                  <a:gd name="T4" fmla="*/ 46 w 877"/>
                  <a:gd name="T5" fmla="*/ 70 h 826"/>
                  <a:gd name="T6" fmla="*/ 61 w 877"/>
                  <a:gd name="T7" fmla="*/ 64 h 826"/>
                  <a:gd name="T8" fmla="*/ 89 w 877"/>
                  <a:gd name="T9" fmla="*/ 55 h 826"/>
                  <a:gd name="T10" fmla="*/ 99 w 877"/>
                  <a:gd name="T11" fmla="*/ 20 h 826"/>
                  <a:gd name="T12" fmla="*/ 168 w 877"/>
                  <a:gd name="T13" fmla="*/ 6 h 826"/>
                  <a:gd name="T14" fmla="*/ 242 w 877"/>
                  <a:gd name="T15" fmla="*/ 24 h 826"/>
                  <a:gd name="T16" fmla="*/ 273 w 877"/>
                  <a:gd name="T17" fmla="*/ 43 h 826"/>
                  <a:gd name="T18" fmla="*/ 285 w 877"/>
                  <a:gd name="T19" fmla="*/ 78 h 826"/>
                  <a:gd name="T20" fmla="*/ 295 w 877"/>
                  <a:gd name="T21" fmla="*/ 101 h 826"/>
                  <a:gd name="T22" fmla="*/ 325 w 877"/>
                  <a:gd name="T23" fmla="*/ 110 h 826"/>
                  <a:gd name="T24" fmla="*/ 363 w 877"/>
                  <a:gd name="T25" fmla="*/ 109 h 826"/>
                  <a:gd name="T26" fmla="*/ 421 w 877"/>
                  <a:gd name="T27" fmla="*/ 133 h 826"/>
                  <a:gd name="T28" fmla="*/ 478 w 877"/>
                  <a:gd name="T29" fmla="*/ 162 h 826"/>
                  <a:gd name="T30" fmla="*/ 513 w 877"/>
                  <a:gd name="T31" fmla="*/ 166 h 826"/>
                  <a:gd name="T32" fmla="*/ 538 w 877"/>
                  <a:gd name="T33" fmla="*/ 158 h 826"/>
                  <a:gd name="T34" fmla="*/ 549 w 877"/>
                  <a:gd name="T35" fmla="*/ 126 h 826"/>
                  <a:gd name="T36" fmla="*/ 544 w 877"/>
                  <a:gd name="T37" fmla="*/ 103 h 826"/>
                  <a:gd name="T38" fmla="*/ 531 w 877"/>
                  <a:gd name="T39" fmla="*/ 81 h 826"/>
                  <a:gd name="T40" fmla="*/ 539 w 877"/>
                  <a:gd name="T41" fmla="*/ 49 h 826"/>
                  <a:gd name="T42" fmla="*/ 574 w 877"/>
                  <a:gd name="T43" fmla="*/ 34 h 826"/>
                  <a:gd name="T44" fmla="*/ 617 w 877"/>
                  <a:gd name="T45" fmla="*/ 4 h 826"/>
                  <a:gd name="T46" fmla="*/ 650 w 877"/>
                  <a:gd name="T47" fmla="*/ 0 h 826"/>
                  <a:gd name="T48" fmla="*/ 681 w 877"/>
                  <a:gd name="T49" fmla="*/ 6 h 826"/>
                  <a:gd name="T50" fmla="*/ 695 w 877"/>
                  <a:gd name="T51" fmla="*/ 24 h 826"/>
                  <a:gd name="T52" fmla="*/ 706 w 877"/>
                  <a:gd name="T53" fmla="*/ 50 h 826"/>
                  <a:gd name="T54" fmla="*/ 728 w 877"/>
                  <a:gd name="T55" fmla="*/ 63 h 826"/>
                  <a:gd name="T56" fmla="*/ 798 w 877"/>
                  <a:gd name="T57" fmla="*/ 71 h 826"/>
                  <a:gd name="T58" fmla="*/ 830 w 877"/>
                  <a:gd name="T59" fmla="*/ 97 h 826"/>
                  <a:gd name="T60" fmla="*/ 834 w 877"/>
                  <a:gd name="T61" fmla="*/ 117 h 826"/>
                  <a:gd name="T62" fmla="*/ 843 w 877"/>
                  <a:gd name="T63" fmla="*/ 140 h 826"/>
                  <a:gd name="T64" fmla="*/ 836 w 877"/>
                  <a:gd name="T65" fmla="*/ 159 h 826"/>
                  <a:gd name="T66" fmla="*/ 824 w 877"/>
                  <a:gd name="T67" fmla="*/ 170 h 826"/>
                  <a:gd name="T68" fmla="*/ 829 w 877"/>
                  <a:gd name="T69" fmla="*/ 207 h 826"/>
                  <a:gd name="T70" fmla="*/ 858 w 877"/>
                  <a:gd name="T71" fmla="*/ 245 h 826"/>
                  <a:gd name="T72" fmla="*/ 876 w 877"/>
                  <a:gd name="T73" fmla="*/ 687 h 826"/>
                  <a:gd name="T74" fmla="*/ 877 w 877"/>
                  <a:gd name="T75" fmla="*/ 741 h 826"/>
                  <a:gd name="T76" fmla="*/ 870 w 877"/>
                  <a:gd name="T77" fmla="*/ 775 h 826"/>
                  <a:gd name="T78" fmla="*/ 848 w 877"/>
                  <a:gd name="T79" fmla="*/ 783 h 826"/>
                  <a:gd name="T80" fmla="*/ 830 w 877"/>
                  <a:gd name="T81" fmla="*/ 804 h 826"/>
                  <a:gd name="T82" fmla="*/ 366 w 877"/>
                  <a:gd name="T83" fmla="*/ 593 h 826"/>
                  <a:gd name="T84" fmla="*/ 331 w 877"/>
                  <a:gd name="T85" fmla="*/ 607 h 826"/>
                  <a:gd name="T86" fmla="*/ 292 w 877"/>
                  <a:gd name="T87" fmla="*/ 626 h 826"/>
                  <a:gd name="T88" fmla="*/ 263 w 877"/>
                  <a:gd name="T89" fmla="*/ 627 h 826"/>
                  <a:gd name="T90" fmla="*/ 230 w 877"/>
                  <a:gd name="T91" fmla="*/ 609 h 826"/>
                  <a:gd name="T92" fmla="*/ 193 w 877"/>
                  <a:gd name="T93" fmla="*/ 586 h 826"/>
                  <a:gd name="T94" fmla="*/ 152 w 877"/>
                  <a:gd name="T95" fmla="*/ 578 h 826"/>
                  <a:gd name="T96" fmla="*/ 138 w 877"/>
                  <a:gd name="T97" fmla="*/ 577 h 826"/>
                  <a:gd name="T98" fmla="*/ 130 w 877"/>
                  <a:gd name="T99" fmla="*/ 553 h 826"/>
                  <a:gd name="T100" fmla="*/ 109 w 877"/>
                  <a:gd name="T101" fmla="*/ 535 h 826"/>
                  <a:gd name="T102" fmla="*/ 63 w 877"/>
                  <a:gd name="T103" fmla="*/ 517 h 826"/>
                  <a:gd name="T104" fmla="*/ 28 w 877"/>
                  <a:gd name="T105" fmla="*/ 499 h 826"/>
                  <a:gd name="T106" fmla="*/ 16 w 877"/>
                  <a:gd name="T107" fmla="*/ 482 h 826"/>
                  <a:gd name="T108" fmla="*/ 14 w 877"/>
                  <a:gd name="T109" fmla="*/ 439 h 826"/>
                  <a:gd name="T110" fmla="*/ 19 w 877"/>
                  <a:gd name="T111" fmla="*/ 352 h 826"/>
                  <a:gd name="T112" fmla="*/ 17 w 877"/>
                  <a:gd name="T113" fmla="*/ 258 h 826"/>
                  <a:gd name="T114" fmla="*/ 4 w 877"/>
                  <a:gd name="T115" fmla="*/ 202 h 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7" name="Freeform 239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5730453" y="2791344"/>
                <a:ext cx="124575" cy="236593"/>
              </a:xfrm>
              <a:custGeom>
                <a:avLst/>
                <a:gdLst>
                  <a:gd name="T0" fmla="*/ 103 w 206"/>
                  <a:gd name="T1" fmla="*/ 441 h 455"/>
                  <a:gd name="T2" fmla="*/ 125 w 206"/>
                  <a:gd name="T3" fmla="*/ 420 h 455"/>
                  <a:gd name="T4" fmla="*/ 140 w 206"/>
                  <a:gd name="T5" fmla="*/ 404 h 455"/>
                  <a:gd name="T6" fmla="*/ 147 w 206"/>
                  <a:gd name="T7" fmla="*/ 390 h 455"/>
                  <a:gd name="T8" fmla="*/ 152 w 206"/>
                  <a:gd name="T9" fmla="*/ 373 h 455"/>
                  <a:gd name="T10" fmla="*/ 154 w 206"/>
                  <a:gd name="T11" fmla="*/ 352 h 455"/>
                  <a:gd name="T12" fmla="*/ 153 w 206"/>
                  <a:gd name="T13" fmla="*/ 335 h 455"/>
                  <a:gd name="T14" fmla="*/ 156 w 206"/>
                  <a:gd name="T15" fmla="*/ 331 h 455"/>
                  <a:gd name="T16" fmla="*/ 168 w 206"/>
                  <a:gd name="T17" fmla="*/ 329 h 455"/>
                  <a:gd name="T18" fmla="*/ 185 w 206"/>
                  <a:gd name="T19" fmla="*/ 325 h 455"/>
                  <a:gd name="T20" fmla="*/ 196 w 206"/>
                  <a:gd name="T21" fmla="*/ 318 h 455"/>
                  <a:gd name="T22" fmla="*/ 203 w 206"/>
                  <a:gd name="T23" fmla="*/ 304 h 455"/>
                  <a:gd name="T24" fmla="*/ 206 w 206"/>
                  <a:gd name="T25" fmla="*/ 280 h 455"/>
                  <a:gd name="T26" fmla="*/ 202 w 206"/>
                  <a:gd name="T27" fmla="*/ 265 h 455"/>
                  <a:gd name="T28" fmla="*/ 193 w 206"/>
                  <a:gd name="T29" fmla="*/ 264 h 455"/>
                  <a:gd name="T30" fmla="*/ 177 w 206"/>
                  <a:gd name="T31" fmla="*/ 256 h 455"/>
                  <a:gd name="T32" fmla="*/ 155 w 206"/>
                  <a:gd name="T33" fmla="*/ 242 h 455"/>
                  <a:gd name="T34" fmla="*/ 140 w 206"/>
                  <a:gd name="T35" fmla="*/ 231 h 455"/>
                  <a:gd name="T36" fmla="*/ 130 w 206"/>
                  <a:gd name="T37" fmla="*/ 228 h 455"/>
                  <a:gd name="T38" fmla="*/ 119 w 206"/>
                  <a:gd name="T39" fmla="*/ 222 h 455"/>
                  <a:gd name="T40" fmla="*/ 101 w 206"/>
                  <a:gd name="T41" fmla="*/ 212 h 455"/>
                  <a:gd name="T42" fmla="*/ 95 w 206"/>
                  <a:gd name="T43" fmla="*/ 206 h 455"/>
                  <a:gd name="T44" fmla="*/ 95 w 206"/>
                  <a:gd name="T45" fmla="*/ 199 h 455"/>
                  <a:gd name="T46" fmla="*/ 104 w 206"/>
                  <a:gd name="T47" fmla="*/ 181 h 455"/>
                  <a:gd name="T48" fmla="*/ 119 w 206"/>
                  <a:gd name="T49" fmla="*/ 158 h 455"/>
                  <a:gd name="T50" fmla="*/ 134 w 206"/>
                  <a:gd name="T51" fmla="*/ 140 h 455"/>
                  <a:gd name="T52" fmla="*/ 136 w 206"/>
                  <a:gd name="T53" fmla="*/ 129 h 455"/>
                  <a:gd name="T54" fmla="*/ 126 w 206"/>
                  <a:gd name="T55" fmla="*/ 116 h 455"/>
                  <a:gd name="T56" fmla="*/ 115 w 206"/>
                  <a:gd name="T57" fmla="*/ 105 h 455"/>
                  <a:gd name="T58" fmla="*/ 108 w 206"/>
                  <a:gd name="T59" fmla="*/ 93 h 455"/>
                  <a:gd name="T60" fmla="*/ 107 w 206"/>
                  <a:gd name="T61" fmla="*/ 84 h 455"/>
                  <a:gd name="T62" fmla="*/ 111 w 206"/>
                  <a:gd name="T63" fmla="*/ 78 h 455"/>
                  <a:gd name="T64" fmla="*/ 116 w 206"/>
                  <a:gd name="T65" fmla="*/ 72 h 455"/>
                  <a:gd name="T66" fmla="*/ 123 w 206"/>
                  <a:gd name="T67" fmla="*/ 69 h 455"/>
                  <a:gd name="T68" fmla="*/ 126 w 206"/>
                  <a:gd name="T69" fmla="*/ 37 h 455"/>
                  <a:gd name="T70" fmla="*/ 110 w 206"/>
                  <a:gd name="T71" fmla="*/ 32 h 455"/>
                  <a:gd name="T72" fmla="*/ 87 w 206"/>
                  <a:gd name="T73" fmla="*/ 21 h 455"/>
                  <a:gd name="T74" fmla="*/ 53 w 206"/>
                  <a:gd name="T75" fmla="*/ 0 h 455"/>
                  <a:gd name="T76" fmla="*/ 47 w 206"/>
                  <a:gd name="T77" fmla="*/ 11 h 455"/>
                  <a:gd name="T78" fmla="*/ 34 w 206"/>
                  <a:gd name="T79" fmla="*/ 44 h 455"/>
                  <a:gd name="T80" fmla="*/ 28 w 206"/>
                  <a:gd name="T81" fmla="*/ 70 h 455"/>
                  <a:gd name="T82" fmla="*/ 22 w 206"/>
                  <a:gd name="T83" fmla="*/ 99 h 455"/>
                  <a:gd name="T84" fmla="*/ 20 w 206"/>
                  <a:gd name="T85" fmla="*/ 133 h 455"/>
                  <a:gd name="T86" fmla="*/ 20 w 206"/>
                  <a:gd name="T87" fmla="*/ 172 h 455"/>
                  <a:gd name="T88" fmla="*/ 12 w 206"/>
                  <a:gd name="T89" fmla="*/ 188 h 455"/>
                  <a:gd name="T90" fmla="*/ 8 w 206"/>
                  <a:gd name="T91" fmla="*/ 206 h 455"/>
                  <a:gd name="T92" fmla="*/ 0 w 206"/>
                  <a:gd name="T93" fmla="*/ 235 h 455"/>
                  <a:gd name="T94" fmla="*/ 22 w 206"/>
                  <a:gd name="T95" fmla="*/ 259 h 455"/>
                  <a:gd name="T96" fmla="*/ 41 w 206"/>
                  <a:gd name="T97" fmla="*/ 281 h 455"/>
                  <a:gd name="T98" fmla="*/ 55 w 206"/>
                  <a:gd name="T99" fmla="*/ 305 h 455"/>
                  <a:gd name="T100" fmla="*/ 66 w 206"/>
                  <a:gd name="T101" fmla="*/ 329 h 455"/>
                  <a:gd name="T102" fmla="*/ 75 w 206"/>
                  <a:gd name="T103" fmla="*/ 355 h 455"/>
                  <a:gd name="T104" fmla="*/ 82 w 206"/>
                  <a:gd name="T105" fmla="*/ 384 h 455"/>
                  <a:gd name="T106" fmla="*/ 93 w 206"/>
                  <a:gd name="T107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8" name="Freeform 240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909107" y="3102565"/>
                <a:ext cx="308270" cy="215950"/>
              </a:xfrm>
              <a:custGeom>
                <a:avLst/>
                <a:gdLst>
                  <a:gd name="T0" fmla="*/ 326 w 518"/>
                  <a:gd name="T1" fmla="*/ 110 h 406"/>
                  <a:gd name="T2" fmla="*/ 326 w 518"/>
                  <a:gd name="T3" fmla="*/ 259 h 406"/>
                  <a:gd name="T4" fmla="*/ 315 w 518"/>
                  <a:gd name="T5" fmla="*/ 264 h 406"/>
                  <a:gd name="T6" fmla="*/ 291 w 518"/>
                  <a:gd name="T7" fmla="*/ 271 h 406"/>
                  <a:gd name="T8" fmla="*/ 246 w 518"/>
                  <a:gd name="T9" fmla="*/ 283 h 406"/>
                  <a:gd name="T10" fmla="*/ 253 w 518"/>
                  <a:gd name="T11" fmla="*/ 302 h 406"/>
                  <a:gd name="T12" fmla="*/ 265 w 518"/>
                  <a:gd name="T13" fmla="*/ 326 h 406"/>
                  <a:gd name="T14" fmla="*/ 269 w 518"/>
                  <a:gd name="T15" fmla="*/ 353 h 406"/>
                  <a:gd name="T16" fmla="*/ 272 w 518"/>
                  <a:gd name="T17" fmla="*/ 382 h 406"/>
                  <a:gd name="T18" fmla="*/ 52 w 518"/>
                  <a:gd name="T19" fmla="*/ 394 h 406"/>
                  <a:gd name="T20" fmla="*/ 22 w 518"/>
                  <a:gd name="T21" fmla="*/ 406 h 406"/>
                  <a:gd name="T22" fmla="*/ 5 w 518"/>
                  <a:gd name="T23" fmla="*/ 403 h 406"/>
                  <a:gd name="T24" fmla="*/ 1 w 518"/>
                  <a:gd name="T25" fmla="*/ 398 h 406"/>
                  <a:gd name="T26" fmla="*/ 1 w 518"/>
                  <a:gd name="T27" fmla="*/ 385 h 406"/>
                  <a:gd name="T28" fmla="*/ 4 w 518"/>
                  <a:gd name="T29" fmla="*/ 371 h 406"/>
                  <a:gd name="T30" fmla="*/ 11 w 518"/>
                  <a:gd name="T31" fmla="*/ 354 h 406"/>
                  <a:gd name="T32" fmla="*/ 20 w 518"/>
                  <a:gd name="T33" fmla="*/ 341 h 406"/>
                  <a:gd name="T34" fmla="*/ 30 w 518"/>
                  <a:gd name="T35" fmla="*/ 334 h 406"/>
                  <a:gd name="T36" fmla="*/ 38 w 518"/>
                  <a:gd name="T37" fmla="*/ 326 h 406"/>
                  <a:gd name="T38" fmla="*/ 44 w 518"/>
                  <a:gd name="T39" fmla="*/ 317 h 406"/>
                  <a:gd name="T40" fmla="*/ 49 w 518"/>
                  <a:gd name="T41" fmla="*/ 292 h 406"/>
                  <a:gd name="T42" fmla="*/ 56 w 518"/>
                  <a:gd name="T43" fmla="*/ 265 h 406"/>
                  <a:gd name="T44" fmla="*/ 62 w 518"/>
                  <a:gd name="T45" fmla="*/ 257 h 406"/>
                  <a:gd name="T46" fmla="*/ 74 w 518"/>
                  <a:gd name="T47" fmla="*/ 246 h 406"/>
                  <a:gd name="T48" fmla="*/ 92 w 518"/>
                  <a:gd name="T49" fmla="*/ 238 h 406"/>
                  <a:gd name="T50" fmla="*/ 107 w 518"/>
                  <a:gd name="T51" fmla="*/ 231 h 406"/>
                  <a:gd name="T52" fmla="*/ 122 w 518"/>
                  <a:gd name="T53" fmla="*/ 218 h 406"/>
                  <a:gd name="T54" fmla="*/ 136 w 518"/>
                  <a:gd name="T55" fmla="*/ 195 h 406"/>
                  <a:gd name="T56" fmla="*/ 150 w 518"/>
                  <a:gd name="T57" fmla="*/ 156 h 406"/>
                  <a:gd name="T58" fmla="*/ 162 w 518"/>
                  <a:gd name="T59" fmla="*/ 117 h 406"/>
                  <a:gd name="T60" fmla="*/ 172 w 518"/>
                  <a:gd name="T61" fmla="*/ 94 h 406"/>
                  <a:gd name="T62" fmla="*/ 186 w 518"/>
                  <a:gd name="T63" fmla="*/ 73 h 406"/>
                  <a:gd name="T64" fmla="*/ 201 w 518"/>
                  <a:gd name="T65" fmla="*/ 62 h 406"/>
                  <a:gd name="T66" fmla="*/ 213 w 518"/>
                  <a:gd name="T67" fmla="*/ 57 h 406"/>
                  <a:gd name="T68" fmla="*/ 219 w 518"/>
                  <a:gd name="T69" fmla="*/ 44 h 406"/>
                  <a:gd name="T70" fmla="*/ 223 w 518"/>
                  <a:gd name="T71" fmla="*/ 28 h 406"/>
                  <a:gd name="T72" fmla="*/ 228 w 518"/>
                  <a:gd name="T73" fmla="*/ 16 h 406"/>
                  <a:gd name="T74" fmla="*/ 239 w 518"/>
                  <a:gd name="T75" fmla="*/ 8 h 406"/>
                  <a:gd name="T76" fmla="*/ 511 w 518"/>
                  <a:gd name="T77" fmla="*/ 0 h 406"/>
                  <a:gd name="T78" fmla="*/ 515 w 518"/>
                  <a:gd name="T79" fmla="*/ 46 h 406"/>
                  <a:gd name="T80" fmla="*/ 518 w 518"/>
                  <a:gd name="T81" fmla="*/ 11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9" name="Freeform 241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4866878" y="1910078"/>
                <a:ext cx="253372" cy="93683"/>
              </a:xfrm>
              <a:custGeom>
                <a:avLst/>
                <a:gdLst>
                  <a:gd name="T0" fmla="*/ 34 w 446"/>
                  <a:gd name="T1" fmla="*/ 61 h 178"/>
                  <a:gd name="T2" fmla="*/ 41 w 446"/>
                  <a:gd name="T3" fmla="*/ 42 h 178"/>
                  <a:gd name="T4" fmla="*/ 68 w 446"/>
                  <a:gd name="T5" fmla="*/ 37 h 178"/>
                  <a:gd name="T6" fmla="*/ 80 w 446"/>
                  <a:gd name="T7" fmla="*/ 18 h 178"/>
                  <a:gd name="T8" fmla="*/ 72 w 446"/>
                  <a:gd name="T9" fmla="*/ 14 h 178"/>
                  <a:gd name="T10" fmla="*/ 60 w 446"/>
                  <a:gd name="T11" fmla="*/ 0 h 178"/>
                  <a:gd name="T12" fmla="*/ 85 w 446"/>
                  <a:gd name="T13" fmla="*/ 10 h 178"/>
                  <a:gd name="T14" fmla="*/ 108 w 446"/>
                  <a:gd name="T15" fmla="*/ 39 h 178"/>
                  <a:gd name="T16" fmla="*/ 125 w 446"/>
                  <a:gd name="T17" fmla="*/ 62 h 178"/>
                  <a:gd name="T18" fmla="*/ 139 w 446"/>
                  <a:gd name="T19" fmla="*/ 67 h 178"/>
                  <a:gd name="T20" fmla="*/ 157 w 446"/>
                  <a:gd name="T21" fmla="*/ 63 h 178"/>
                  <a:gd name="T22" fmla="*/ 181 w 446"/>
                  <a:gd name="T23" fmla="*/ 45 h 178"/>
                  <a:gd name="T24" fmla="*/ 205 w 446"/>
                  <a:gd name="T25" fmla="*/ 23 h 178"/>
                  <a:gd name="T26" fmla="*/ 220 w 446"/>
                  <a:gd name="T27" fmla="*/ 31 h 178"/>
                  <a:gd name="T28" fmla="*/ 359 w 446"/>
                  <a:gd name="T29" fmla="*/ 11 h 178"/>
                  <a:gd name="T30" fmla="*/ 376 w 446"/>
                  <a:gd name="T31" fmla="*/ 23 h 178"/>
                  <a:gd name="T32" fmla="*/ 396 w 446"/>
                  <a:gd name="T33" fmla="*/ 22 h 178"/>
                  <a:gd name="T34" fmla="*/ 413 w 446"/>
                  <a:gd name="T35" fmla="*/ 37 h 178"/>
                  <a:gd name="T36" fmla="*/ 415 w 446"/>
                  <a:gd name="T37" fmla="*/ 43 h 178"/>
                  <a:gd name="T38" fmla="*/ 429 w 446"/>
                  <a:gd name="T39" fmla="*/ 54 h 178"/>
                  <a:gd name="T40" fmla="*/ 443 w 446"/>
                  <a:gd name="T41" fmla="*/ 68 h 178"/>
                  <a:gd name="T42" fmla="*/ 446 w 446"/>
                  <a:gd name="T43" fmla="*/ 80 h 178"/>
                  <a:gd name="T44" fmla="*/ 438 w 446"/>
                  <a:gd name="T45" fmla="*/ 96 h 178"/>
                  <a:gd name="T46" fmla="*/ 413 w 446"/>
                  <a:gd name="T47" fmla="*/ 111 h 178"/>
                  <a:gd name="T48" fmla="*/ 397 w 446"/>
                  <a:gd name="T49" fmla="*/ 120 h 178"/>
                  <a:gd name="T50" fmla="*/ 366 w 446"/>
                  <a:gd name="T51" fmla="*/ 123 h 178"/>
                  <a:gd name="T52" fmla="*/ 300 w 446"/>
                  <a:gd name="T53" fmla="*/ 146 h 178"/>
                  <a:gd name="T54" fmla="*/ 234 w 446"/>
                  <a:gd name="T55" fmla="*/ 171 h 178"/>
                  <a:gd name="T56" fmla="*/ 199 w 446"/>
                  <a:gd name="T57" fmla="*/ 178 h 178"/>
                  <a:gd name="T58" fmla="*/ 177 w 446"/>
                  <a:gd name="T59" fmla="*/ 174 h 178"/>
                  <a:gd name="T60" fmla="*/ 172 w 446"/>
                  <a:gd name="T61" fmla="*/ 164 h 178"/>
                  <a:gd name="T62" fmla="*/ 170 w 446"/>
                  <a:gd name="T63" fmla="*/ 161 h 178"/>
                  <a:gd name="T64" fmla="*/ 156 w 446"/>
                  <a:gd name="T65" fmla="*/ 161 h 178"/>
                  <a:gd name="T66" fmla="*/ 139 w 446"/>
                  <a:gd name="T67" fmla="*/ 160 h 178"/>
                  <a:gd name="T68" fmla="*/ 100 w 446"/>
                  <a:gd name="T69" fmla="*/ 147 h 178"/>
                  <a:gd name="T70" fmla="*/ 85 w 446"/>
                  <a:gd name="T71" fmla="*/ 137 h 178"/>
                  <a:gd name="T72" fmla="*/ 81 w 446"/>
                  <a:gd name="T73" fmla="*/ 125 h 178"/>
                  <a:gd name="T74" fmla="*/ 87 w 446"/>
                  <a:gd name="T75" fmla="*/ 111 h 178"/>
                  <a:gd name="T76" fmla="*/ 27 w 446"/>
                  <a:gd name="T77" fmla="*/ 103 h 178"/>
                  <a:gd name="T78" fmla="*/ 9 w 446"/>
                  <a:gd name="T79" fmla="*/ 105 h 178"/>
                  <a:gd name="T80" fmla="*/ 0 w 446"/>
                  <a:gd name="T81" fmla="*/ 80 h 178"/>
                  <a:gd name="T82" fmla="*/ 60 w 446"/>
                  <a:gd name="T83" fmla="*/ 86 h 178"/>
                  <a:gd name="T84" fmla="*/ 87 w 446"/>
                  <a:gd name="T85" fmla="*/ 80 h 178"/>
                  <a:gd name="T86" fmla="*/ 23 w 446"/>
                  <a:gd name="T87" fmla="*/ 68 h 178"/>
                  <a:gd name="T88" fmla="*/ 16 w 446"/>
                  <a:gd name="T89" fmla="*/ 5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0" name="Freeform 242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5920481" y="2173664"/>
                <a:ext cx="19004" cy="57162"/>
              </a:xfrm>
              <a:custGeom>
                <a:avLst/>
                <a:gdLst>
                  <a:gd name="T0" fmla="*/ 0 w 28"/>
                  <a:gd name="T1" fmla="*/ 73 h 73"/>
                  <a:gd name="T2" fmla="*/ 2 w 28"/>
                  <a:gd name="T3" fmla="*/ 47 h 73"/>
                  <a:gd name="T4" fmla="*/ 6 w 28"/>
                  <a:gd name="T5" fmla="*/ 28 h 73"/>
                  <a:gd name="T6" fmla="*/ 7 w 28"/>
                  <a:gd name="T7" fmla="*/ 20 h 73"/>
                  <a:gd name="T8" fmla="*/ 6 w 28"/>
                  <a:gd name="T9" fmla="*/ 13 h 73"/>
                  <a:gd name="T10" fmla="*/ 4 w 28"/>
                  <a:gd name="T11" fmla="*/ 7 h 73"/>
                  <a:gd name="T12" fmla="*/ 0 w 28"/>
                  <a:gd name="T13" fmla="*/ 0 h 73"/>
                  <a:gd name="T14" fmla="*/ 28 w 28"/>
                  <a:gd name="T15" fmla="*/ 0 h 73"/>
                  <a:gd name="T16" fmla="*/ 22 w 28"/>
                  <a:gd name="T17" fmla="*/ 16 h 73"/>
                  <a:gd name="T18" fmla="*/ 17 w 28"/>
                  <a:gd name="T19" fmla="*/ 30 h 73"/>
                  <a:gd name="T20" fmla="*/ 12 w 28"/>
                  <a:gd name="T21" fmla="*/ 43 h 73"/>
                  <a:gd name="T22" fmla="*/ 7 w 28"/>
                  <a:gd name="T23" fmla="*/ 55 h 73"/>
                  <a:gd name="T24" fmla="*/ 0 w 28"/>
                  <a:gd name="T2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1" name="Freeform 243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5770570" y="1837036"/>
                <a:ext cx="312492" cy="395379"/>
              </a:xfrm>
              <a:custGeom>
                <a:avLst/>
                <a:gdLst>
                  <a:gd name="T0" fmla="*/ 419 w 531"/>
                  <a:gd name="T1" fmla="*/ 203 h 757"/>
                  <a:gd name="T2" fmla="*/ 406 w 531"/>
                  <a:gd name="T3" fmla="*/ 221 h 757"/>
                  <a:gd name="T4" fmla="*/ 404 w 531"/>
                  <a:gd name="T5" fmla="*/ 237 h 757"/>
                  <a:gd name="T6" fmla="*/ 382 w 531"/>
                  <a:gd name="T7" fmla="*/ 275 h 757"/>
                  <a:gd name="T8" fmla="*/ 325 w 531"/>
                  <a:gd name="T9" fmla="*/ 306 h 757"/>
                  <a:gd name="T10" fmla="*/ 252 w 531"/>
                  <a:gd name="T11" fmla="*/ 354 h 757"/>
                  <a:gd name="T12" fmla="*/ 237 w 531"/>
                  <a:gd name="T13" fmla="*/ 369 h 757"/>
                  <a:gd name="T14" fmla="*/ 245 w 531"/>
                  <a:gd name="T15" fmla="*/ 381 h 757"/>
                  <a:gd name="T16" fmla="*/ 240 w 531"/>
                  <a:gd name="T17" fmla="*/ 424 h 757"/>
                  <a:gd name="T18" fmla="*/ 239 w 531"/>
                  <a:gd name="T19" fmla="*/ 449 h 757"/>
                  <a:gd name="T20" fmla="*/ 262 w 531"/>
                  <a:gd name="T21" fmla="*/ 468 h 757"/>
                  <a:gd name="T22" fmla="*/ 320 w 531"/>
                  <a:gd name="T23" fmla="*/ 485 h 757"/>
                  <a:gd name="T24" fmla="*/ 332 w 531"/>
                  <a:gd name="T25" fmla="*/ 505 h 757"/>
                  <a:gd name="T26" fmla="*/ 310 w 531"/>
                  <a:gd name="T27" fmla="*/ 531 h 757"/>
                  <a:gd name="T28" fmla="*/ 272 w 531"/>
                  <a:gd name="T29" fmla="*/ 547 h 757"/>
                  <a:gd name="T30" fmla="*/ 265 w 531"/>
                  <a:gd name="T31" fmla="*/ 560 h 757"/>
                  <a:gd name="T32" fmla="*/ 252 w 531"/>
                  <a:gd name="T33" fmla="*/ 631 h 757"/>
                  <a:gd name="T34" fmla="*/ 239 w 531"/>
                  <a:gd name="T35" fmla="*/ 721 h 757"/>
                  <a:gd name="T36" fmla="*/ 173 w 531"/>
                  <a:gd name="T37" fmla="*/ 727 h 757"/>
                  <a:gd name="T38" fmla="*/ 152 w 531"/>
                  <a:gd name="T39" fmla="*/ 738 h 757"/>
                  <a:gd name="T40" fmla="*/ 153 w 531"/>
                  <a:gd name="T41" fmla="*/ 757 h 757"/>
                  <a:gd name="T42" fmla="*/ 106 w 531"/>
                  <a:gd name="T43" fmla="*/ 757 h 757"/>
                  <a:gd name="T44" fmla="*/ 95 w 531"/>
                  <a:gd name="T45" fmla="*/ 752 h 757"/>
                  <a:gd name="T46" fmla="*/ 71 w 531"/>
                  <a:gd name="T47" fmla="*/ 718 h 757"/>
                  <a:gd name="T48" fmla="*/ 41 w 531"/>
                  <a:gd name="T49" fmla="*/ 640 h 757"/>
                  <a:gd name="T50" fmla="*/ 34 w 531"/>
                  <a:gd name="T51" fmla="*/ 597 h 757"/>
                  <a:gd name="T52" fmla="*/ 14 w 531"/>
                  <a:gd name="T53" fmla="*/ 586 h 757"/>
                  <a:gd name="T54" fmla="*/ 19 w 531"/>
                  <a:gd name="T55" fmla="*/ 561 h 757"/>
                  <a:gd name="T56" fmla="*/ 36 w 531"/>
                  <a:gd name="T57" fmla="*/ 538 h 757"/>
                  <a:gd name="T58" fmla="*/ 53 w 531"/>
                  <a:gd name="T59" fmla="*/ 504 h 757"/>
                  <a:gd name="T60" fmla="*/ 61 w 531"/>
                  <a:gd name="T61" fmla="*/ 471 h 757"/>
                  <a:gd name="T62" fmla="*/ 64 w 531"/>
                  <a:gd name="T63" fmla="*/ 441 h 757"/>
                  <a:gd name="T64" fmla="*/ 58 w 531"/>
                  <a:gd name="T65" fmla="*/ 408 h 757"/>
                  <a:gd name="T66" fmla="*/ 43 w 531"/>
                  <a:gd name="T67" fmla="*/ 377 h 757"/>
                  <a:gd name="T68" fmla="*/ 74 w 531"/>
                  <a:gd name="T69" fmla="*/ 276 h 757"/>
                  <a:gd name="T70" fmla="*/ 103 w 531"/>
                  <a:gd name="T71" fmla="*/ 275 h 757"/>
                  <a:gd name="T72" fmla="*/ 113 w 531"/>
                  <a:gd name="T73" fmla="*/ 234 h 757"/>
                  <a:gd name="T74" fmla="*/ 137 w 531"/>
                  <a:gd name="T75" fmla="*/ 192 h 757"/>
                  <a:gd name="T76" fmla="*/ 180 w 531"/>
                  <a:gd name="T77" fmla="*/ 145 h 757"/>
                  <a:gd name="T78" fmla="*/ 198 w 531"/>
                  <a:gd name="T79" fmla="*/ 111 h 757"/>
                  <a:gd name="T80" fmla="*/ 228 w 531"/>
                  <a:gd name="T81" fmla="*/ 60 h 757"/>
                  <a:gd name="T82" fmla="*/ 249 w 531"/>
                  <a:gd name="T83" fmla="*/ 43 h 757"/>
                  <a:gd name="T84" fmla="*/ 309 w 531"/>
                  <a:gd name="T85" fmla="*/ 29 h 757"/>
                  <a:gd name="T86" fmla="*/ 368 w 531"/>
                  <a:gd name="T87" fmla="*/ 13 h 757"/>
                  <a:gd name="T88" fmla="*/ 401 w 531"/>
                  <a:gd name="T89" fmla="*/ 5 h 757"/>
                  <a:gd name="T90" fmla="*/ 431 w 531"/>
                  <a:gd name="T91" fmla="*/ 32 h 757"/>
                  <a:gd name="T92" fmla="*/ 457 w 531"/>
                  <a:gd name="T93" fmla="*/ 42 h 757"/>
                  <a:gd name="T94" fmla="*/ 513 w 531"/>
                  <a:gd name="T95" fmla="*/ 111 h 757"/>
                  <a:gd name="T96" fmla="*/ 528 w 531"/>
                  <a:gd name="T97" fmla="*/ 150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2" name="Freeform 244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5954265" y="2151434"/>
                <a:ext cx="35895" cy="57162"/>
              </a:xfrm>
              <a:custGeom>
                <a:avLst/>
                <a:gdLst>
                  <a:gd name="T0" fmla="*/ 0 w 60"/>
                  <a:gd name="T1" fmla="*/ 37 h 51"/>
                  <a:gd name="T2" fmla="*/ 6 w 60"/>
                  <a:gd name="T3" fmla="*/ 30 h 51"/>
                  <a:gd name="T4" fmla="*/ 15 w 60"/>
                  <a:gd name="T5" fmla="*/ 19 h 51"/>
                  <a:gd name="T6" fmla="*/ 20 w 60"/>
                  <a:gd name="T7" fmla="*/ 13 h 51"/>
                  <a:gd name="T8" fmla="*/ 27 w 60"/>
                  <a:gd name="T9" fmla="*/ 8 h 51"/>
                  <a:gd name="T10" fmla="*/ 33 w 60"/>
                  <a:gd name="T11" fmla="*/ 4 h 51"/>
                  <a:gd name="T12" fmla="*/ 40 w 60"/>
                  <a:gd name="T13" fmla="*/ 0 h 51"/>
                  <a:gd name="T14" fmla="*/ 50 w 60"/>
                  <a:gd name="T15" fmla="*/ 7 h 51"/>
                  <a:gd name="T16" fmla="*/ 60 w 60"/>
                  <a:gd name="T17" fmla="*/ 13 h 51"/>
                  <a:gd name="T18" fmla="*/ 59 w 60"/>
                  <a:gd name="T19" fmla="*/ 20 h 51"/>
                  <a:gd name="T20" fmla="*/ 56 w 60"/>
                  <a:gd name="T21" fmla="*/ 29 h 51"/>
                  <a:gd name="T22" fmla="*/ 54 w 60"/>
                  <a:gd name="T23" fmla="*/ 34 h 51"/>
                  <a:gd name="T24" fmla="*/ 52 w 60"/>
                  <a:gd name="T25" fmla="*/ 38 h 51"/>
                  <a:gd name="T26" fmla="*/ 49 w 60"/>
                  <a:gd name="T27" fmla="*/ 42 h 51"/>
                  <a:gd name="T28" fmla="*/ 45 w 60"/>
                  <a:gd name="T29" fmla="*/ 45 h 51"/>
                  <a:gd name="T30" fmla="*/ 41 w 60"/>
                  <a:gd name="T31" fmla="*/ 48 h 51"/>
                  <a:gd name="T32" fmla="*/ 37 w 60"/>
                  <a:gd name="T33" fmla="*/ 50 h 51"/>
                  <a:gd name="T34" fmla="*/ 31 w 60"/>
                  <a:gd name="T35" fmla="*/ 51 h 51"/>
                  <a:gd name="T36" fmla="*/ 27 w 60"/>
                  <a:gd name="T37" fmla="*/ 51 h 51"/>
                  <a:gd name="T38" fmla="*/ 20 w 60"/>
                  <a:gd name="T39" fmla="*/ 50 h 51"/>
                  <a:gd name="T40" fmla="*/ 15 w 60"/>
                  <a:gd name="T41" fmla="*/ 47 h 51"/>
                  <a:gd name="T42" fmla="*/ 7 w 60"/>
                  <a:gd name="T43" fmla="*/ 43 h 51"/>
                  <a:gd name="T44" fmla="*/ 0 w 60"/>
                  <a:gd name="T45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3" name="Freeform 245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5215264" y="2313397"/>
                <a:ext cx="38005" cy="57162"/>
              </a:xfrm>
              <a:custGeom>
                <a:avLst/>
                <a:gdLst>
                  <a:gd name="T0" fmla="*/ 59 w 66"/>
                  <a:gd name="T1" fmla="*/ 48 h 51"/>
                  <a:gd name="T2" fmla="*/ 42 w 66"/>
                  <a:gd name="T3" fmla="*/ 50 h 51"/>
                  <a:gd name="T4" fmla="*/ 22 w 66"/>
                  <a:gd name="T5" fmla="*/ 51 h 51"/>
                  <a:gd name="T6" fmla="*/ 17 w 66"/>
                  <a:gd name="T7" fmla="*/ 50 h 51"/>
                  <a:gd name="T8" fmla="*/ 13 w 66"/>
                  <a:gd name="T9" fmla="*/ 49 h 51"/>
                  <a:gd name="T10" fmla="*/ 10 w 66"/>
                  <a:gd name="T11" fmla="*/ 48 h 51"/>
                  <a:gd name="T12" fmla="*/ 7 w 66"/>
                  <a:gd name="T13" fmla="*/ 46 h 51"/>
                  <a:gd name="T14" fmla="*/ 3 w 66"/>
                  <a:gd name="T15" fmla="*/ 43 h 51"/>
                  <a:gd name="T16" fmla="*/ 1 w 66"/>
                  <a:gd name="T17" fmla="*/ 40 h 51"/>
                  <a:gd name="T18" fmla="*/ 0 w 66"/>
                  <a:gd name="T19" fmla="*/ 35 h 51"/>
                  <a:gd name="T20" fmla="*/ 0 w 66"/>
                  <a:gd name="T21" fmla="*/ 30 h 51"/>
                  <a:gd name="T22" fmla="*/ 4 w 66"/>
                  <a:gd name="T23" fmla="*/ 29 h 51"/>
                  <a:gd name="T24" fmla="*/ 10 w 66"/>
                  <a:gd name="T25" fmla="*/ 27 h 51"/>
                  <a:gd name="T26" fmla="*/ 14 w 66"/>
                  <a:gd name="T27" fmla="*/ 24 h 51"/>
                  <a:gd name="T28" fmla="*/ 19 w 66"/>
                  <a:gd name="T29" fmla="*/ 20 h 51"/>
                  <a:gd name="T30" fmla="*/ 26 w 66"/>
                  <a:gd name="T31" fmla="*/ 10 h 51"/>
                  <a:gd name="T32" fmla="*/ 33 w 66"/>
                  <a:gd name="T33" fmla="*/ 0 h 51"/>
                  <a:gd name="T34" fmla="*/ 46 w 66"/>
                  <a:gd name="T35" fmla="*/ 1 h 51"/>
                  <a:gd name="T36" fmla="*/ 52 w 66"/>
                  <a:gd name="T37" fmla="*/ 2 h 51"/>
                  <a:gd name="T38" fmla="*/ 56 w 66"/>
                  <a:gd name="T39" fmla="*/ 3 h 51"/>
                  <a:gd name="T40" fmla="*/ 66 w 66"/>
                  <a:gd name="T41" fmla="*/ 0 h 51"/>
                  <a:gd name="T42" fmla="*/ 65 w 66"/>
                  <a:gd name="T43" fmla="*/ 13 h 51"/>
                  <a:gd name="T44" fmla="*/ 63 w 66"/>
                  <a:gd name="T45" fmla="*/ 24 h 51"/>
                  <a:gd name="T46" fmla="*/ 60 w 66"/>
                  <a:gd name="T47" fmla="*/ 36 h 51"/>
                  <a:gd name="T48" fmla="*/ 59 w 66"/>
                  <a:gd name="T49" fmla="*/ 4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4" name="Freeform 246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6482122" y="2842155"/>
                <a:ext cx="67565" cy="57162"/>
              </a:xfrm>
              <a:custGeom>
                <a:avLst/>
                <a:gdLst>
                  <a:gd name="T0" fmla="*/ 0 w 113"/>
                  <a:gd name="T1" fmla="*/ 44 h 74"/>
                  <a:gd name="T2" fmla="*/ 20 w 113"/>
                  <a:gd name="T3" fmla="*/ 74 h 74"/>
                  <a:gd name="T4" fmla="*/ 37 w 113"/>
                  <a:gd name="T5" fmla="*/ 69 h 74"/>
                  <a:gd name="T6" fmla="*/ 51 w 113"/>
                  <a:gd name="T7" fmla="*/ 65 h 74"/>
                  <a:gd name="T8" fmla="*/ 64 w 113"/>
                  <a:gd name="T9" fmla="*/ 59 h 74"/>
                  <a:gd name="T10" fmla="*/ 74 w 113"/>
                  <a:gd name="T11" fmla="*/ 53 h 74"/>
                  <a:gd name="T12" fmla="*/ 78 w 113"/>
                  <a:gd name="T13" fmla="*/ 49 h 74"/>
                  <a:gd name="T14" fmla="*/ 83 w 113"/>
                  <a:gd name="T15" fmla="*/ 45 h 74"/>
                  <a:gd name="T16" fmla="*/ 86 w 113"/>
                  <a:gd name="T17" fmla="*/ 41 h 74"/>
                  <a:gd name="T18" fmla="*/ 88 w 113"/>
                  <a:gd name="T19" fmla="*/ 37 h 74"/>
                  <a:gd name="T20" fmla="*/ 90 w 113"/>
                  <a:gd name="T21" fmla="*/ 32 h 74"/>
                  <a:gd name="T22" fmla="*/ 91 w 113"/>
                  <a:gd name="T23" fmla="*/ 26 h 74"/>
                  <a:gd name="T24" fmla="*/ 93 w 113"/>
                  <a:gd name="T25" fmla="*/ 19 h 74"/>
                  <a:gd name="T26" fmla="*/ 94 w 113"/>
                  <a:gd name="T27" fmla="*/ 13 h 74"/>
                  <a:gd name="T28" fmla="*/ 99 w 113"/>
                  <a:gd name="T29" fmla="*/ 12 h 74"/>
                  <a:gd name="T30" fmla="*/ 106 w 113"/>
                  <a:gd name="T31" fmla="*/ 9 h 74"/>
                  <a:gd name="T32" fmla="*/ 108 w 113"/>
                  <a:gd name="T33" fmla="*/ 7 h 74"/>
                  <a:gd name="T34" fmla="*/ 111 w 113"/>
                  <a:gd name="T35" fmla="*/ 5 h 74"/>
                  <a:gd name="T36" fmla="*/ 112 w 113"/>
                  <a:gd name="T37" fmla="*/ 3 h 74"/>
                  <a:gd name="T38" fmla="*/ 113 w 113"/>
                  <a:gd name="T39" fmla="*/ 0 h 74"/>
                  <a:gd name="T40" fmla="*/ 98 w 113"/>
                  <a:gd name="T41" fmla="*/ 4 h 74"/>
                  <a:gd name="T42" fmla="*/ 82 w 113"/>
                  <a:gd name="T43" fmla="*/ 8 h 74"/>
                  <a:gd name="T44" fmla="*/ 65 w 113"/>
                  <a:gd name="T45" fmla="*/ 13 h 74"/>
                  <a:gd name="T46" fmla="*/ 49 w 113"/>
                  <a:gd name="T47" fmla="*/ 19 h 74"/>
                  <a:gd name="T48" fmla="*/ 20 w 113"/>
                  <a:gd name="T49" fmla="*/ 33 h 74"/>
                  <a:gd name="T50" fmla="*/ 0 w 113"/>
                  <a:gd name="T51" fmla="*/ 4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5" name="Freeform 247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5960600" y="3634502"/>
                <a:ext cx="432843" cy="244532"/>
              </a:xfrm>
              <a:custGeom>
                <a:avLst/>
                <a:gdLst>
                  <a:gd name="T0" fmla="*/ 98 w 746"/>
                  <a:gd name="T1" fmla="*/ 452 h 469"/>
                  <a:gd name="T2" fmla="*/ 54 w 746"/>
                  <a:gd name="T3" fmla="*/ 440 h 469"/>
                  <a:gd name="T4" fmla="*/ 21 w 746"/>
                  <a:gd name="T5" fmla="*/ 429 h 469"/>
                  <a:gd name="T6" fmla="*/ 5 w 746"/>
                  <a:gd name="T7" fmla="*/ 413 h 469"/>
                  <a:gd name="T8" fmla="*/ 0 w 746"/>
                  <a:gd name="T9" fmla="*/ 363 h 469"/>
                  <a:gd name="T10" fmla="*/ 5 w 746"/>
                  <a:gd name="T11" fmla="*/ 309 h 469"/>
                  <a:gd name="T12" fmla="*/ 23 w 746"/>
                  <a:gd name="T13" fmla="*/ 273 h 469"/>
                  <a:gd name="T14" fmla="*/ 56 w 746"/>
                  <a:gd name="T15" fmla="*/ 228 h 469"/>
                  <a:gd name="T16" fmla="*/ 121 w 746"/>
                  <a:gd name="T17" fmla="*/ 204 h 469"/>
                  <a:gd name="T18" fmla="*/ 166 w 746"/>
                  <a:gd name="T19" fmla="*/ 188 h 469"/>
                  <a:gd name="T20" fmla="*/ 235 w 746"/>
                  <a:gd name="T21" fmla="*/ 173 h 469"/>
                  <a:gd name="T22" fmla="*/ 262 w 746"/>
                  <a:gd name="T23" fmla="*/ 153 h 469"/>
                  <a:gd name="T24" fmla="*/ 267 w 746"/>
                  <a:gd name="T25" fmla="*/ 136 h 469"/>
                  <a:gd name="T26" fmla="*/ 292 w 746"/>
                  <a:gd name="T27" fmla="*/ 120 h 469"/>
                  <a:gd name="T28" fmla="*/ 332 w 746"/>
                  <a:gd name="T29" fmla="*/ 115 h 469"/>
                  <a:gd name="T30" fmla="*/ 359 w 746"/>
                  <a:gd name="T31" fmla="*/ 101 h 469"/>
                  <a:gd name="T32" fmla="*/ 389 w 746"/>
                  <a:gd name="T33" fmla="*/ 67 h 469"/>
                  <a:gd name="T34" fmla="*/ 425 w 746"/>
                  <a:gd name="T35" fmla="*/ 22 h 469"/>
                  <a:gd name="T36" fmla="*/ 450 w 746"/>
                  <a:gd name="T37" fmla="*/ 6 h 469"/>
                  <a:gd name="T38" fmla="*/ 486 w 746"/>
                  <a:gd name="T39" fmla="*/ 0 h 469"/>
                  <a:gd name="T40" fmla="*/ 507 w 746"/>
                  <a:gd name="T41" fmla="*/ 29 h 469"/>
                  <a:gd name="T42" fmla="*/ 532 w 746"/>
                  <a:gd name="T43" fmla="*/ 53 h 469"/>
                  <a:gd name="T44" fmla="*/ 553 w 746"/>
                  <a:gd name="T45" fmla="*/ 107 h 469"/>
                  <a:gd name="T46" fmla="*/ 579 w 746"/>
                  <a:gd name="T47" fmla="*/ 159 h 469"/>
                  <a:gd name="T48" fmla="*/ 613 w 746"/>
                  <a:gd name="T49" fmla="*/ 172 h 469"/>
                  <a:gd name="T50" fmla="*/ 628 w 746"/>
                  <a:gd name="T51" fmla="*/ 193 h 469"/>
                  <a:gd name="T52" fmla="*/ 650 w 746"/>
                  <a:gd name="T53" fmla="*/ 233 h 469"/>
                  <a:gd name="T54" fmla="*/ 702 w 746"/>
                  <a:gd name="T55" fmla="*/ 279 h 469"/>
                  <a:gd name="T56" fmla="*/ 741 w 746"/>
                  <a:gd name="T57" fmla="*/ 315 h 469"/>
                  <a:gd name="T58" fmla="*/ 711 w 746"/>
                  <a:gd name="T59" fmla="*/ 345 h 469"/>
                  <a:gd name="T60" fmla="*/ 691 w 746"/>
                  <a:gd name="T61" fmla="*/ 342 h 469"/>
                  <a:gd name="T62" fmla="*/ 679 w 746"/>
                  <a:gd name="T63" fmla="*/ 321 h 469"/>
                  <a:gd name="T64" fmla="*/ 651 w 746"/>
                  <a:gd name="T65" fmla="*/ 330 h 469"/>
                  <a:gd name="T66" fmla="*/ 639 w 746"/>
                  <a:gd name="T67" fmla="*/ 352 h 469"/>
                  <a:gd name="T68" fmla="*/ 604 w 746"/>
                  <a:gd name="T69" fmla="*/ 356 h 469"/>
                  <a:gd name="T70" fmla="*/ 553 w 746"/>
                  <a:gd name="T71" fmla="*/ 356 h 469"/>
                  <a:gd name="T72" fmla="*/ 522 w 746"/>
                  <a:gd name="T73" fmla="*/ 365 h 469"/>
                  <a:gd name="T74" fmla="*/ 496 w 746"/>
                  <a:gd name="T75" fmla="*/ 387 h 469"/>
                  <a:gd name="T76" fmla="*/ 486 w 746"/>
                  <a:gd name="T77" fmla="*/ 394 h 469"/>
                  <a:gd name="T78" fmla="*/ 426 w 746"/>
                  <a:gd name="T79" fmla="*/ 400 h 469"/>
                  <a:gd name="T80" fmla="*/ 396 w 746"/>
                  <a:gd name="T81" fmla="*/ 392 h 469"/>
                  <a:gd name="T82" fmla="*/ 349 w 746"/>
                  <a:gd name="T83" fmla="*/ 354 h 469"/>
                  <a:gd name="T84" fmla="*/ 319 w 746"/>
                  <a:gd name="T85" fmla="*/ 345 h 469"/>
                  <a:gd name="T86" fmla="*/ 291 w 746"/>
                  <a:gd name="T87" fmla="*/ 355 h 469"/>
                  <a:gd name="T88" fmla="*/ 266 w 746"/>
                  <a:gd name="T89" fmla="*/ 377 h 469"/>
                  <a:gd name="T90" fmla="*/ 227 w 746"/>
                  <a:gd name="T91" fmla="*/ 437 h 469"/>
                  <a:gd name="T92" fmla="*/ 150 w 746"/>
                  <a:gd name="T93" fmla="*/ 439 h 469"/>
                  <a:gd name="T94" fmla="*/ 135 w 746"/>
                  <a:gd name="T95" fmla="*/ 44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6" name="Freeform 248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5876142" y="3802816"/>
                <a:ext cx="665101" cy="552578"/>
              </a:xfrm>
              <a:custGeom>
                <a:avLst/>
                <a:gdLst>
                  <a:gd name="T0" fmla="*/ 902 w 1145"/>
                  <a:gd name="T1" fmla="*/ 57 h 1053"/>
                  <a:gd name="T2" fmla="*/ 993 w 1145"/>
                  <a:gd name="T3" fmla="*/ 66 h 1053"/>
                  <a:gd name="T4" fmla="*/ 1080 w 1145"/>
                  <a:gd name="T5" fmla="*/ 81 h 1053"/>
                  <a:gd name="T6" fmla="*/ 1126 w 1145"/>
                  <a:gd name="T7" fmla="*/ 175 h 1053"/>
                  <a:gd name="T8" fmla="*/ 1133 w 1145"/>
                  <a:gd name="T9" fmla="*/ 211 h 1053"/>
                  <a:gd name="T10" fmla="*/ 1058 w 1145"/>
                  <a:gd name="T11" fmla="*/ 272 h 1053"/>
                  <a:gd name="T12" fmla="*/ 1045 w 1145"/>
                  <a:gd name="T13" fmla="*/ 360 h 1053"/>
                  <a:gd name="T14" fmla="*/ 1003 w 1145"/>
                  <a:gd name="T15" fmla="*/ 440 h 1053"/>
                  <a:gd name="T16" fmla="*/ 990 w 1145"/>
                  <a:gd name="T17" fmla="*/ 476 h 1053"/>
                  <a:gd name="T18" fmla="*/ 1019 w 1145"/>
                  <a:gd name="T19" fmla="*/ 576 h 1053"/>
                  <a:gd name="T20" fmla="*/ 1026 w 1145"/>
                  <a:gd name="T21" fmla="*/ 664 h 1053"/>
                  <a:gd name="T22" fmla="*/ 1047 w 1145"/>
                  <a:gd name="T23" fmla="*/ 731 h 1053"/>
                  <a:gd name="T24" fmla="*/ 1079 w 1145"/>
                  <a:gd name="T25" fmla="*/ 765 h 1053"/>
                  <a:gd name="T26" fmla="*/ 1092 w 1145"/>
                  <a:gd name="T27" fmla="*/ 825 h 1053"/>
                  <a:gd name="T28" fmla="*/ 1040 w 1145"/>
                  <a:gd name="T29" fmla="*/ 844 h 1053"/>
                  <a:gd name="T30" fmla="*/ 997 w 1145"/>
                  <a:gd name="T31" fmla="*/ 856 h 1053"/>
                  <a:gd name="T32" fmla="*/ 960 w 1145"/>
                  <a:gd name="T33" fmla="*/ 992 h 1053"/>
                  <a:gd name="T34" fmla="*/ 930 w 1145"/>
                  <a:gd name="T35" fmla="*/ 1026 h 1053"/>
                  <a:gd name="T36" fmla="*/ 902 w 1145"/>
                  <a:gd name="T37" fmla="*/ 1031 h 1053"/>
                  <a:gd name="T38" fmla="*/ 840 w 1145"/>
                  <a:gd name="T39" fmla="*/ 1053 h 1053"/>
                  <a:gd name="T40" fmla="*/ 782 w 1145"/>
                  <a:gd name="T41" fmla="*/ 1037 h 1053"/>
                  <a:gd name="T42" fmla="*/ 743 w 1145"/>
                  <a:gd name="T43" fmla="*/ 1014 h 1053"/>
                  <a:gd name="T44" fmla="*/ 707 w 1145"/>
                  <a:gd name="T45" fmla="*/ 997 h 1053"/>
                  <a:gd name="T46" fmla="*/ 674 w 1145"/>
                  <a:gd name="T47" fmla="*/ 986 h 1053"/>
                  <a:gd name="T48" fmla="*/ 608 w 1145"/>
                  <a:gd name="T49" fmla="*/ 987 h 1053"/>
                  <a:gd name="T50" fmla="*/ 594 w 1145"/>
                  <a:gd name="T51" fmla="*/ 942 h 1053"/>
                  <a:gd name="T52" fmla="*/ 575 w 1145"/>
                  <a:gd name="T53" fmla="*/ 884 h 1053"/>
                  <a:gd name="T54" fmla="*/ 590 w 1145"/>
                  <a:gd name="T55" fmla="*/ 846 h 1053"/>
                  <a:gd name="T56" fmla="*/ 590 w 1145"/>
                  <a:gd name="T57" fmla="*/ 779 h 1053"/>
                  <a:gd name="T58" fmla="*/ 454 w 1145"/>
                  <a:gd name="T59" fmla="*/ 755 h 1053"/>
                  <a:gd name="T60" fmla="*/ 443 w 1145"/>
                  <a:gd name="T61" fmla="*/ 785 h 1053"/>
                  <a:gd name="T62" fmla="*/ 396 w 1145"/>
                  <a:gd name="T63" fmla="*/ 817 h 1053"/>
                  <a:gd name="T64" fmla="*/ 337 w 1145"/>
                  <a:gd name="T65" fmla="*/ 797 h 1053"/>
                  <a:gd name="T66" fmla="*/ 297 w 1145"/>
                  <a:gd name="T67" fmla="*/ 708 h 1053"/>
                  <a:gd name="T68" fmla="*/ 3 w 1145"/>
                  <a:gd name="T69" fmla="*/ 671 h 1053"/>
                  <a:gd name="T70" fmla="*/ 45 w 1145"/>
                  <a:gd name="T71" fmla="*/ 667 h 1053"/>
                  <a:gd name="T72" fmla="*/ 26 w 1145"/>
                  <a:gd name="T73" fmla="*/ 631 h 1053"/>
                  <a:gd name="T74" fmla="*/ 75 w 1145"/>
                  <a:gd name="T75" fmla="*/ 615 h 1053"/>
                  <a:gd name="T76" fmla="*/ 145 w 1145"/>
                  <a:gd name="T77" fmla="*/ 614 h 1053"/>
                  <a:gd name="T78" fmla="*/ 183 w 1145"/>
                  <a:gd name="T79" fmla="*/ 620 h 1053"/>
                  <a:gd name="T80" fmla="*/ 220 w 1145"/>
                  <a:gd name="T81" fmla="*/ 574 h 1053"/>
                  <a:gd name="T82" fmla="*/ 260 w 1145"/>
                  <a:gd name="T83" fmla="*/ 555 h 1053"/>
                  <a:gd name="T84" fmla="*/ 281 w 1145"/>
                  <a:gd name="T85" fmla="*/ 440 h 1053"/>
                  <a:gd name="T86" fmla="*/ 346 w 1145"/>
                  <a:gd name="T87" fmla="*/ 370 h 1053"/>
                  <a:gd name="T88" fmla="*/ 370 w 1145"/>
                  <a:gd name="T89" fmla="*/ 276 h 1053"/>
                  <a:gd name="T90" fmla="*/ 372 w 1145"/>
                  <a:gd name="T91" fmla="*/ 180 h 1053"/>
                  <a:gd name="T92" fmla="*/ 383 w 1145"/>
                  <a:gd name="T93" fmla="*/ 122 h 1053"/>
                  <a:gd name="T94" fmla="*/ 440 w 1145"/>
                  <a:gd name="T95" fmla="*/ 35 h 1053"/>
                  <a:gd name="T96" fmla="*/ 491 w 1145"/>
                  <a:gd name="T97" fmla="*/ 30 h 1053"/>
                  <a:gd name="T98" fmla="*/ 558 w 1145"/>
                  <a:gd name="T99" fmla="*/ 77 h 1053"/>
                  <a:gd name="T100" fmla="*/ 637 w 1145"/>
                  <a:gd name="T101" fmla="*/ 73 h 1053"/>
                  <a:gd name="T102" fmla="*/ 670 w 1145"/>
                  <a:gd name="T103" fmla="*/ 44 h 1053"/>
                  <a:gd name="T104" fmla="*/ 734 w 1145"/>
                  <a:gd name="T105" fmla="*/ 34 h 1053"/>
                  <a:gd name="T106" fmla="*/ 795 w 1145"/>
                  <a:gd name="T107" fmla="*/ 17 h 1053"/>
                  <a:gd name="T108" fmla="*/ 828 w 1145"/>
                  <a:gd name="T109" fmla="*/ 8 h 1053"/>
                  <a:gd name="T110" fmla="*/ 859 w 1145"/>
                  <a:gd name="T111" fmla="*/ 24 h 1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7" name="Freeform 249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5791684" y="3902851"/>
                <a:ext cx="73899" cy="55576"/>
              </a:xfrm>
              <a:custGeom>
                <a:avLst/>
                <a:gdLst>
                  <a:gd name="T0" fmla="*/ 120 w 125"/>
                  <a:gd name="T1" fmla="*/ 0 h 81"/>
                  <a:gd name="T2" fmla="*/ 121 w 125"/>
                  <a:gd name="T3" fmla="*/ 27 h 81"/>
                  <a:gd name="T4" fmla="*/ 124 w 125"/>
                  <a:gd name="T5" fmla="*/ 46 h 81"/>
                  <a:gd name="T6" fmla="*/ 125 w 125"/>
                  <a:gd name="T7" fmla="*/ 53 h 81"/>
                  <a:gd name="T8" fmla="*/ 125 w 125"/>
                  <a:gd name="T9" fmla="*/ 59 h 81"/>
                  <a:gd name="T10" fmla="*/ 125 w 125"/>
                  <a:gd name="T11" fmla="*/ 65 h 81"/>
                  <a:gd name="T12" fmla="*/ 123 w 125"/>
                  <a:gd name="T13" fmla="*/ 69 h 81"/>
                  <a:gd name="T14" fmla="*/ 119 w 125"/>
                  <a:gd name="T15" fmla="*/ 72 h 81"/>
                  <a:gd name="T16" fmla="*/ 112 w 125"/>
                  <a:gd name="T17" fmla="*/ 74 h 81"/>
                  <a:gd name="T18" fmla="*/ 103 w 125"/>
                  <a:gd name="T19" fmla="*/ 76 h 81"/>
                  <a:gd name="T20" fmla="*/ 91 w 125"/>
                  <a:gd name="T21" fmla="*/ 77 h 81"/>
                  <a:gd name="T22" fmla="*/ 57 w 125"/>
                  <a:gd name="T23" fmla="*/ 79 h 81"/>
                  <a:gd name="T24" fmla="*/ 7 w 125"/>
                  <a:gd name="T25" fmla="*/ 81 h 81"/>
                  <a:gd name="T26" fmla="*/ 5 w 125"/>
                  <a:gd name="T27" fmla="*/ 79 h 81"/>
                  <a:gd name="T28" fmla="*/ 3 w 125"/>
                  <a:gd name="T29" fmla="*/ 72 h 81"/>
                  <a:gd name="T30" fmla="*/ 1 w 125"/>
                  <a:gd name="T31" fmla="*/ 59 h 81"/>
                  <a:gd name="T32" fmla="*/ 0 w 125"/>
                  <a:gd name="T33" fmla="*/ 43 h 81"/>
                  <a:gd name="T34" fmla="*/ 0 w 125"/>
                  <a:gd name="T35" fmla="*/ 37 h 81"/>
                  <a:gd name="T36" fmla="*/ 1 w 125"/>
                  <a:gd name="T37" fmla="*/ 31 h 81"/>
                  <a:gd name="T38" fmla="*/ 2 w 125"/>
                  <a:gd name="T39" fmla="*/ 25 h 81"/>
                  <a:gd name="T40" fmla="*/ 4 w 125"/>
                  <a:gd name="T41" fmla="*/ 20 h 81"/>
                  <a:gd name="T42" fmla="*/ 8 w 125"/>
                  <a:gd name="T43" fmla="*/ 15 h 81"/>
                  <a:gd name="T44" fmla="*/ 11 w 125"/>
                  <a:gd name="T45" fmla="*/ 10 h 81"/>
                  <a:gd name="T46" fmla="*/ 14 w 125"/>
                  <a:gd name="T47" fmla="*/ 5 h 81"/>
                  <a:gd name="T48" fmla="*/ 20 w 125"/>
                  <a:gd name="T49" fmla="*/ 0 h 81"/>
                  <a:gd name="T50" fmla="*/ 120 w 125"/>
                  <a:gd name="T51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8" name="Freeform 250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5768458" y="3902851"/>
                <a:ext cx="202698" cy="201660"/>
              </a:xfrm>
              <a:custGeom>
                <a:avLst/>
                <a:gdLst>
                  <a:gd name="T0" fmla="*/ 262 w 355"/>
                  <a:gd name="T1" fmla="*/ 15 h 388"/>
                  <a:gd name="T2" fmla="*/ 257 w 355"/>
                  <a:gd name="T3" fmla="*/ 37 h 388"/>
                  <a:gd name="T4" fmla="*/ 264 w 355"/>
                  <a:gd name="T5" fmla="*/ 51 h 388"/>
                  <a:gd name="T6" fmla="*/ 283 w 355"/>
                  <a:gd name="T7" fmla="*/ 60 h 388"/>
                  <a:gd name="T8" fmla="*/ 319 w 355"/>
                  <a:gd name="T9" fmla="*/ 55 h 388"/>
                  <a:gd name="T10" fmla="*/ 332 w 355"/>
                  <a:gd name="T11" fmla="*/ 57 h 388"/>
                  <a:gd name="T12" fmla="*/ 340 w 355"/>
                  <a:gd name="T13" fmla="*/ 68 h 388"/>
                  <a:gd name="T14" fmla="*/ 345 w 355"/>
                  <a:gd name="T15" fmla="*/ 83 h 388"/>
                  <a:gd name="T16" fmla="*/ 351 w 355"/>
                  <a:gd name="T17" fmla="*/ 94 h 388"/>
                  <a:gd name="T18" fmla="*/ 345 w 355"/>
                  <a:gd name="T19" fmla="*/ 108 h 388"/>
                  <a:gd name="T20" fmla="*/ 320 w 355"/>
                  <a:gd name="T21" fmla="*/ 136 h 388"/>
                  <a:gd name="T22" fmla="*/ 348 w 355"/>
                  <a:gd name="T23" fmla="*/ 175 h 388"/>
                  <a:gd name="T24" fmla="*/ 355 w 355"/>
                  <a:gd name="T25" fmla="*/ 202 h 388"/>
                  <a:gd name="T26" fmla="*/ 353 w 355"/>
                  <a:gd name="T27" fmla="*/ 219 h 388"/>
                  <a:gd name="T28" fmla="*/ 345 w 355"/>
                  <a:gd name="T29" fmla="*/ 254 h 388"/>
                  <a:gd name="T30" fmla="*/ 333 w 355"/>
                  <a:gd name="T31" fmla="*/ 271 h 388"/>
                  <a:gd name="T32" fmla="*/ 312 w 355"/>
                  <a:gd name="T33" fmla="*/ 280 h 388"/>
                  <a:gd name="T34" fmla="*/ 286 w 355"/>
                  <a:gd name="T35" fmla="*/ 282 h 388"/>
                  <a:gd name="T36" fmla="*/ 270 w 355"/>
                  <a:gd name="T37" fmla="*/ 282 h 388"/>
                  <a:gd name="T38" fmla="*/ 252 w 355"/>
                  <a:gd name="T39" fmla="*/ 265 h 388"/>
                  <a:gd name="T40" fmla="*/ 240 w 355"/>
                  <a:gd name="T41" fmla="*/ 259 h 388"/>
                  <a:gd name="T42" fmla="*/ 221 w 355"/>
                  <a:gd name="T43" fmla="*/ 269 h 388"/>
                  <a:gd name="T44" fmla="*/ 205 w 355"/>
                  <a:gd name="T45" fmla="*/ 279 h 388"/>
                  <a:gd name="T46" fmla="*/ 194 w 355"/>
                  <a:gd name="T47" fmla="*/ 285 h 388"/>
                  <a:gd name="T48" fmla="*/ 185 w 355"/>
                  <a:gd name="T49" fmla="*/ 298 h 388"/>
                  <a:gd name="T50" fmla="*/ 187 w 355"/>
                  <a:gd name="T51" fmla="*/ 321 h 388"/>
                  <a:gd name="T52" fmla="*/ 207 w 355"/>
                  <a:gd name="T53" fmla="*/ 358 h 388"/>
                  <a:gd name="T54" fmla="*/ 195 w 355"/>
                  <a:gd name="T55" fmla="*/ 353 h 388"/>
                  <a:gd name="T56" fmla="*/ 177 w 355"/>
                  <a:gd name="T57" fmla="*/ 355 h 388"/>
                  <a:gd name="T58" fmla="*/ 162 w 355"/>
                  <a:gd name="T59" fmla="*/ 365 h 388"/>
                  <a:gd name="T60" fmla="*/ 146 w 355"/>
                  <a:gd name="T61" fmla="*/ 388 h 388"/>
                  <a:gd name="T62" fmla="*/ 123 w 355"/>
                  <a:gd name="T63" fmla="*/ 370 h 388"/>
                  <a:gd name="T64" fmla="*/ 113 w 355"/>
                  <a:gd name="T65" fmla="*/ 358 h 388"/>
                  <a:gd name="T66" fmla="*/ 96 w 355"/>
                  <a:gd name="T67" fmla="*/ 324 h 388"/>
                  <a:gd name="T68" fmla="*/ 50 w 355"/>
                  <a:gd name="T69" fmla="*/ 280 h 388"/>
                  <a:gd name="T70" fmla="*/ 22 w 355"/>
                  <a:gd name="T71" fmla="*/ 254 h 388"/>
                  <a:gd name="T72" fmla="*/ 5 w 355"/>
                  <a:gd name="T73" fmla="*/ 223 h 388"/>
                  <a:gd name="T74" fmla="*/ 1 w 355"/>
                  <a:gd name="T75" fmla="*/ 187 h 388"/>
                  <a:gd name="T76" fmla="*/ 11 w 355"/>
                  <a:gd name="T77" fmla="*/ 162 h 388"/>
                  <a:gd name="T78" fmla="*/ 41 w 355"/>
                  <a:gd name="T79" fmla="*/ 134 h 388"/>
                  <a:gd name="T80" fmla="*/ 54 w 355"/>
                  <a:gd name="T81" fmla="*/ 116 h 388"/>
                  <a:gd name="T82" fmla="*/ 56 w 355"/>
                  <a:gd name="T83" fmla="*/ 91 h 388"/>
                  <a:gd name="T84" fmla="*/ 108 w 355"/>
                  <a:gd name="T85" fmla="*/ 83 h 388"/>
                  <a:gd name="T86" fmla="*/ 156 w 355"/>
                  <a:gd name="T87" fmla="*/ 80 h 388"/>
                  <a:gd name="T88" fmla="*/ 172 w 355"/>
                  <a:gd name="T89" fmla="*/ 73 h 388"/>
                  <a:gd name="T90" fmla="*/ 177 w 355"/>
                  <a:gd name="T91" fmla="*/ 63 h 388"/>
                  <a:gd name="T92" fmla="*/ 174 w 355"/>
                  <a:gd name="T93" fmla="*/ 41 h 388"/>
                  <a:gd name="T94" fmla="*/ 167 w 355"/>
                  <a:gd name="T95" fmla="*/ 1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9" name="Freeform 251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6477900" y="4307757"/>
                <a:ext cx="346275" cy="520821"/>
              </a:xfrm>
              <a:custGeom>
                <a:avLst/>
                <a:gdLst>
                  <a:gd name="T0" fmla="*/ 0 w 599"/>
                  <a:gd name="T1" fmla="*/ 259 h 993"/>
                  <a:gd name="T2" fmla="*/ 182 w 599"/>
                  <a:gd name="T3" fmla="*/ 224 h 993"/>
                  <a:gd name="T4" fmla="*/ 230 w 599"/>
                  <a:gd name="T5" fmla="*/ 240 h 993"/>
                  <a:gd name="T6" fmla="*/ 258 w 599"/>
                  <a:gd name="T7" fmla="*/ 258 h 993"/>
                  <a:gd name="T8" fmla="*/ 252 w 599"/>
                  <a:gd name="T9" fmla="*/ 296 h 993"/>
                  <a:gd name="T10" fmla="*/ 234 w 599"/>
                  <a:gd name="T11" fmla="*/ 327 h 993"/>
                  <a:gd name="T12" fmla="*/ 250 w 599"/>
                  <a:gd name="T13" fmla="*/ 357 h 993"/>
                  <a:gd name="T14" fmla="*/ 294 w 599"/>
                  <a:gd name="T15" fmla="*/ 365 h 993"/>
                  <a:gd name="T16" fmla="*/ 319 w 599"/>
                  <a:gd name="T17" fmla="*/ 340 h 993"/>
                  <a:gd name="T18" fmla="*/ 338 w 599"/>
                  <a:gd name="T19" fmla="*/ 317 h 993"/>
                  <a:gd name="T20" fmla="*/ 332 w 599"/>
                  <a:gd name="T21" fmla="*/ 261 h 993"/>
                  <a:gd name="T22" fmla="*/ 314 w 599"/>
                  <a:gd name="T23" fmla="*/ 204 h 993"/>
                  <a:gd name="T24" fmla="*/ 271 w 599"/>
                  <a:gd name="T25" fmla="*/ 157 h 993"/>
                  <a:gd name="T26" fmla="*/ 254 w 599"/>
                  <a:gd name="T27" fmla="*/ 125 h 993"/>
                  <a:gd name="T28" fmla="*/ 270 w 599"/>
                  <a:gd name="T29" fmla="*/ 62 h 993"/>
                  <a:gd name="T30" fmla="*/ 320 w 599"/>
                  <a:gd name="T31" fmla="*/ 55 h 993"/>
                  <a:gd name="T32" fmla="*/ 418 w 599"/>
                  <a:gd name="T33" fmla="*/ 60 h 993"/>
                  <a:gd name="T34" fmla="*/ 521 w 599"/>
                  <a:gd name="T35" fmla="*/ 36 h 993"/>
                  <a:gd name="T36" fmla="*/ 597 w 599"/>
                  <a:gd name="T37" fmla="*/ 3 h 993"/>
                  <a:gd name="T38" fmla="*/ 597 w 599"/>
                  <a:gd name="T39" fmla="*/ 30 h 993"/>
                  <a:gd name="T40" fmla="*/ 597 w 599"/>
                  <a:gd name="T41" fmla="*/ 126 h 993"/>
                  <a:gd name="T42" fmla="*/ 592 w 599"/>
                  <a:gd name="T43" fmla="*/ 228 h 993"/>
                  <a:gd name="T44" fmla="*/ 585 w 599"/>
                  <a:gd name="T45" fmla="*/ 276 h 993"/>
                  <a:gd name="T46" fmla="*/ 550 w 599"/>
                  <a:gd name="T47" fmla="*/ 337 h 993"/>
                  <a:gd name="T48" fmla="*/ 468 w 599"/>
                  <a:gd name="T49" fmla="*/ 402 h 993"/>
                  <a:gd name="T50" fmla="*/ 374 w 599"/>
                  <a:gd name="T51" fmla="*/ 426 h 993"/>
                  <a:gd name="T52" fmla="*/ 353 w 599"/>
                  <a:gd name="T53" fmla="*/ 464 h 993"/>
                  <a:gd name="T54" fmla="*/ 293 w 599"/>
                  <a:gd name="T55" fmla="*/ 507 h 993"/>
                  <a:gd name="T56" fmla="*/ 243 w 599"/>
                  <a:gd name="T57" fmla="*/ 549 h 993"/>
                  <a:gd name="T58" fmla="*/ 229 w 599"/>
                  <a:gd name="T59" fmla="*/ 582 h 993"/>
                  <a:gd name="T60" fmla="*/ 237 w 599"/>
                  <a:gd name="T61" fmla="*/ 619 h 993"/>
                  <a:gd name="T62" fmla="*/ 267 w 599"/>
                  <a:gd name="T63" fmla="*/ 654 h 993"/>
                  <a:gd name="T64" fmla="*/ 254 w 599"/>
                  <a:gd name="T65" fmla="*/ 694 h 993"/>
                  <a:gd name="T66" fmla="*/ 265 w 599"/>
                  <a:gd name="T67" fmla="*/ 729 h 993"/>
                  <a:gd name="T68" fmla="*/ 267 w 599"/>
                  <a:gd name="T69" fmla="*/ 790 h 993"/>
                  <a:gd name="T70" fmla="*/ 256 w 599"/>
                  <a:gd name="T71" fmla="*/ 814 h 993"/>
                  <a:gd name="T72" fmla="*/ 193 w 599"/>
                  <a:gd name="T73" fmla="*/ 873 h 993"/>
                  <a:gd name="T74" fmla="*/ 147 w 599"/>
                  <a:gd name="T75" fmla="*/ 887 h 993"/>
                  <a:gd name="T76" fmla="*/ 102 w 599"/>
                  <a:gd name="T77" fmla="*/ 894 h 993"/>
                  <a:gd name="T78" fmla="*/ 87 w 599"/>
                  <a:gd name="T79" fmla="*/ 913 h 993"/>
                  <a:gd name="T80" fmla="*/ 95 w 599"/>
                  <a:gd name="T81" fmla="*/ 939 h 993"/>
                  <a:gd name="T82" fmla="*/ 91 w 599"/>
                  <a:gd name="T83" fmla="*/ 992 h 993"/>
                  <a:gd name="T84" fmla="*/ 74 w 599"/>
                  <a:gd name="T85" fmla="*/ 810 h 993"/>
                  <a:gd name="T86" fmla="*/ 58 w 599"/>
                  <a:gd name="T87" fmla="*/ 765 h 993"/>
                  <a:gd name="T88" fmla="*/ 41 w 599"/>
                  <a:gd name="T89" fmla="*/ 720 h 993"/>
                  <a:gd name="T90" fmla="*/ 108 w 599"/>
                  <a:gd name="T91" fmla="*/ 666 h 993"/>
                  <a:gd name="T92" fmla="*/ 109 w 599"/>
                  <a:gd name="T93" fmla="*/ 614 h 993"/>
                  <a:gd name="T94" fmla="*/ 149 w 599"/>
                  <a:gd name="T95" fmla="*/ 571 h 993"/>
                  <a:gd name="T96" fmla="*/ 174 w 599"/>
                  <a:gd name="T97" fmla="*/ 526 h 993"/>
                  <a:gd name="T98" fmla="*/ 168 w 599"/>
                  <a:gd name="T99" fmla="*/ 441 h 993"/>
                  <a:gd name="T100" fmla="*/ 152 w 599"/>
                  <a:gd name="T101" fmla="*/ 364 h 993"/>
                  <a:gd name="T102" fmla="*/ 81 w 599"/>
                  <a:gd name="T103" fmla="*/ 341 h 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0" name="Freeform 252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6125291" y="4547524"/>
                <a:ext cx="316715" cy="287405"/>
              </a:xfrm>
              <a:custGeom>
                <a:avLst/>
                <a:gdLst>
                  <a:gd name="T0" fmla="*/ 30 w 545"/>
                  <a:gd name="T1" fmla="*/ 428 h 549"/>
                  <a:gd name="T2" fmla="*/ 46 w 545"/>
                  <a:gd name="T3" fmla="*/ 454 h 549"/>
                  <a:gd name="T4" fmla="*/ 46 w 545"/>
                  <a:gd name="T5" fmla="*/ 512 h 549"/>
                  <a:gd name="T6" fmla="*/ 48 w 545"/>
                  <a:gd name="T7" fmla="*/ 527 h 549"/>
                  <a:gd name="T8" fmla="*/ 55 w 545"/>
                  <a:gd name="T9" fmla="*/ 537 h 549"/>
                  <a:gd name="T10" fmla="*/ 68 w 545"/>
                  <a:gd name="T11" fmla="*/ 545 h 549"/>
                  <a:gd name="T12" fmla="*/ 100 w 545"/>
                  <a:gd name="T13" fmla="*/ 549 h 549"/>
                  <a:gd name="T14" fmla="*/ 113 w 545"/>
                  <a:gd name="T15" fmla="*/ 546 h 549"/>
                  <a:gd name="T16" fmla="*/ 130 w 545"/>
                  <a:gd name="T17" fmla="*/ 533 h 549"/>
                  <a:gd name="T18" fmla="*/ 143 w 545"/>
                  <a:gd name="T19" fmla="*/ 507 h 549"/>
                  <a:gd name="T20" fmla="*/ 154 w 545"/>
                  <a:gd name="T21" fmla="*/ 477 h 549"/>
                  <a:gd name="T22" fmla="*/ 169 w 545"/>
                  <a:gd name="T23" fmla="*/ 454 h 549"/>
                  <a:gd name="T24" fmla="*/ 183 w 545"/>
                  <a:gd name="T25" fmla="*/ 445 h 549"/>
                  <a:gd name="T26" fmla="*/ 201 w 545"/>
                  <a:gd name="T27" fmla="*/ 444 h 549"/>
                  <a:gd name="T28" fmla="*/ 222 w 545"/>
                  <a:gd name="T29" fmla="*/ 448 h 549"/>
                  <a:gd name="T30" fmla="*/ 252 w 545"/>
                  <a:gd name="T31" fmla="*/ 461 h 549"/>
                  <a:gd name="T32" fmla="*/ 272 w 545"/>
                  <a:gd name="T33" fmla="*/ 468 h 549"/>
                  <a:gd name="T34" fmla="*/ 297 w 545"/>
                  <a:gd name="T35" fmla="*/ 469 h 549"/>
                  <a:gd name="T36" fmla="*/ 319 w 545"/>
                  <a:gd name="T37" fmla="*/ 464 h 549"/>
                  <a:gd name="T38" fmla="*/ 332 w 545"/>
                  <a:gd name="T39" fmla="*/ 453 h 549"/>
                  <a:gd name="T40" fmla="*/ 359 w 545"/>
                  <a:gd name="T41" fmla="*/ 388 h 549"/>
                  <a:gd name="T42" fmla="*/ 382 w 545"/>
                  <a:gd name="T43" fmla="*/ 363 h 549"/>
                  <a:gd name="T44" fmla="*/ 447 w 545"/>
                  <a:gd name="T45" fmla="*/ 314 h 549"/>
                  <a:gd name="T46" fmla="*/ 527 w 545"/>
                  <a:gd name="T47" fmla="*/ 264 h 549"/>
                  <a:gd name="T48" fmla="*/ 528 w 545"/>
                  <a:gd name="T49" fmla="*/ 232 h 549"/>
                  <a:gd name="T50" fmla="*/ 503 w 545"/>
                  <a:gd name="T51" fmla="*/ 218 h 549"/>
                  <a:gd name="T52" fmla="*/ 485 w 545"/>
                  <a:gd name="T53" fmla="*/ 199 h 549"/>
                  <a:gd name="T54" fmla="*/ 460 w 545"/>
                  <a:gd name="T55" fmla="*/ 157 h 549"/>
                  <a:gd name="T56" fmla="*/ 440 w 545"/>
                  <a:gd name="T57" fmla="*/ 132 h 549"/>
                  <a:gd name="T58" fmla="*/ 377 w 545"/>
                  <a:gd name="T59" fmla="*/ 76 h 549"/>
                  <a:gd name="T60" fmla="*/ 359 w 545"/>
                  <a:gd name="T61" fmla="*/ 53 h 549"/>
                  <a:gd name="T62" fmla="*/ 348 w 545"/>
                  <a:gd name="T63" fmla="*/ 24 h 549"/>
                  <a:gd name="T64" fmla="*/ 319 w 545"/>
                  <a:gd name="T65" fmla="*/ 0 h 549"/>
                  <a:gd name="T66" fmla="*/ 244 w 545"/>
                  <a:gd name="T67" fmla="*/ 2 h 549"/>
                  <a:gd name="T68" fmla="*/ 176 w 545"/>
                  <a:gd name="T69" fmla="*/ 13 h 549"/>
                  <a:gd name="T70" fmla="*/ 95 w 545"/>
                  <a:gd name="T71" fmla="*/ 22 h 549"/>
                  <a:gd name="T72" fmla="*/ 71 w 545"/>
                  <a:gd name="T73" fmla="*/ 27 h 549"/>
                  <a:gd name="T74" fmla="*/ 67 w 545"/>
                  <a:gd name="T75" fmla="*/ 38 h 549"/>
                  <a:gd name="T76" fmla="*/ 73 w 545"/>
                  <a:gd name="T77" fmla="*/ 56 h 549"/>
                  <a:gd name="T78" fmla="*/ 84 w 545"/>
                  <a:gd name="T79" fmla="*/ 74 h 549"/>
                  <a:gd name="T80" fmla="*/ 86 w 545"/>
                  <a:gd name="T81" fmla="*/ 107 h 549"/>
                  <a:gd name="T82" fmla="*/ 74 w 545"/>
                  <a:gd name="T83" fmla="*/ 171 h 549"/>
                  <a:gd name="T84" fmla="*/ 62 w 545"/>
                  <a:gd name="T85" fmla="*/ 237 h 549"/>
                  <a:gd name="T86" fmla="*/ 47 w 545"/>
                  <a:gd name="T87" fmla="*/ 263 h 549"/>
                  <a:gd name="T88" fmla="*/ 26 w 545"/>
                  <a:gd name="T89" fmla="*/ 277 h 549"/>
                  <a:gd name="T90" fmla="*/ 5 w 545"/>
                  <a:gd name="T91" fmla="*/ 307 h 549"/>
                  <a:gd name="T92" fmla="*/ 1 w 545"/>
                  <a:gd name="T93" fmla="*/ 339 h 549"/>
                  <a:gd name="T94" fmla="*/ 8 w 545"/>
                  <a:gd name="T95" fmla="*/ 367 h 549"/>
                  <a:gd name="T96" fmla="*/ 8 w 545"/>
                  <a:gd name="T97" fmla="*/ 391 h 549"/>
                  <a:gd name="T98" fmla="*/ 0 w 545"/>
                  <a:gd name="T99" fmla="*/ 40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1" name="Freeform 253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6887517" y="4349042"/>
                <a:ext cx="261817" cy="435076"/>
              </a:xfrm>
              <a:custGeom>
                <a:avLst/>
                <a:gdLst>
                  <a:gd name="T0" fmla="*/ 112 w 452"/>
                  <a:gd name="T1" fmla="*/ 261 h 832"/>
                  <a:gd name="T2" fmla="*/ 138 w 452"/>
                  <a:gd name="T3" fmla="*/ 248 h 832"/>
                  <a:gd name="T4" fmla="*/ 165 w 452"/>
                  <a:gd name="T5" fmla="*/ 240 h 832"/>
                  <a:gd name="T6" fmla="*/ 192 w 452"/>
                  <a:gd name="T7" fmla="*/ 232 h 832"/>
                  <a:gd name="T8" fmla="*/ 215 w 452"/>
                  <a:gd name="T9" fmla="*/ 217 h 832"/>
                  <a:gd name="T10" fmla="*/ 232 w 452"/>
                  <a:gd name="T11" fmla="*/ 200 h 832"/>
                  <a:gd name="T12" fmla="*/ 232 w 452"/>
                  <a:gd name="T13" fmla="*/ 179 h 832"/>
                  <a:gd name="T14" fmla="*/ 265 w 452"/>
                  <a:gd name="T15" fmla="*/ 178 h 832"/>
                  <a:gd name="T16" fmla="*/ 282 w 452"/>
                  <a:gd name="T17" fmla="*/ 173 h 832"/>
                  <a:gd name="T18" fmla="*/ 298 w 452"/>
                  <a:gd name="T19" fmla="*/ 162 h 832"/>
                  <a:gd name="T20" fmla="*/ 320 w 452"/>
                  <a:gd name="T21" fmla="*/ 133 h 832"/>
                  <a:gd name="T22" fmla="*/ 350 w 452"/>
                  <a:gd name="T23" fmla="*/ 75 h 832"/>
                  <a:gd name="T24" fmla="*/ 378 w 452"/>
                  <a:gd name="T25" fmla="*/ 0 h 832"/>
                  <a:gd name="T26" fmla="*/ 385 w 452"/>
                  <a:gd name="T27" fmla="*/ 19 h 832"/>
                  <a:gd name="T28" fmla="*/ 407 w 452"/>
                  <a:gd name="T29" fmla="*/ 47 h 832"/>
                  <a:gd name="T30" fmla="*/ 448 w 452"/>
                  <a:gd name="T31" fmla="*/ 85 h 832"/>
                  <a:gd name="T32" fmla="*/ 440 w 452"/>
                  <a:gd name="T33" fmla="*/ 103 h 832"/>
                  <a:gd name="T34" fmla="*/ 444 w 452"/>
                  <a:gd name="T35" fmla="*/ 138 h 832"/>
                  <a:gd name="T36" fmla="*/ 452 w 452"/>
                  <a:gd name="T37" fmla="*/ 185 h 832"/>
                  <a:gd name="T38" fmla="*/ 448 w 452"/>
                  <a:gd name="T39" fmla="*/ 206 h 832"/>
                  <a:gd name="T40" fmla="*/ 428 w 452"/>
                  <a:gd name="T41" fmla="*/ 234 h 832"/>
                  <a:gd name="T42" fmla="*/ 409 w 452"/>
                  <a:gd name="T43" fmla="*/ 261 h 832"/>
                  <a:gd name="T44" fmla="*/ 405 w 452"/>
                  <a:gd name="T45" fmla="*/ 283 h 832"/>
                  <a:gd name="T46" fmla="*/ 393 w 452"/>
                  <a:gd name="T47" fmla="*/ 308 h 832"/>
                  <a:gd name="T48" fmla="*/ 383 w 452"/>
                  <a:gd name="T49" fmla="*/ 318 h 832"/>
                  <a:gd name="T50" fmla="*/ 377 w 452"/>
                  <a:gd name="T51" fmla="*/ 332 h 832"/>
                  <a:gd name="T52" fmla="*/ 368 w 452"/>
                  <a:gd name="T53" fmla="*/ 364 h 832"/>
                  <a:gd name="T54" fmla="*/ 338 w 452"/>
                  <a:gd name="T55" fmla="*/ 427 h 832"/>
                  <a:gd name="T56" fmla="*/ 321 w 452"/>
                  <a:gd name="T57" fmla="*/ 470 h 832"/>
                  <a:gd name="T58" fmla="*/ 318 w 452"/>
                  <a:gd name="T59" fmla="*/ 500 h 832"/>
                  <a:gd name="T60" fmla="*/ 310 w 452"/>
                  <a:gd name="T61" fmla="*/ 531 h 832"/>
                  <a:gd name="T62" fmla="*/ 281 w 452"/>
                  <a:gd name="T63" fmla="*/ 602 h 832"/>
                  <a:gd name="T64" fmla="*/ 260 w 452"/>
                  <a:gd name="T65" fmla="*/ 637 h 832"/>
                  <a:gd name="T66" fmla="*/ 242 w 452"/>
                  <a:gd name="T67" fmla="*/ 655 h 832"/>
                  <a:gd name="T68" fmla="*/ 232 w 452"/>
                  <a:gd name="T69" fmla="*/ 660 h 832"/>
                  <a:gd name="T70" fmla="*/ 228 w 452"/>
                  <a:gd name="T71" fmla="*/ 714 h 832"/>
                  <a:gd name="T72" fmla="*/ 215 w 452"/>
                  <a:gd name="T73" fmla="*/ 759 h 832"/>
                  <a:gd name="T74" fmla="*/ 191 w 452"/>
                  <a:gd name="T75" fmla="*/ 795 h 832"/>
                  <a:gd name="T76" fmla="*/ 157 w 452"/>
                  <a:gd name="T77" fmla="*/ 819 h 832"/>
                  <a:gd name="T78" fmla="*/ 110 w 452"/>
                  <a:gd name="T79" fmla="*/ 831 h 832"/>
                  <a:gd name="T80" fmla="*/ 80 w 452"/>
                  <a:gd name="T81" fmla="*/ 827 h 832"/>
                  <a:gd name="T82" fmla="*/ 73 w 452"/>
                  <a:gd name="T83" fmla="*/ 817 h 832"/>
                  <a:gd name="T84" fmla="*/ 50 w 452"/>
                  <a:gd name="T85" fmla="*/ 810 h 832"/>
                  <a:gd name="T86" fmla="*/ 26 w 452"/>
                  <a:gd name="T87" fmla="*/ 798 h 832"/>
                  <a:gd name="T88" fmla="*/ 12 w 452"/>
                  <a:gd name="T89" fmla="*/ 777 h 832"/>
                  <a:gd name="T90" fmla="*/ 3 w 452"/>
                  <a:gd name="T91" fmla="*/ 752 h 832"/>
                  <a:gd name="T92" fmla="*/ 0 w 452"/>
                  <a:gd name="T93" fmla="*/ 708 h 832"/>
                  <a:gd name="T94" fmla="*/ 4 w 452"/>
                  <a:gd name="T95" fmla="*/ 694 h 832"/>
                  <a:gd name="T96" fmla="*/ 19 w 452"/>
                  <a:gd name="T97" fmla="*/ 678 h 832"/>
                  <a:gd name="T98" fmla="*/ 11 w 452"/>
                  <a:gd name="T99" fmla="*/ 672 h 832"/>
                  <a:gd name="T100" fmla="*/ 0 w 452"/>
                  <a:gd name="T101" fmla="*/ 652 h 832"/>
                  <a:gd name="T102" fmla="*/ 5 w 452"/>
                  <a:gd name="T103" fmla="*/ 628 h 832"/>
                  <a:gd name="T104" fmla="*/ 8 w 452"/>
                  <a:gd name="T105" fmla="*/ 610 h 832"/>
                  <a:gd name="T106" fmla="*/ 5 w 452"/>
                  <a:gd name="T107" fmla="*/ 591 h 832"/>
                  <a:gd name="T108" fmla="*/ 18 w 452"/>
                  <a:gd name="T109" fmla="*/ 587 h 832"/>
                  <a:gd name="T110" fmla="*/ 43 w 452"/>
                  <a:gd name="T111" fmla="*/ 568 h 832"/>
                  <a:gd name="T112" fmla="*/ 63 w 452"/>
                  <a:gd name="T113" fmla="*/ 538 h 832"/>
                  <a:gd name="T114" fmla="*/ 76 w 452"/>
                  <a:gd name="T115" fmla="*/ 506 h 832"/>
                  <a:gd name="T116" fmla="*/ 86 w 452"/>
                  <a:gd name="T117" fmla="*/ 462 h 832"/>
                  <a:gd name="T118" fmla="*/ 83 w 452"/>
                  <a:gd name="T119" fmla="*/ 438 h 832"/>
                  <a:gd name="T120" fmla="*/ 70 w 452"/>
                  <a:gd name="T121" fmla="*/ 408 h 832"/>
                  <a:gd name="T122" fmla="*/ 56 w 452"/>
                  <a:gd name="T123" fmla="*/ 382 h 832"/>
                  <a:gd name="T124" fmla="*/ 53 w 452"/>
                  <a:gd name="T125" fmla="*/ 363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2" name="Freeform 254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6456785" y="4047347"/>
                <a:ext cx="48564" cy="66690"/>
              </a:xfrm>
              <a:custGeom>
                <a:avLst/>
                <a:gdLst>
                  <a:gd name="T0" fmla="*/ 80 w 80"/>
                  <a:gd name="T1" fmla="*/ 2 h 126"/>
                  <a:gd name="T2" fmla="*/ 80 w 80"/>
                  <a:gd name="T3" fmla="*/ 101 h 126"/>
                  <a:gd name="T4" fmla="*/ 78 w 80"/>
                  <a:gd name="T5" fmla="*/ 104 h 126"/>
                  <a:gd name="T6" fmla="*/ 75 w 80"/>
                  <a:gd name="T7" fmla="*/ 107 h 126"/>
                  <a:gd name="T8" fmla="*/ 70 w 80"/>
                  <a:gd name="T9" fmla="*/ 109 h 126"/>
                  <a:gd name="T10" fmla="*/ 67 w 80"/>
                  <a:gd name="T11" fmla="*/ 111 h 126"/>
                  <a:gd name="T12" fmla="*/ 58 w 80"/>
                  <a:gd name="T13" fmla="*/ 114 h 126"/>
                  <a:gd name="T14" fmla="*/ 48 w 80"/>
                  <a:gd name="T15" fmla="*/ 116 h 126"/>
                  <a:gd name="T16" fmla="*/ 36 w 80"/>
                  <a:gd name="T17" fmla="*/ 117 h 126"/>
                  <a:gd name="T18" fmla="*/ 25 w 80"/>
                  <a:gd name="T19" fmla="*/ 119 h 126"/>
                  <a:gd name="T20" fmla="*/ 13 w 80"/>
                  <a:gd name="T21" fmla="*/ 123 h 126"/>
                  <a:gd name="T22" fmla="*/ 0 w 80"/>
                  <a:gd name="T23" fmla="*/ 126 h 126"/>
                  <a:gd name="T24" fmla="*/ 7 w 80"/>
                  <a:gd name="T25" fmla="*/ 40 h 126"/>
                  <a:gd name="T26" fmla="*/ 23 w 80"/>
                  <a:gd name="T27" fmla="*/ 27 h 126"/>
                  <a:gd name="T28" fmla="*/ 41 w 80"/>
                  <a:gd name="T29" fmla="*/ 12 h 126"/>
                  <a:gd name="T30" fmla="*/ 51 w 80"/>
                  <a:gd name="T31" fmla="*/ 5 h 126"/>
                  <a:gd name="T32" fmla="*/ 60 w 80"/>
                  <a:gd name="T33" fmla="*/ 1 h 126"/>
                  <a:gd name="T34" fmla="*/ 65 w 80"/>
                  <a:gd name="T35" fmla="*/ 0 h 126"/>
                  <a:gd name="T36" fmla="*/ 70 w 80"/>
                  <a:gd name="T37" fmla="*/ 0 h 126"/>
                  <a:gd name="T38" fmla="*/ 75 w 80"/>
                  <a:gd name="T39" fmla="*/ 1 h 126"/>
                  <a:gd name="T40" fmla="*/ 80 w 80"/>
                  <a:gd name="T41" fmla="*/ 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3" name="Freeform 255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6442006" y="4007650"/>
                <a:ext cx="73899" cy="60339"/>
              </a:xfrm>
              <a:custGeom>
                <a:avLst/>
                <a:gdLst>
                  <a:gd name="T0" fmla="*/ 113 w 124"/>
                  <a:gd name="T1" fmla="*/ 0 h 117"/>
                  <a:gd name="T2" fmla="*/ 116 w 124"/>
                  <a:gd name="T3" fmla="*/ 15 h 117"/>
                  <a:gd name="T4" fmla="*/ 122 w 124"/>
                  <a:gd name="T5" fmla="*/ 35 h 117"/>
                  <a:gd name="T6" fmla="*/ 124 w 124"/>
                  <a:gd name="T7" fmla="*/ 45 h 117"/>
                  <a:gd name="T8" fmla="*/ 124 w 124"/>
                  <a:gd name="T9" fmla="*/ 54 h 117"/>
                  <a:gd name="T10" fmla="*/ 124 w 124"/>
                  <a:gd name="T11" fmla="*/ 59 h 117"/>
                  <a:gd name="T12" fmla="*/ 123 w 124"/>
                  <a:gd name="T13" fmla="*/ 64 h 117"/>
                  <a:gd name="T14" fmla="*/ 122 w 124"/>
                  <a:gd name="T15" fmla="*/ 69 h 117"/>
                  <a:gd name="T16" fmla="*/ 119 w 124"/>
                  <a:gd name="T17" fmla="*/ 73 h 117"/>
                  <a:gd name="T18" fmla="*/ 114 w 124"/>
                  <a:gd name="T19" fmla="*/ 72 h 117"/>
                  <a:gd name="T20" fmla="*/ 108 w 124"/>
                  <a:gd name="T21" fmla="*/ 71 h 117"/>
                  <a:gd name="T22" fmla="*/ 103 w 124"/>
                  <a:gd name="T23" fmla="*/ 72 h 117"/>
                  <a:gd name="T24" fmla="*/ 96 w 124"/>
                  <a:gd name="T25" fmla="*/ 73 h 117"/>
                  <a:gd name="T26" fmla="*/ 83 w 124"/>
                  <a:gd name="T27" fmla="*/ 78 h 117"/>
                  <a:gd name="T28" fmla="*/ 71 w 124"/>
                  <a:gd name="T29" fmla="*/ 85 h 117"/>
                  <a:gd name="T30" fmla="*/ 46 w 124"/>
                  <a:gd name="T31" fmla="*/ 103 h 117"/>
                  <a:gd name="T32" fmla="*/ 26 w 124"/>
                  <a:gd name="T33" fmla="*/ 117 h 117"/>
                  <a:gd name="T34" fmla="*/ 23 w 124"/>
                  <a:gd name="T35" fmla="*/ 112 h 117"/>
                  <a:gd name="T36" fmla="*/ 13 w 124"/>
                  <a:gd name="T37" fmla="*/ 101 h 117"/>
                  <a:gd name="T38" fmla="*/ 4 w 124"/>
                  <a:gd name="T39" fmla="*/ 89 h 117"/>
                  <a:gd name="T40" fmla="*/ 0 w 124"/>
                  <a:gd name="T41" fmla="*/ 79 h 117"/>
                  <a:gd name="T42" fmla="*/ 1 w 124"/>
                  <a:gd name="T43" fmla="*/ 76 h 117"/>
                  <a:gd name="T44" fmla="*/ 2 w 124"/>
                  <a:gd name="T45" fmla="*/ 72 h 117"/>
                  <a:gd name="T46" fmla="*/ 5 w 124"/>
                  <a:gd name="T47" fmla="*/ 67 h 117"/>
                  <a:gd name="T48" fmla="*/ 9 w 124"/>
                  <a:gd name="T49" fmla="*/ 62 h 117"/>
                  <a:gd name="T50" fmla="*/ 17 w 124"/>
                  <a:gd name="T51" fmla="*/ 52 h 117"/>
                  <a:gd name="T52" fmla="*/ 27 w 124"/>
                  <a:gd name="T53" fmla="*/ 42 h 117"/>
                  <a:gd name="T54" fmla="*/ 48 w 124"/>
                  <a:gd name="T55" fmla="*/ 22 h 117"/>
                  <a:gd name="T56" fmla="*/ 60 w 124"/>
                  <a:gd name="T57" fmla="*/ 12 h 117"/>
                  <a:gd name="T58" fmla="*/ 73 w 124"/>
                  <a:gd name="T59" fmla="*/ 12 h 117"/>
                  <a:gd name="T60" fmla="*/ 86 w 124"/>
                  <a:gd name="T61" fmla="*/ 12 h 117"/>
                  <a:gd name="T62" fmla="*/ 100 w 124"/>
                  <a:gd name="T63" fmla="*/ 6 h 117"/>
                  <a:gd name="T64" fmla="*/ 113 w 124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4" name="Freeform 256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6853734" y="2707188"/>
                <a:ext cx="669324" cy="473185"/>
              </a:xfrm>
              <a:custGeom>
                <a:avLst/>
                <a:gdLst>
                  <a:gd name="T0" fmla="*/ 928 w 1156"/>
                  <a:gd name="T1" fmla="*/ 191 h 900"/>
                  <a:gd name="T2" fmla="*/ 859 w 1156"/>
                  <a:gd name="T3" fmla="*/ 162 h 900"/>
                  <a:gd name="T4" fmla="*/ 773 w 1156"/>
                  <a:gd name="T5" fmla="*/ 111 h 900"/>
                  <a:gd name="T6" fmla="*/ 617 w 1156"/>
                  <a:gd name="T7" fmla="*/ 104 h 900"/>
                  <a:gd name="T8" fmla="*/ 551 w 1156"/>
                  <a:gd name="T9" fmla="*/ 154 h 900"/>
                  <a:gd name="T10" fmla="*/ 504 w 1156"/>
                  <a:gd name="T11" fmla="*/ 179 h 900"/>
                  <a:gd name="T12" fmla="*/ 426 w 1156"/>
                  <a:gd name="T13" fmla="*/ 197 h 900"/>
                  <a:gd name="T14" fmla="*/ 383 w 1156"/>
                  <a:gd name="T15" fmla="*/ 199 h 900"/>
                  <a:gd name="T16" fmla="*/ 355 w 1156"/>
                  <a:gd name="T17" fmla="*/ 173 h 900"/>
                  <a:gd name="T18" fmla="*/ 260 w 1156"/>
                  <a:gd name="T19" fmla="*/ 136 h 900"/>
                  <a:gd name="T20" fmla="*/ 228 w 1156"/>
                  <a:gd name="T21" fmla="*/ 86 h 900"/>
                  <a:gd name="T22" fmla="*/ 220 w 1156"/>
                  <a:gd name="T23" fmla="*/ 23 h 900"/>
                  <a:gd name="T24" fmla="*/ 188 w 1156"/>
                  <a:gd name="T25" fmla="*/ 1 h 900"/>
                  <a:gd name="T26" fmla="*/ 155 w 1156"/>
                  <a:gd name="T27" fmla="*/ 21 h 900"/>
                  <a:gd name="T28" fmla="*/ 136 w 1156"/>
                  <a:gd name="T29" fmla="*/ 67 h 900"/>
                  <a:gd name="T30" fmla="*/ 79 w 1156"/>
                  <a:gd name="T31" fmla="*/ 54 h 900"/>
                  <a:gd name="T32" fmla="*/ 4 w 1156"/>
                  <a:gd name="T33" fmla="*/ 16 h 900"/>
                  <a:gd name="T34" fmla="*/ 5 w 1156"/>
                  <a:gd name="T35" fmla="*/ 72 h 900"/>
                  <a:gd name="T36" fmla="*/ 45 w 1156"/>
                  <a:gd name="T37" fmla="*/ 146 h 900"/>
                  <a:gd name="T38" fmla="*/ 73 w 1156"/>
                  <a:gd name="T39" fmla="*/ 205 h 900"/>
                  <a:gd name="T40" fmla="*/ 135 w 1156"/>
                  <a:gd name="T41" fmla="*/ 284 h 900"/>
                  <a:gd name="T42" fmla="*/ 122 w 1156"/>
                  <a:gd name="T43" fmla="*/ 316 h 900"/>
                  <a:gd name="T44" fmla="*/ 133 w 1156"/>
                  <a:gd name="T45" fmla="*/ 370 h 900"/>
                  <a:gd name="T46" fmla="*/ 188 w 1156"/>
                  <a:gd name="T47" fmla="*/ 428 h 900"/>
                  <a:gd name="T48" fmla="*/ 259 w 1156"/>
                  <a:gd name="T49" fmla="*/ 456 h 900"/>
                  <a:gd name="T50" fmla="*/ 259 w 1156"/>
                  <a:gd name="T51" fmla="*/ 524 h 900"/>
                  <a:gd name="T52" fmla="*/ 335 w 1156"/>
                  <a:gd name="T53" fmla="*/ 581 h 900"/>
                  <a:gd name="T54" fmla="*/ 423 w 1156"/>
                  <a:gd name="T55" fmla="*/ 664 h 900"/>
                  <a:gd name="T56" fmla="*/ 471 w 1156"/>
                  <a:gd name="T57" fmla="*/ 720 h 900"/>
                  <a:gd name="T58" fmla="*/ 504 w 1156"/>
                  <a:gd name="T59" fmla="*/ 733 h 900"/>
                  <a:gd name="T60" fmla="*/ 542 w 1156"/>
                  <a:gd name="T61" fmla="*/ 755 h 900"/>
                  <a:gd name="T62" fmla="*/ 598 w 1156"/>
                  <a:gd name="T63" fmla="*/ 787 h 900"/>
                  <a:gd name="T64" fmla="*/ 685 w 1156"/>
                  <a:gd name="T65" fmla="*/ 795 h 900"/>
                  <a:gd name="T66" fmla="*/ 732 w 1156"/>
                  <a:gd name="T67" fmla="*/ 780 h 900"/>
                  <a:gd name="T68" fmla="*/ 779 w 1156"/>
                  <a:gd name="T69" fmla="*/ 764 h 900"/>
                  <a:gd name="T70" fmla="*/ 801 w 1156"/>
                  <a:gd name="T71" fmla="*/ 796 h 900"/>
                  <a:gd name="T72" fmla="*/ 813 w 1156"/>
                  <a:gd name="T73" fmla="*/ 857 h 900"/>
                  <a:gd name="T74" fmla="*/ 874 w 1156"/>
                  <a:gd name="T75" fmla="*/ 874 h 900"/>
                  <a:gd name="T76" fmla="*/ 1011 w 1156"/>
                  <a:gd name="T77" fmla="*/ 892 h 900"/>
                  <a:gd name="T78" fmla="*/ 1091 w 1156"/>
                  <a:gd name="T79" fmla="*/ 879 h 900"/>
                  <a:gd name="T80" fmla="*/ 1099 w 1156"/>
                  <a:gd name="T81" fmla="*/ 831 h 900"/>
                  <a:gd name="T82" fmla="*/ 1156 w 1156"/>
                  <a:gd name="T83" fmla="*/ 770 h 900"/>
                  <a:gd name="T84" fmla="*/ 1132 w 1156"/>
                  <a:gd name="T85" fmla="*/ 750 h 900"/>
                  <a:gd name="T86" fmla="*/ 1096 w 1156"/>
                  <a:gd name="T87" fmla="*/ 708 h 900"/>
                  <a:gd name="T88" fmla="*/ 1031 w 1156"/>
                  <a:gd name="T89" fmla="*/ 643 h 900"/>
                  <a:gd name="T90" fmla="*/ 1018 w 1156"/>
                  <a:gd name="T91" fmla="*/ 603 h 900"/>
                  <a:gd name="T92" fmla="*/ 1044 w 1156"/>
                  <a:gd name="T93" fmla="*/ 559 h 900"/>
                  <a:gd name="T94" fmla="*/ 1048 w 1156"/>
                  <a:gd name="T95" fmla="*/ 526 h 900"/>
                  <a:gd name="T96" fmla="*/ 1030 w 1156"/>
                  <a:gd name="T97" fmla="*/ 512 h 900"/>
                  <a:gd name="T98" fmla="*/ 983 w 1156"/>
                  <a:gd name="T99" fmla="*/ 507 h 900"/>
                  <a:gd name="T100" fmla="*/ 954 w 1156"/>
                  <a:gd name="T101" fmla="*/ 453 h 900"/>
                  <a:gd name="T102" fmla="*/ 937 w 1156"/>
                  <a:gd name="T103" fmla="*/ 373 h 900"/>
                  <a:gd name="T104" fmla="*/ 924 w 1156"/>
                  <a:gd name="T105" fmla="*/ 357 h 900"/>
                  <a:gd name="T106" fmla="*/ 940 w 1156"/>
                  <a:gd name="T107" fmla="*/ 334 h 900"/>
                  <a:gd name="T108" fmla="*/ 960 w 1156"/>
                  <a:gd name="T109" fmla="*/ 293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5" name="Freeform 257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6885406" y="3364564"/>
                <a:ext cx="329383" cy="228653"/>
              </a:xfrm>
              <a:custGeom>
                <a:avLst/>
                <a:gdLst>
                  <a:gd name="T0" fmla="*/ 26 w 571"/>
                  <a:gd name="T1" fmla="*/ 190 h 443"/>
                  <a:gd name="T2" fmla="*/ 37 w 571"/>
                  <a:gd name="T3" fmla="*/ 177 h 443"/>
                  <a:gd name="T4" fmla="*/ 41 w 571"/>
                  <a:gd name="T5" fmla="*/ 164 h 443"/>
                  <a:gd name="T6" fmla="*/ 39 w 571"/>
                  <a:gd name="T7" fmla="*/ 129 h 443"/>
                  <a:gd name="T8" fmla="*/ 44 w 571"/>
                  <a:gd name="T9" fmla="*/ 120 h 443"/>
                  <a:gd name="T10" fmla="*/ 55 w 571"/>
                  <a:gd name="T11" fmla="*/ 112 h 443"/>
                  <a:gd name="T12" fmla="*/ 68 w 571"/>
                  <a:gd name="T13" fmla="*/ 107 h 443"/>
                  <a:gd name="T14" fmla="*/ 80 w 571"/>
                  <a:gd name="T15" fmla="*/ 104 h 443"/>
                  <a:gd name="T16" fmla="*/ 103 w 571"/>
                  <a:gd name="T17" fmla="*/ 106 h 443"/>
                  <a:gd name="T18" fmla="*/ 124 w 571"/>
                  <a:gd name="T19" fmla="*/ 109 h 443"/>
                  <a:gd name="T20" fmla="*/ 158 w 571"/>
                  <a:gd name="T21" fmla="*/ 120 h 443"/>
                  <a:gd name="T22" fmla="*/ 184 w 571"/>
                  <a:gd name="T23" fmla="*/ 135 h 443"/>
                  <a:gd name="T24" fmla="*/ 206 w 571"/>
                  <a:gd name="T25" fmla="*/ 154 h 443"/>
                  <a:gd name="T26" fmla="*/ 254 w 571"/>
                  <a:gd name="T27" fmla="*/ 92 h 443"/>
                  <a:gd name="T28" fmla="*/ 285 w 571"/>
                  <a:gd name="T29" fmla="*/ 49 h 443"/>
                  <a:gd name="T30" fmla="*/ 538 w 571"/>
                  <a:gd name="T31" fmla="*/ 43 h 443"/>
                  <a:gd name="T32" fmla="*/ 557 w 571"/>
                  <a:gd name="T33" fmla="*/ 78 h 443"/>
                  <a:gd name="T34" fmla="*/ 562 w 571"/>
                  <a:gd name="T35" fmla="*/ 98 h 443"/>
                  <a:gd name="T36" fmla="*/ 564 w 571"/>
                  <a:gd name="T37" fmla="*/ 123 h 443"/>
                  <a:gd name="T38" fmla="*/ 568 w 571"/>
                  <a:gd name="T39" fmla="*/ 151 h 443"/>
                  <a:gd name="T40" fmla="*/ 571 w 571"/>
                  <a:gd name="T41" fmla="*/ 178 h 443"/>
                  <a:gd name="T42" fmla="*/ 564 w 571"/>
                  <a:gd name="T43" fmla="*/ 180 h 443"/>
                  <a:gd name="T44" fmla="*/ 562 w 571"/>
                  <a:gd name="T45" fmla="*/ 179 h 443"/>
                  <a:gd name="T46" fmla="*/ 558 w 571"/>
                  <a:gd name="T47" fmla="*/ 184 h 443"/>
                  <a:gd name="T48" fmla="*/ 548 w 571"/>
                  <a:gd name="T49" fmla="*/ 207 h 443"/>
                  <a:gd name="T50" fmla="*/ 534 w 571"/>
                  <a:gd name="T51" fmla="*/ 225 h 443"/>
                  <a:gd name="T52" fmla="*/ 515 w 571"/>
                  <a:gd name="T53" fmla="*/ 239 h 443"/>
                  <a:gd name="T54" fmla="*/ 494 w 571"/>
                  <a:gd name="T55" fmla="*/ 249 h 443"/>
                  <a:gd name="T56" fmla="*/ 405 w 571"/>
                  <a:gd name="T57" fmla="*/ 283 h 443"/>
                  <a:gd name="T58" fmla="*/ 347 w 571"/>
                  <a:gd name="T59" fmla="*/ 307 h 443"/>
                  <a:gd name="T60" fmla="*/ 295 w 571"/>
                  <a:gd name="T61" fmla="*/ 328 h 443"/>
                  <a:gd name="T62" fmla="*/ 245 w 571"/>
                  <a:gd name="T63" fmla="*/ 345 h 443"/>
                  <a:gd name="T64" fmla="*/ 186 w 571"/>
                  <a:gd name="T65" fmla="*/ 363 h 443"/>
                  <a:gd name="T66" fmla="*/ 167 w 571"/>
                  <a:gd name="T67" fmla="*/ 371 h 443"/>
                  <a:gd name="T68" fmla="*/ 149 w 571"/>
                  <a:gd name="T69" fmla="*/ 381 h 443"/>
                  <a:gd name="T70" fmla="*/ 119 w 571"/>
                  <a:gd name="T71" fmla="*/ 403 h 443"/>
                  <a:gd name="T72" fmla="*/ 92 w 571"/>
                  <a:gd name="T73" fmla="*/ 426 h 443"/>
                  <a:gd name="T74" fmla="*/ 67 w 571"/>
                  <a:gd name="T75" fmla="*/ 443 h 443"/>
                  <a:gd name="T76" fmla="*/ 50 w 571"/>
                  <a:gd name="T77" fmla="*/ 378 h 443"/>
                  <a:gd name="T78" fmla="*/ 33 w 571"/>
                  <a:gd name="T79" fmla="*/ 313 h 443"/>
                  <a:gd name="T80" fmla="*/ 16 w 571"/>
                  <a:gd name="T81" fmla="*/ 251 h 443"/>
                  <a:gd name="T82" fmla="*/ 0 w 571"/>
                  <a:gd name="T83" fmla="*/ 19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6" name="Freeform 258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7145111" y="3139087"/>
                <a:ext cx="160469" cy="120678"/>
              </a:xfrm>
              <a:custGeom>
                <a:avLst/>
                <a:gdLst>
                  <a:gd name="T0" fmla="*/ 0 w 286"/>
                  <a:gd name="T1" fmla="*/ 111 h 228"/>
                  <a:gd name="T2" fmla="*/ 4 w 286"/>
                  <a:gd name="T3" fmla="*/ 109 h 228"/>
                  <a:gd name="T4" fmla="*/ 7 w 286"/>
                  <a:gd name="T5" fmla="*/ 109 h 228"/>
                  <a:gd name="T6" fmla="*/ 10 w 286"/>
                  <a:gd name="T7" fmla="*/ 110 h 228"/>
                  <a:gd name="T8" fmla="*/ 11 w 286"/>
                  <a:gd name="T9" fmla="*/ 111 h 228"/>
                  <a:gd name="T10" fmla="*/ 12 w 286"/>
                  <a:gd name="T11" fmla="*/ 117 h 228"/>
                  <a:gd name="T12" fmla="*/ 13 w 286"/>
                  <a:gd name="T13" fmla="*/ 123 h 228"/>
                  <a:gd name="T14" fmla="*/ 14 w 286"/>
                  <a:gd name="T15" fmla="*/ 128 h 228"/>
                  <a:gd name="T16" fmla="*/ 16 w 286"/>
                  <a:gd name="T17" fmla="*/ 131 h 228"/>
                  <a:gd name="T18" fmla="*/ 19 w 286"/>
                  <a:gd name="T19" fmla="*/ 134 h 228"/>
                  <a:gd name="T20" fmla="*/ 24 w 286"/>
                  <a:gd name="T21" fmla="*/ 136 h 228"/>
                  <a:gd name="T22" fmla="*/ 29 w 286"/>
                  <a:gd name="T23" fmla="*/ 137 h 228"/>
                  <a:gd name="T24" fmla="*/ 37 w 286"/>
                  <a:gd name="T25" fmla="*/ 138 h 228"/>
                  <a:gd name="T26" fmla="*/ 48 w 286"/>
                  <a:gd name="T27" fmla="*/ 138 h 228"/>
                  <a:gd name="T28" fmla="*/ 60 w 286"/>
                  <a:gd name="T29" fmla="*/ 136 h 228"/>
                  <a:gd name="T30" fmla="*/ 98 w 286"/>
                  <a:gd name="T31" fmla="*/ 130 h 228"/>
                  <a:gd name="T32" fmla="*/ 129 w 286"/>
                  <a:gd name="T33" fmla="*/ 122 h 228"/>
                  <a:gd name="T34" fmla="*/ 143 w 286"/>
                  <a:gd name="T35" fmla="*/ 118 h 228"/>
                  <a:gd name="T36" fmla="*/ 156 w 286"/>
                  <a:gd name="T37" fmla="*/ 114 h 228"/>
                  <a:gd name="T38" fmla="*/ 167 w 286"/>
                  <a:gd name="T39" fmla="*/ 109 h 228"/>
                  <a:gd name="T40" fmla="*/ 178 w 286"/>
                  <a:gd name="T41" fmla="*/ 103 h 228"/>
                  <a:gd name="T42" fmla="*/ 188 w 286"/>
                  <a:gd name="T43" fmla="*/ 96 h 228"/>
                  <a:gd name="T44" fmla="*/ 198 w 286"/>
                  <a:gd name="T45" fmla="*/ 87 h 228"/>
                  <a:gd name="T46" fmla="*/ 208 w 286"/>
                  <a:gd name="T47" fmla="*/ 78 h 228"/>
                  <a:gd name="T48" fmla="*/ 219 w 286"/>
                  <a:gd name="T49" fmla="*/ 65 h 228"/>
                  <a:gd name="T50" fmla="*/ 229 w 286"/>
                  <a:gd name="T51" fmla="*/ 52 h 228"/>
                  <a:gd name="T52" fmla="*/ 241 w 286"/>
                  <a:gd name="T53" fmla="*/ 37 h 228"/>
                  <a:gd name="T54" fmla="*/ 253 w 286"/>
                  <a:gd name="T55" fmla="*/ 20 h 228"/>
                  <a:gd name="T56" fmla="*/ 266 w 286"/>
                  <a:gd name="T57" fmla="*/ 0 h 228"/>
                  <a:gd name="T58" fmla="*/ 270 w 286"/>
                  <a:gd name="T59" fmla="*/ 7 h 228"/>
                  <a:gd name="T60" fmla="*/ 274 w 286"/>
                  <a:gd name="T61" fmla="*/ 13 h 228"/>
                  <a:gd name="T62" fmla="*/ 276 w 286"/>
                  <a:gd name="T63" fmla="*/ 20 h 228"/>
                  <a:gd name="T64" fmla="*/ 279 w 286"/>
                  <a:gd name="T65" fmla="*/ 27 h 228"/>
                  <a:gd name="T66" fmla="*/ 282 w 286"/>
                  <a:gd name="T67" fmla="*/ 42 h 228"/>
                  <a:gd name="T68" fmla="*/ 286 w 286"/>
                  <a:gd name="T69" fmla="*/ 62 h 228"/>
                  <a:gd name="T70" fmla="*/ 246 w 286"/>
                  <a:gd name="T71" fmla="*/ 198 h 228"/>
                  <a:gd name="T72" fmla="*/ 226 w 286"/>
                  <a:gd name="T73" fmla="*/ 228 h 228"/>
                  <a:gd name="T74" fmla="*/ 53 w 286"/>
                  <a:gd name="T75" fmla="*/ 210 h 228"/>
                  <a:gd name="T76" fmla="*/ 0 w 286"/>
                  <a:gd name="T77" fmla="*/ 11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7" name="Freeform 259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6729160" y="2791344"/>
                <a:ext cx="295600" cy="263585"/>
              </a:xfrm>
              <a:custGeom>
                <a:avLst/>
                <a:gdLst>
                  <a:gd name="T0" fmla="*/ 478 w 524"/>
                  <a:gd name="T1" fmla="*/ 370 h 505"/>
                  <a:gd name="T2" fmla="*/ 484 w 524"/>
                  <a:gd name="T3" fmla="*/ 346 h 505"/>
                  <a:gd name="T4" fmla="*/ 483 w 524"/>
                  <a:gd name="T5" fmla="*/ 329 h 505"/>
                  <a:gd name="T6" fmla="*/ 478 w 524"/>
                  <a:gd name="T7" fmla="*/ 302 h 505"/>
                  <a:gd name="T8" fmla="*/ 455 w 524"/>
                  <a:gd name="T9" fmla="*/ 299 h 505"/>
                  <a:gd name="T10" fmla="*/ 431 w 524"/>
                  <a:gd name="T11" fmla="*/ 288 h 505"/>
                  <a:gd name="T12" fmla="*/ 407 w 524"/>
                  <a:gd name="T13" fmla="*/ 274 h 505"/>
                  <a:gd name="T14" fmla="*/ 386 w 524"/>
                  <a:gd name="T15" fmla="*/ 256 h 505"/>
                  <a:gd name="T16" fmla="*/ 366 w 524"/>
                  <a:gd name="T17" fmla="*/ 237 h 505"/>
                  <a:gd name="T18" fmla="*/ 352 w 524"/>
                  <a:gd name="T19" fmla="*/ 216 h 505"/>
                  <a:gd name="T20" fmla="*/ 342 w 524"/>
                  <a:gd name="T21" fmla="*/ 196 h 505"/>
                  <a:gd name="T22" fmla="*/ 339 w 524"/>
                  <a:gd name="T23" fmla="*/ 178 h 505"/>
                  <a:gd name="T24" fmla="*/ 341 w 524"/>
                  <a:gd name="T25" fmla="*/ 162 h 505"/>
                  <a:gd name="T26" fmla="*/ 349 w 524"/>
                  <a:gd name="T27" fmla="*/ 150 h 505"/>
                  <a:gd name="T28" fmla="*/ 365 w 524"/>
                  <a:gd name="T29" fmla="*/ 136 h 505"/>
                  <a:gd name="T30" fmla="*/ 354 w 524"/>
                  <a:gd name="T31" fmla="*/ 130 h 505"/>
                  <a:gd name="T32" fmla="*/ 341 w 524"/>
                  <a:gd name="T33" fmla="*/ 119 h 505"/>
                  <a:gd name="T34" fmla="*/ 315 w 524"/>
                  <a:gd name="T35" fmla="*/ 87 h 505"/>
                  <a:gd name="T36" fmla="*/ 292 w 524"/>
                  <a:gd name="T37" fmla="*/ 51 h 505"/>
                  <a:gd name="T38" fmla="*/ 279 w 524"/>
                  <a:gd name="T39" fmla="*/ 25 h 505"/>
                  <a:gd name="T40" fmla="*/ 260 w 524"/>
                  <a:gd name="T41" fmla="*/ 24 h 505"/>
                  <a:gd name="T42" fmla="*/ 239 w 524"/>
                  <a:gd name="T43" fmla="*/ 19 h 505"/>
                  <a:gd name="T44" fmla="*/ 219 w 524"/>
                  <a:gd name="T45" fmla="*/ 11 h 505"/>
                  <a:gd name="T46" fmla="*/ 197 w 524"/>
                  <a:gd name="T47" fmla="*/ 6 h 505"/>
                  <a:gd name="T48" fmla="*/ 170 w 524"/>
                  <a:gd name="T49" fmla="*/ 3 h 505"/>
                  <a:gd name="T50" fmla="*/ 149 w 524"/>
                  <a:gd name="T51" fmla="*/ 8 h 505"/>
                  <a:gd name="T52" fmla="*/ 114 w 524"/>
                  <a:gd name="T53" fmla="*/ 41 h 505"/>
                  <a:gd name="T54" fmla="*/ 98 w 524"/>
                  <a:gd name="T55" fmla="*/ 57 h 505"/>
                  <a:gd name="T56" fmla="*/ 93 w 524"/>
                  <a:gd name="T57" fmla="*/ 64 h 505"/>
                  <a:gd name="T58" fmla="*/ 94 w 524"/>
                  <a:gd name="T59" fmla="*/ 94 h 505"/>
                  <a:gd name="T60" fmla="*/ 95 w 524"/>
                  <a:gd name="T61" fmla="*/ 140 h 505"/>
                  <a:gd name="T62" fmla="*/ 94 w 524"/>
                  <a:gd name="T63" fmla="*/ 164 h 505"/>
                  <a:gd name="T64" fmla="*/ 86 w 524"/>
                  <a:gd name="T65" fmla="*/ 180 h 505"/>
                  <a:gd name="T66" fmla="*/ 67 w 524"/>
                  <a:gd name="T67" fmla="*/ 197 h 505"/>
                  <a:gd name="T68" fmla="*/ 40 w 524"/>
                  <a:gd name="T69" fmla="*/ 214 h 505"/>
                  <a:gd name="T70" fmla="*/ 13 w 524"/>
                  <a:gd name="T71" fmla="*/ 228 h 505"/>
                  <a:gd name="T72" fmla="*/ 2 w 524"/>
                  <a:gd name="T73" fmla="*/ 246 h 505"/>
                  <a:gd name="T74" fmla="*/ 2 w 524"/>
                  <a:gd name="T75" fmla="*/ 264 h 505"/>
                  <a:gd name="T76" fmla="*/ 0 w 524"/>
                  <a:gd name="T77" fmla="*/ 278 h 505"/>
                  <a:gd name="T78" fmla="*/ 0 w 524"/>
                  <a:gd name="T79" fmla="*/ 289 h 505"/>
                  <a:gd name="T80" fmla="*/ 7 w 524"/>
                  <a:gd name="T81" fmla="*/ 301 h 505"/>
                  <a:gd name="T82" fmla="*/ 26 w 524"/>
                  <a:gd name="T83" fmla="*/ 314 h 505"/>
                  <a:gd name="T84" fmla="*/ 62 w 524"/>
                  <a:gd name="T85" fmla="*/ 331 h 505"/>
                  <a:gd name="T86" fmla="*/ 120 w 524"/>
                  <a:gd name="T87" fmla="*/ 355 h 505"/>
                  <a:gd name="T88" fmla="*/ 180 w 524"/>
                  <a:gd name="T89" fmla="*/ 374 h 505"/>
                  <a:gd name="T90" fmla="*/ 214 w 524"/>
                  <a:gd name="T91" fmla="*/ 385 h 505"/>
                  <a:gd name="T92" fmla="*/ 237 w 524"/>
                  <a:gd name="T93" fmla="*/ 400 h 505"/>
                  <a:gd name="T94" fmla="*/ 252 w 524"/>
                  <a:gd name="T95" fmla="*/ 418 h 505"/>
                  <a:gd name="T96" fmla="*/ 262 w 524"/>
                  <a:gd name="T97" fmla="*/ 435 h 505"/>
                  <a:gd name="T98" fmla="*/ 266 w 524"/>
                  <a:gd name="T99" fmla="*/ 451 h 505"/>
                  <a:gd name="T100" fmla="*/ 270 w 524"/>
                  <a:gd name="T101" fmla="*/ 469 h 505"/>
                  <a:gd name="T102" fmla="*/ 277 w 524"/>
                  <a:gd name="T103" fmla="*/ 481 h 505"/>
                  <a:gd name="T104" fmla="*/ 287 w 524"/>
                  <a:gd name="T105" fmla="*/ 489 h 505"/>
                  <a:gd name="T106" fmla="*/ 307 w 524"/>
                  <a:gd name="T107" fmla="*/ 497 h 505"/>
                  <a:gd name="T108" fmla="*/ 328 w 524"/>
                  <a:gd name="T109" fmla="*/ 503 h 505"/>
                  <a:gd name="T110" fmla="*/ 335 w 524"/>
                  <a:gd name="T111" fmla="*/ 500 h 505"/>
                  <a:gd name="T112" fmla="*/ 346 w 524"/>
                  <a:gd name="T113" fmla="*/ 499 h 505"/>
                  <a:gd name="T114" fmla="*/ 366 w 524"/>
                  <a:gd name="T115" fmla="*/ 503 h 505"/>
                  <a:gd name="T116" fmla="*/ 383 w 524"/>
                  <a:gd name="T117" fmla="*/ 505 h 505"/>
                  <a:gd name="T118" fmla="*/ 437 w 524"/>
                  <a:gd name="T119" fmla="*/ 505 h 505"/>
                  <a:gd name="T120" fmla="*/ 465 w 524"/>
                  <a:gd name="T121" fmla="*/ 449 h 505"/>
                  <a:gd name="T122" fmla="*/ 492 w 524"/>
                  <a:gd name="T123" fmla="*/ 437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8" name="Freeform 260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7394261" y="2751647"/>
                <a:ext cx="441290" cy="290579"/>
              </a:xfrm>
              <a:custGeom>
                <a:avLst/>
                <a:gdLst>
                  <a:gd name="T0" fmla="*/ 62 w 764"/>
                  <a:gd name="T1" fmla="*/ 196 h 555"/>
                  <a:gd name="T2" fmla="*/ 93 w 764"/>
                  <a:gd name="T3" fmla="*/ 190 h 555"/>
                  <a:gd name="T4" fmla="*/ 128 w 764"/>
                  <a:gd name="T5" fmla="*/ 182 h 555"/>
                  <a:gd name="T6" fmla="*/ 175 w 764"/>
                  <a:gd name="T7" fmla="*/ 151 h 555"/>
                  <a:gd name="T8" fmla="*/ 194 w 764"/>
                  <a:gd name="T9" fmla="*/ 126 h 555"/>
                  <a:gd name="T10" fmla="*/ 199 w 764"/>
                  <a:gd name="T11" fmla="*/ 88 h 555"/>
                  <a:gd name="T12" fmla="*/ 208 w 764"/>
                  <a:gd name="T13" fmla="*/ 69 h 555"/>
                  <a:gd name="T14" fmla="*/ 240 w 764"/>
                  <a:gd name="T15" fmla="*/ 60 h 555"/>
                  <a:gd name="T16" fmla="*/ 294 w 764"/>
                  <a:gd name="T17" fmla="*/ 62 h 555"/>
                  <a:gd name="T18" fmla="*/ 329 w 764"/>
                  <a:gd name="T19" fmla="*/ 71 h 555"/>
                  <a:gd name="T20" fmla="*/ 362 w 764"/>
                  <a:gd name="T21" fmla="*/ 90 h 555"/>
                  <a:gd name="T22" fmla="*/ 386 w 764"/>
                  <a:gd name="T23" fmla="*/ 93 h 555"/>
                  <a:gd name="T24" fmla="*/ 419 w 764"/>
                  <a:gd name="T25" fmla="*/ 84 h 555"/>
                  <a:gd name="T26" fmla="*/ 460 w 764"/>
                  <a:gd name="T27" fmla="*/ 61 h 555"/>
                  <a:gd name="T28" fmla="*/ 479 w 764"/>
                  <a:gd name="T29" fmla="*/ 33 h 555"/>
                  <a:gd name="T30" fmla="*/ 508 w 764"/>
                  <a:gd name="T31" fmla="*/ 4 h 555"/>
                  <a:gd name="T32" fmla="*/ 530 w 764"/>
                  <a:gd name="T33" fmla="*/ 19 h 555"/>
                  <a:gd name="T34" fmla="*/ 550 w 764"/>
                  <a:gd name="T35" fmla="*/ 45 h 555"/>
                  <a:gd name="T36" fmla="*/ 561 w 764"/>
                  <a:gd name="T37" fmla="*/ 87 h 555"/>
                  <a:gd name="T38" fmla="*/ 570 w 764"/>
                  <a:gd name="T39" fmla="*/ 101 h 555"/>
                  <a:gd name="T40" fmla="*/ 589 w 764"/>
                  <a:gd name="T41" fmla="*/ 104 h 555"/>
                  <a:gd name="T42" fmla="*/ 622 w 764"/>
                  <a:gd name="T43" fmla="*/ 73 h 555"/>
                  <a:gd name="T44" fmla="*/ 743 w 764"/>
                  <a:gd name="T45" fmla="*/ 66 h 555"/>
                  <a:gd name="T46" fmla="*/ 759 w 764"/>
                  <a:gd name="T47" fmla="*/ 87 h 555"/>
                  <a:gd name="T48" fmla="*/ 679 w 764"/>
                  <a:gd name="T49" fmla="*/ 100 h 555"/>
                  <a:gd name="T50" fmla="*/ 605 w 764"/>
                  <a:gd name="T51" fmla="*/ 112 h 555"/>
                  <a:gd name="T52" fmla="*/ 574 w 764"/>
                  <a:gd name="T53" fmla="*/ 130 h 555"/>
                  <a:gd name="T54" fmla="*/ 571 w 764"/>
                  <a:gd name="T55" fmla="*/ 147 h 555"/>
                  <a:gd name="T56" fmla="*/ 582 w 764"/>
                  <a:gd name="T57" fmla="*/ 164 h 555"/>
                  <a:gd name="T58" fmla="*/ 601 w 764"/>
                  <a:gd name="T59" fmla="*/ 180 h 555"/>
                  <a:gd name="T60" fmla="*/ 604 w 764"/>
                  <a:gd name="T61" fmla="*/ 195 h 555"/>
                  <a:gd name="T62" fmla="*/ 594 w 764"/>
                  <a:gd name="T63" fmla="*/ 213 h 555"/>
                  <a:gd name="T64" fmla="*/ 574 w 764"/>
                  <a:gd name="T65" fmla="*/ 237 h 555"/>
                  <a:gd name="T66" fmla="*/ 565 w 764"/>
                  <a:gd name="T67" fmla="*/ 255 h 555"/>
                  <a:gd name="T68" fmla="*/ 542 w 764"/>
                  <a:gd name="T69" fmla="*/ 269 h 555"/>
                  <a:gd name="T70" fmla="*/ 519 w 764"/>
                  <a:gd name="T71" fmla="*/ 310 h 555"/>
                  <a:gd name="T72" fmla="*/ 508 w 764"/>
                  <a:gd name="T73" fmla="*/ 363 h 555"/>
                  <a:gd name="T74" fmla="*/ 497 w 764"/>
                  <a:gd name="T75" fmla="*/ 425 h 555"/>
                  <a:gd name="T76" fmla="*/ 477 w 764"/>
                  <a:gd name="T77" fmla="*/ 412 h 555"/>
                  <a:gd name="T78" fmla="*/ 460 w 764"/>
                  <a:gd name="T79" fmla="*/ 407 h 555"/>
                  <a:gd name="T80" fmla="*/ 439 w 764"/>
                  <a:gd name="T81" fmla="*/ 418 h 555"/>
                  <a:gd name="T82" fmla="*/ 411 w 764"/>
                  <a:gd name="T83" fmla="*/ 440 h 555"/>
                  <a:gd name="T84" fmla="*/ 393 w 764"/>
                  <a:gd name="T85" fmla="*/ 444 h 555"/>
                  <a:gd name="T86" fmla="*/ 375 w 764"/>
                  <a:gd name="T87" fmla="*/ 463 h 555"/>
                  <a:gd name="T88" fmla="*/ 365 w 764"/>
                  <a:gd name="T89" fmla="*/ 511 h 555"/>
                  <a:gd name="T90" fmla="*/ 350 w 764"/>
                  <a:gd name="T91" fmla="*/ 525 h 555"/>
                  <a:gd name="T92" fmla="*/ 270 w 764"/>
                  <a:gd name="T93" fmla="*/ 546 h 555"/>
                  <a:gd name="T94" fmla="*/ 194 w 764"/>
                  <a:gd name="T95" fmla="*/ 554 h 555"/>
                  <a:gd name="T96" fmla="*/ 113 w 764"/>
                  <a:gd name="T97" fmla="*/ 542 h 555"/>
                  <a:gd name="T98" fmla="*/ 95 w 764"/>
                  <a:gd name="T99" fmla="*/ 518 h 555"/>
                  <a:gd name="T100" fmla="*/ 115 w 764"/>
                  <a:gd name="T101" fmla="*/ 488 h 555"/>
                  <a:gd name="T102" fmla="*/ 125 w 764"/>
                  <a:gd name="T103" fmla="*/ 462 h 555"/>
                  <a:gd name="T104" fmla="*/ 123 w 764"/>
                  <a:gd name="T105" fmla="*/ 442 h 555"/>
                  <a:gd name="T106" fmla="*/ 111 w 764"/>
                  <a:gd name="T107" fmla="*/ 433 h 555"/>
                  <a:gd name="T108" fmla="*/ 69 w 764"/>
                  <a:gd name="T109" fmla="*/ 431 h 555"/>
                  <a:gd name="T110" fmla="*/ 52 w 764"/>
                  <a:gd name="T111" fmla="*/ 421 h 555"/>
                  <a:gd name="T112" fmla="*/ 34 w 764"/>
                  <a:gd name="T113" fmla="*/ 384 h 555"/>
                  <a:gd name="T114" fmla="*/ 19 w 764"/>
                  <a:gd name="T115" fmla="*/ 309 h 555"/>
                  <a:gd name="T116" fmla="*/ 10 w 764"/>
                  <a:gd name="T117" fmla="*/ 291 h 555"/>
                  <a:gd name="T118" fmla="*/ 0 w 764"/>
                  <a:gd name="T119" fmla="*/ 280 h 555"/>
                  <a:gd name="T120" fmla="*/ 2 w 764"/>
                  <a:gd name="T121" fmla="*/ 268 h 555"/>
                  <a:gd name="T122" fmla="*/ 22 w 764"/>
                  <a:gd name="T123" fmla="*/ 248 h 555"/>
                  <a:gd name="T124" fmla="*/ 34 w 764"/>
                  <a:gd name="T125" fmla="*/ 221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9" name="Freeform 261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7436490" y="2800871"/>
                <a:ext cx="485629" cy="423961"/>
              </a:xfrm>
              <a:custGeom>
                <a:avLst/>
                <a:gdLst>
                  <a:gd name="T0" fmla="*/ 779 w 831"/>
                  <a:gd name="T1" fmla="*/ 82 h 812"/>
                  <a:gd name="T2" fmla="*/ 707 w 831"/>
                  <a:gd name="T3" fmla="*/ 29 h 812"/>
                  <a:gd name="T4" fmla="*/ 562 w 831"/>
                  <a:gd name="T5" fmla="*/ 10 h 812"/>
                  <a:gd name="T6" fmla="*/ 499 w 831"/>
                  <a:gd name="T7" fmla="*/ 29 h 812"/>
                  <a:gd name="T8" fmla="*/ 486 w 831"/>
                  <a:gd name="T9" fmla="*/ 49 h 812"/>
                  <a:gd name="T10" fmla="*/ 497 w 831"/>
                  <a:gd name="T11" fmla="*/ 71 h 812"/>
                  <a:gd name="T12" fmla="*/ 517 w 831"/>
                  <a:gd name="T13" fmla="*/ 90 h 812"/>
                  <a:gd name="T14" fmla="*/ 516 w 831"/>
                  <a:gd name="T15" fmla="*/ 111 h 812"/>
                  <a:gd name="T16" fmla="*/ 491 w 831"/>
                  <a:gd name="T17" fmla="*/ 140 h 812"/>
                  <a:gd name="T18" fmla="*/ 480 w 831"/>
                  <a:gd name="T19" fmla="*/ 162 h 812"/>
                  <a:gd name="T20" fmla="*/ 450 w 831"/>
                  <a:gd name="T21" fmla="*/ 184 h 812"/>
                  <a:gd name="T22" fmla="*/ 427 w 831"/>
                  <a:gd name="T23" fmla="*/ 243 h 812"/>
                  <a:gd name="T24" fmla="*/ 420 w 831"/>
                  <a:gd name="T25" fmla="*/ 332 h 812"/>
                  <a:gd name="T26" fmla="*/ 392 w 831"/>
                  <a:gd name="T27" fmla="*/ 319 h 812"/>
                  <a:gd name="T28" fmla="*/ 370 w 831"/>
                  <a:gd name="T29" fmla="*/ 315 h 812"/>
                  <a:gd name="T30" fmla="*/ 338 w 831"/>
                  <a:gd name="T31" fmla="*/ 339 h 812"/>
                  <a:gd name="T32" fmla="*/ 313 w 831"/>
                  <a:gd name="T33" fmla="*/ 351 h 812"/>
                  <a:gd name="T34" fmla="*/ 290 w 831"/>
                  <a:gd name="T35" fmla="*/ 370 h 812"/>
                  <a:gd name="T36" fmla="*/ 280 w 831"/>
                  <a:gd name="T37" fmla="*/ 424 h 812"/>
                  <a:gd name="T38" fmla="*/ 235 w 831"/>
                  <a:gd name="T39" fmla="*/ 442 h 812"/>
                  <a:gd name="T40" fmla="*/ 127 w 831"/>
                  <a:gd name="T41" fmla="*/ 462 h 812"/>
                  <a:gd name="T42" fmla="*/ 26 w 831"/>
                  <a:gd name="T43" fmla="*/ 449 h 812"/>
                  <a:gd name="T44" fmla="*/ 51 w 831"/>
                  <a:gd name="T45" fmla="*/ 505 h 812"/>
                  <a:gd name="T46" fmla="*/ 96 w 831"/>
                  <a:gd name="T47" fmla="*/ 540 h 812"/>
                  <a:gd name="T48" fmla="*/ 123 w 831"/>
                  <a:gd name="T49" fmla="*/ 577 h 812"/>
                  <a:gd name="T50" fmla="*/ 142 w 831"/>
                  <a:gd name="T51" fmla="*/ 596 h 812"/>
                  <a:gd name="T52" fmla="*/ 99 w 831"/>
                  <a:gd name="T53" fmla="*/ 647 h 812"/>
                  <a:gd name="T54" fmla="*/ 87 w 831"/>
                  <a:gd name="T55" fmla="*/ 671 h 812"/>
                  <a:gd name="T56" fmla="*/ 109 w 831"/>
                  <a:gd name="T57" fmla="*/ 720 h 812"/>
                  <a:gd name="T58" fmla="*/ 222 w 831"/>
                  <a:gd name="T59" fmla="*/ 710 h 812"/>
                  <a:gd name="T60" fmla="*/ 302 w 831"/>
                  <a:gd name="T61" fmla="*/ 705 h 812"/>
                  <a:gd name="T62" fmla="*/ 330 w 831"/>
                  <a:gd name="T63" fmla="*/ 721 h 812"/>
                  <a:gd name="T64" fmla="*/ 359 w 831"/>
                  <a:gd name="T65" fmla="*/ 756 h 812"/>
                  <a:gd name="T66" fmla="*/ 408 w 831"/>
                  <a:gd name="T67" fmla="*/ 785 h 812"/>
                  <a:gd name="T68" fmla="*/ 449 w 831"/>
                  <a:gd name="T69" fmla="*/ 803 h 812"/>
                  <a:gd name="T70" fmla="*/ 460 w 831"/>
                  <a:gd name="T71" fmla="*/ 791 h 812"/>
                  <a:gd name="T72" fmla="*/ 487 w 831"/>
                  <a:gd name="T73" fmla="*/ 774 h 812"/>
                  <a:gd name="T74" fmla="*/ 554 w 831"/>
                  <a:gd name="T75" fmla="*/ 764 h 812"/>
                  <a:gd name="T76" fmla="*/ 597 w 831"/>
                  <a:gd name="T77" fmla="*/ 750 h 812"/>
                  <a:gd name="T78" fmla="*/ 618 w 831"/>
                  <a:gd name="T79" fmla="*/ 727 h 812"/>
                  <a:gd name="T80" fmla="*/ 584 w 831"/>
                  <a:gd name="T81" fmla="*/ 700 h 812"/>
                  <a:gd name="T82" fmla="*/ 542 w 831"/>
                  <a:gd name="T83" fmla="*/ 641 h 812"/>
                  <a:gd name="T84" fmla="*/ 526 w 831"/>
                  <a:gd name="T85" fmla="*/ 624 h 812"/>
                  <a:gd name="T86" fmla="*/ 526 w 831"/>
                  <a:gd name="T87" fmla="*/ 578 h 812"/>
                  <a:gd name="T88" fmla="*/ 582 w 831"/>
                  <a:gd name="T89" fmla="*/ 563 h 812"/>
                  <a:gd name="T90" fmla="*/ 622 w 831"/>
                  <a:gd name="T91" fmla="*/ 531 h 812"/>
                  <a:gd name="T92" fmla="*/ 688 w 831"/>
                  <a:gd name="T93" fmla="*/ 417 h 812"/>
                  <a:gd name="T94" fmla="*/ 730 w 831"/>
                  <a:gd name="T95" fmla="*/ 368 h 812"/>
                  <a:gd name="T96" fmla="*/ 725 w 831"/>
                  <a:gd name="T97" fmla="*/ 330 h 812"/>
                  <a:gd name="T98" fmla="*/ 729 w 831"/>
                  <a:gd name="T99" fmla="*/ 305 h 812"/>
                  <a:gd name="T100" fmla="*/ 751 w 831"/>
                  <a:gd name="T101" fmla="*/ 289 h 812"/>
                  <a:gd name="T102" fmla="*/ 670 w 831"/>
                  <a:gd name="T103" fmla="*/ 207 h 812"/>
                  <a:gd name="T104" fmla="*/ 758 w 831"/>
                  <a:gd name="T105" fmla="*/ 140 h 812"/>
                  <a:gd name="T106" fmla="*/ 805 w 831"/>
                  <a:gd name="T107" fmla="*/ 123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0" name="Freeform 262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8487981" y="3069221"/>
                <a:ext cx="293489" cy="585923"/>
              </a:xfrm>
              <a:custGeom>
                <a:avLst/>
                <a:gdLst>
                  <a:gd name="T0" fmla="*/ 438 w 505"/>
                  <a:gd name="T1" fmla="*/ 1067 h 1121"/>
                  <a:gd name="T2" fmla="*/ 443 w 505"/>
                  <a:gd name="T3" fmla="*/ 1028 h 1121"/>
                  <a:gd name="T4" fmla="*/ 399 w 505"/>
                  <a:gd name="T5" fmla="*/ 1022 h 1121"/>
                  <a:gd name="T6" fmla="*/ 405 w 505"/>
                  <a:gd name="T7" fmla="*/ 957 h 1121"/>
                  <a:gd name="T8" fmla="*/ 419 w 505"/>
                  <a:gd name="T9" fmla="*/ 931 h 1121"/>
                  <a:gd name="T10" fmla="*/ 413 w 505"/>
                  <a:gd name="T11" fmla="*/ 899 h 1121"/>
                  <a:gd name="T12" fmla="*/ 398 w 505"/>
                  <a:gd name="T13" fmla="*/ 893 h 1121"/>
                  <a:gd name="T14" fmla="*/ 382 w 505"/>
                  <a:gd name="T15" fmla="*/ 838 h 1121"/>
                  <a:gd name="T16" fmla="*/ 324 w 505"/>
                  <a:gd name="T17" fmla="*/ 719 h 1121"/>
                  <a:gd name="T18" fmla="*/ 296 w 505"/>
                  <a:gd name="T19" fmla="*/ 703 h 1121"/>
                  <a:gd name="T20" fmla="*/ 282 w 505"/>
                  <a:gd name="T21" fmla="*/ 718 h 1121"/>
                  <a:gd name="T22" fmla="*/ 226 w 505"/>
                  <a:gd name="T23" fmla="*/ 742 h 1121"/>
                  <a:gd name="T24" fmla="*/ 169 w 505"/>
                  <a:gd name="T25" fmla="*/ 736 h 1121"/>
                  <a:gd name="T26" fmla="*/ 133 w 505"/>
                  <a:gd name="T27" fmla="*/ 567 h 1121"/>
                  <a:gd name="T28" fmla="*/ 101 w 505"/>
                  <a:gd name="T29" fmla="*/ 520 h 1121"/>
                  <a:gd name="T30" fmla="*/ 51 w 505"/>
                  <a:gd name="T31" fmla="*/ 502 h 1121"/>
                  <a:gd name="T32" fmla="*/ 8 w 505"/>
                  <a:gd name="T33" fmla="*/ 471 h 1121"/>
                  <a:gd name="T34" fmla="*/ 23 w 505"/>
                  <a:gd name="T35" fmla="*/ 445 h 1121"/>
                  <a:gd name="T36" fmla="*/ 58 w 505"/>
                  <a:gd name="T37" fmla="*/ 361 h 1121"/>
                  <a:gd name="T38" fmla="*/ 67 w 505"/>
                  <a:gd name="T39" fmla="*/ 277 h 1121"/>
                  <a:gd name="T40" fmla="*/ 80 w 505"/>
                  <a:gd name="T41" fmla="*/ 265 h 1121"/>
                  <a:gd name="T42" fmla="*/ 113 w 505"/>
                  <a:gd name="T43" fmla="*/ 258 h 1121"/>
                  <a:gd name="T44" fmla="*/ 134 w 505"/>
                  <a:gd name="T45" fmla="*/ 222 h 1121"/>
                  <a:gd name="T46" fmla="*/ 140 w 505"/>
                  <a:gd name="T47" fmla="*/ 117 h 1121"/>
                  <a:gd name="T48" fmla="*/ 159 w 505"/>
                  <a:gd name="T49" fmla="*/ 98 h 1121"/>
                  <a:gd name="T50" fmla="*/ 213 w 505"/>
                  <a:gd name="T51" fmla="*/ 74 h 1121"/>
                  <a:gd name="T52" fmla="*/ 234 w 505"/>
                  <a:gd name="T53" fmla="*/ 21 h 1121"/>
                  <a:gd name="T54" fmla="*/ 277 w 505"/>
                  <a:gd name="T55" fmla="*/ 31 h 1121"/>
                  <a:gd name="T56" fmla="*/ 312 w 505"/>
                  <a:gd name="T57" fmla="*/ 49 h 1121"/>
                  <a:gd name="T58" fmla="*/ 337 w 505"/>
                  <a:gd name="T59" fmla="*/ 122 h 1121"/>
                  <a:gd name="T60" fmla="*/ 335 w 505"/>
                  <a:gd name="T61" fmla="*/ 167 h 1121"/>
                  <a:gd name="T62" fmla="*/ 300 w 505"/>
                  <a:gd name="T63" fmla="*/ 216 h 1121"/>
                  <a:gd name="T64" fmla="*/ 293 w 505"/>
                  <a:gd name="T65" fmla="*/ 245 h 1121"/>
                  <a:gd name="T66" fmla="*/ 309 w 505"/>
                  <a:gd name="T67" fmla="*/ 261 h 1121"/>
                  <a:gd name="T68" fmla="*/ 346 w 505"/>
                  <a:gd name="T69" fmla="*/ 270 h 1121"/>
                  <a:gd name="T70" fmla="*/ 371 w 505"/>
                  <a:gd name="T71" fmla="*/ 291 h 1121"/>
                  <a:gd name="T72" fmla="*/ 398 w 505"/>
                  <a:gd name="T73" fmla="*/ 345 h 1121"/>
                  <a:gd name="T74" fmla="*/ 430 w 505"/>
                  <a:gd name="T75" fmla="*/ 400 h 1121"/>
                  <a:gd name="T76" fmla="*/ 464 w 505"/>
                  <a:gd name="T77" fmla="*/ 418 h 1121"/>
                  <a:gd name="T78" fmla="*/ 505 w 505"/>
                  <a:gd name="T79" fmla="*/ 418 h 1121"/>
                  <a:gd name="T80" fmla="*/ 476 w 505"/>
                  <a:gd name="T81" fmla="*/ 494 h 1121"/>
                  <a:gd name="T82" fmla="*/ 427 w 505"/>
                  <a:gd name="T83" fmla="*/ 510 h 1121"/>
                  <a:gd name="T84" fmla="*/ 383 w 505"/>
                  <a:gd name="T85" fmla="*/ 528 h 1121"/>
                  <a:gd name="T86" fmla="*/ 360 w 505"/>
                  <a:gd name="T87" fmla="*/ 572 h 1121"/>
                  <a:gd name="T88" fmla="*/ 370 w 505"/>
                  <a:gd name="T89" fmla="*/ 637 h 1121"/>
                  <a:gd name="T90" fmla="*/ 402 w 505"/>
                  <a:gd name="T91" fmla="*/ 683 h 1121"/>
                  <a:gd name="T92" fmla="*/ 430 w 505"/>
                  <a:gd name="T93" fmla="*/ 735 h 1121"/>
                  <a:gd name="T94" fmla="*/ 428 w 505"/>
                  <a:gd name="T95" fmla="*/ 776 h 1121"/>
                  <a:gd name="T96" fmla="*/ 419 w 505"/>
                  <a:gd name="T97" fmla="*/ 801 h 1121"/>
                  <a:gd name="T98" fmla="*/ 435 w 505"/>
                  <a:gd name="T99" fmla="*/ 851 h 1121"/>
                  <a:gd name="T100" fmla="*/ 483 w 505"/>
                  <a:gd name="T101" fmla="*/ 965 h 1121"/>
                  <a:gd name="T102" fmla="*/ 458 w 505"/>
                  <a:gd name="T103" fmla="*/ 1082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1" name="Freeform 263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4928110" y="3578925"/>
                <a:ext cx="107684" cy="58752"/>
              </a:xfrm>
              <a:custGeom>
                <a:avLst/>
                <a:gdLst>
                  <a:gd name="T0" fmla="*/ 180 w 180"/>
                  <a:gd name="T1" fmla="*/ 7 h 112"/>
                  <a:gd name="T2" fmla="*/ 171 w 180"/>
                  <a:gd name="T3" fmla="*/ 24 h 112"/>
                  <a:gd name="T4" fmla="*/ 163 w 180"/>
                  <a:gd name="T5" fmla="*/ 39 h 112"/>
                  <a:gd name="T6" fmla="*/ 152 w 180"/>
                  <a:gd name="T7" fmla="*/ 53 h 112"/>
                  <a:gd name="T8" fmla="*/ 141 w 180"/>
                  <a:gd name="T9" fmla="*/ 66 h 112"/>
                  <a:gd name="T10" fmla="*/ 129 w 180"/>
                  <a:gd name="T11" fmla="*/ 80 h 112"/>
                  <a:gd name="T12" fmla="*/ 115 w 180"/>
                  <a:gd name="T13" fmla="*/ 92 h 112"/>
                  <a:gd name="T14" fmla="*/ 101 w 180"/>
                  <a:gd name="T15" fmla="*/ 102 h 112"/>
                  <a:gd name="T16" fmla="*/ 87 w 180"/>
                  <a:gd name="T17" fmla="*/ 112 h 112"/>
                  <a:gd name="T18" fmla="*/ 82 w 180"/>
                  <a:gd name="T19" fmla="*/ 107 h 112"/>
                  <a:gd name="T20" fmla="*/ 79 w 180"/>
                  <a:gd name="T21" fmla="*/ 101 h 112"/>
                  <a:gd name="T22" fmla="*/ 76 w 180"/>
                  <a:gd name="T23" fmla="*/ 95 h 112"/>
                  <a:gd name="T24" fmla="*/ 74 w 180"/>
                  <a:gd name="T25" fmla="*/ 88 h 112"/>
                  <a:gd name="T26" fmla="*/ 70 w 180"/>
                  <a:gd name="T27" fmla="*/ 81 h 112"/>
                  <a:gd name="T28" fmla="*/ 68 w 180"/>
                  <a:gd name="T29" fmla="*/ 74 h 112"/>
                  <a:gd name="T30" fmla="*/ 65 w 180"/>
                  <a:gd name="T31" fmla="*/ 69 h 112"/>
                  <a:gd name="T32" fmla="*/ 60 w 180"/>
                  <a:gd name="T33" fmla="*/ 63 h 112"/>
                  <a:gd name="T34" fmla="*/ 45 w 180"/>
                  <a:gd name="T35" fmla="*/ 48 h 112"/>
                  <a:gd name="T36" fmla="*/ 36 w 180"/>
                  <a:gd name="T37" fmla="*/ 38 h 112"/>
                  <a:gd name="T38" fmla="*/ 30 w 180"/>
                  <a:gd name="T39" fmla="*/ 33 h 112"/>
                  <a:gd name="T40" fmla="*/ 25 w 180"/>
                  <a:gd name="T41" fmla="*/ 31 h 112"/>
                  <a:gd name="T42" fmla="*/ 18 w 180"/>
                  <a:gd name="T43" fmla="*/ 30 h 112"/>
                  <a:gd name="T44" fmla="*/ 0 w 180"/>
                  <a:gd name="T45" fmla="*/ 26 h 112"/>
                  <a:gd name="T46" fmla="*/ 26 w 180"/>
                  <a:gd name="T47" fmla="*/ 14 h 112"/>
                  <a:gd name="T48" fmla="*/ 41 w 180"/>
                  <a:gd name="T49" fmla="*/ 9 h 112"/>
                  <a:gd name="T50" fmla="*/ 56 w 180"/>
                  <a:gd name="T51" fmla="*/ 5 h 112"/>
                  <a:gd name="T52" fmla="*/ 74 w 180"/>
                  <a:gd name="T53" fmla="*/ 3 h 112"/>
                  <a:gd name="T54" fmla="*/ 93 w 180"/>
                  <a:gd name="T55" fmla="*/ 1 h 112"/>
                  <a:gd name="T56" fmla="*/ 114 w 180"/>
                  <a:gd name="T57" fmla="*/ 0 h 112"/>
                  <a:gd name="T58" fmla="*/ 135 w 180"/>
                  <a:gd name="T59" fmla="*/ 1 h 112"/>
                  <a:gd name="T60" fmla="*/ 157 w 180"/>
                  <a:gd name="T61" fmla="*/ 3 h 112"/>
                  <a:gd name="T62" fmla="*/ 180 w 180"/>
                  <a:gd name="T63" fmla="*/ 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2" name="Freeform 264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040016" y="3661495"/>
                <a:ext cx="99237" cy="100035"/>
              </a:xfrm>
              <a:custGeom>
                <a:avLst/>
                <a:gdLst>
                  <a:gd name="T0" fmla="*/ 0 w 173"/>
                  <a:gd name="T1" fmla="*/ 68 h 192"/>
                  <a:gd name="T2" fmla="*/ 27 w 173"/>
                  <a:gd name="T3" fmla="*/ 42 h 192"/>
                  <a:gd name="T4" fmla="*/ 51 w 173"/>
                  <a:gd name="T5" fmla="*/ 21 h 192"/>
                  <a:gd name="T6" fmla="*/ 56 w 173"/>
                  <a:gd name="T7" fmla="*/ 16 h 192"/>
                  <a:gd name="T8" fmla="*/ 63 w 173"/>
                  <a:gd name="T9" fmla="*/ 12 h 192"/>
                  <a:gd name="T10" fmla="*/ 70 w 173"/>
                  <a:gd name="T11" fmla="*/ 8 h 192"/>
                  <a:gd name="T12" fmla="*/ 76 w 173"/>
                  <a:gd name="T13" fmla="*/ 6 h 192"/>
                  <a:gd name="T14" fmla="*/ 83 w 173"/>
                  <a:gd name="T15" fmla="*/ 3 h 192"/>
                  <a:gd name="T16" fmla="*/ 90 w 173"/>
                  <a:gd name="T17" fmla="*/ 2 h 192"/>
                  <a:gd name="T18" fmla="*/ 98 w 173"/>
                  <a:gd name="T19" fmla="*/ 1 h 192"/>
                  <a:gd name="T20" fmla="*/ 107 w 173"/>
                  <a:gd name="T21" fmla="*/ 0 h 192"/>
                  <a:gd name="T22" fmla="*/ 116 w 173"/>
                  <a:gd name="T23" fmla="*/ 1 h 192"/>
                  <a:gd name="T24" fmla="*/ 124 w 173"/>
                  <a:gd name="T25" fmla="*/ 2 h 192"/>
                  <a:gd name="T26" fmla="*/ 132 w 173"/>
                  <a:gd name="T27" fmla="*/ 5 h 192"/>
                  <a:gd name="T28" fmla="*/ 139 w 173"/>
                  <a:gd name="T29" fmla="*/ 8 h 192"/>
                  <a:gd name="T30" fmla="*/ 145 w 173"/>
                  <a:gd name="T31" fmla="*/ 13 h 192"/>
                  <a:gd name="T32" fmla="*/ 151 w 173"/>
                  <a:gd name="T33" fmla="*/ 19 h 192"/>
                  <a:gd name="T34" fmla="*/ 155 w 173"/>
                  <a:gd name="T35" fmla="*/ 24 h 192"/>
                  <a:gd name="T36" fmla="*/ 160 w 173"/>
                  <a:gd name="T37" fmla="*/ 30 h 192"/>
                  <a:gd name="T38" fmla="*/ 163 w 173"/>
                  <a:gd name="T39" fmla="*/ 37 h 192"/>
                  <a:gd name="T40" fmla="*/ 166 w 173"/>
                  <a:gd name="T41" fmla="*/ 43 h 192"/>
                  <a:gd name="T42" fmla="*/ 168 w 173"/>
                  <a:gd name="T43" fmla="*/ 50 h 192"/>
                  <a:gd name="T44" fmla="*/ 169 w 173"/>
                  <a:gd name="T45" fmla="*/ 57 h 192"/>
                  <a:gd name="T46" fmla="*/ 172 w 173"/>
                  <a:gd name="T47" fmla="*/ 72 h 192"/>
                  <a:gd name="T48" fmla="*/ 173 w 173"/>
                  <a:gd name="T49" fmla="*/ 87 h 192"/>
                  <a:gd name="T50" fmla="*/ 157 w 173"/>
                  <a:gd name="T51" fmla="*/ 114 h 192"/>
                  <a:gd name="T52" fmla="*/ 146 w 173"/>
                  <a:gd name="T53" fmla="*/ 137 h 192"/>
                  <a:gd name="T54" fmla="*/ 139 w 173"/>
                  <a:gd name="T55" fmla="*/ 148 h 192"/>
                  <a:gd name="T56" fmla="*/ 130 w 173"/>
                  <a:gd name="T57" fmla="*/ 160 h 192"/>
                  <a:gd name="T58" fmla="*/ 117 w 173"/>
                  <a:gd name="T59" fmla="*/ 174 h 192"/>
                  <a:gd name="T60" fmla="*/ 99 w 173"/>
                  <a:gd name="T61" fmla="*/ 192 h 192"/>
                  <a:gd name="T62" fmla="*/ 86 w 173"/>
                  <a:gd name="T63" fmla="*/ 183 h 192"/>
                  <a:gd name="T64" fmla="*/ 74 w 173"/>
                  <a:gd name="T65" fmla="*/ 176 h 192"/>
                  <a:gd name="T66" fmla="*/ 63 w 173"/>
                  <a:gd name="T67" fmla="*/ 169 h 192"/>
                  <a:gd name="T68" fmla="*/ 54 w 173"/>
                  <a:gd name="T69" fmla="*/ 163 h 192"/>
                  <a:gd name="T70" fmla="*/ 46 w 173"/>
                  <a:gd name="T71" fmla="*/ 156 h 192"/>
                  <a:gd name="T72" fmla="*/ 40 w 173"/>
                  <a:gd name="T73" fmla="*/ 150 h 192"/>
                  <a:gd name="T74" fmla="*/ 34 w 173"/>
                  <a:gd name="T75" fmla="*/ 144 h 192"/>
                  <a:gd name="T76" fmla="*/ 30 w 173"/>
                  <a:gd name="T77" fmla="*/ 137 h 192"/>
                  <a:gd name="T78" fmla="*/ 22 w 173"/>
                  <a:gd name="T79" fmla="*/ 123 h 192"/>
                  <a:gd name="T80" fmla="*/ 16 w 173"/>
                  <a:gd name="T81" fmla="*/ 107 h 192"/>
                  <a:gd name="T82" fmla="*/ 9 w 173"/>
                  <a:gd name="T83" fmla="*/ 90 h 192"/>
                  <a:gd name="T84" fmla="*/ 0 w 173"/>
                  <a:gd name="T85" fmla="*/ 6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3" name="Freeform 265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097024" y="3712306"/>
                <a:ext cx="139354" cy="131794"/>
              </a:xfrm>
              <a:custGeom>
                <a:avLst/>
                <a:gdLst>
                  <a:gd name="T0" fmla="*/ 74 w 233"/>
                  <a:gd name="T1" fmla="*/ 0 h 252"/>
                  <a:gd name="T2" fmla="*/ 83 w 233"/>
                  <a:gd name="T3" fmla="*/ 2 h 252"/>
                  <a:gd name="T4" fmla="*/ 89 w 233"/>
                  <a:gd name="T5" fmla="*/ 3 h 252"/>
                  <a:gd name="T6" fmla="*/ 95 w 233"/>
                  <a:gd name="T7" fmla="*/ 3 h 252"/>
                  <a:gd name="T8" fmla="*/ 99 w 233"/>
                  <a:gd name="T9" fmla="*/ 2 h 252"/>
                  <a:gd name="T10" fmla="*/ 106 w 233"/>
                  <a:gd name="T11" fmla="*/ 1 h 252"/>
                  <a:gd name="T12" fmla="*/ 113 w 233"/>
                  <a:gd name="T13" fmla="*/ 0 h 252"/>
                  <a:gd name="T14" fmla="*/ 125 w 233"/>
                  <a:gd name="T15" fmla="*/ 17 h 252"/>
                  <a:gd name="T16" fmla="*/ 140 w 233"/>
                  <a:gd name="T17" fmla="*/ 37 h 252"/>
                  <a:gd name="T18" fmla="*/ 144 w 233"/>
                  <a:gd name="T19" fmla="*/ 42 h 252"/>
                  <a:gd name="T20" fmla="*/ 148 w 233"/>
                  <a:gd name="T21" fmla="*/ 46 h 252"/>
                  <a:gd name="T22" fmla="*/ 153 w 233"/>
                  <a:gd name="T23" fmla="*/ 49 h 252"/>
                  <a:gd name="T24" fmla="*/ 157 w 233"/>
                  <a:gd name="T25" fmla="*/ 52 h 252"/>
                  <a:gd name="T26" fmla="*/ 163 w 233"/>
                  <a:gd name="T27" fmla="*/ 54 h 252"/>
                  <a:gd name="T28" fmla="*/ 168 w 233"/>
                  <a:gd name="T29" fmla="*/ 56 h 252"/>
                  <a:gd name="T30" fmla="*/ 174 w 233"/>
                  <a:gd name="T31" fmla="*/ 56 h 252"/>
                  <a:gd name="T32" fmla="*/ 180 w 233"/>
                  <a:gd name="T33" fmla="*/ 56 h 252"/>
                  <a:gd name="T34" fmla="*/ 180 w 233"/>
                  <a:gd name="T35" fmla="*/ 80 h 252"/>
                  <a:gd name="T36" fmla="*/ 193 w 233"/>
                  <a:gd name="T37" fmla="*/ 103 h 252"/>
                  <a:gd name="T38" fmla="*/ 212 w 233"/>
                  <a:gd name="T39" fmla="*/ 128 h 252"/>
                  <a:gd name="T40" fmla="*/ 215 w 233"/>
                  <a:gd name="T41" fmla="*/ 135 h 252"/>
                  <a:gd name="T42" fmla="*/ 220 w 233"/>
                  <a:gd name="T43" fmla="*/ 142 h 252"/>
                  <a:gd name="T44" fmla="*/ 223 w 233"/>
                  <a:gd name="T45" fmla="*/ 151 h 252"/>
                  <a:gd name="T46" fmla="*/ 226 w 233"/>
                  <a:gd name="T47" fmla="*/ 160 h 252"/>
                  <a:gd name="T48" fmla="*/ 230 w 233"/>
                  <a:gd name="T49" fmla="*/ 170 h 252"/>
                  <a:gd name="T50" fmla="*/ 232 w 233"/>
                  <a:gd name="T51" fmla="*/ 180 h 252"/>
                  <a:gd name="T52" fmla="*/ 233 w 233"/>
                  <a:gd name="T53" fmla="*/ 191 h 252"/>
                  <a:gd name="T54" fmla="*/ 233 w 233"/>
                  <a:gd name="T55" fmla="*/ 204 h 252"/>
                  <a:gd name="T56" fmla="*/ 232 w 233"/>
                  <a:gd name="T57" fmla="*/ 216 h 252"/>
                  <a:gd name="T58" fmla="*/ 230 w 233"/>
                  <a:gd name="T59" fmla="*/ 228 h 252"/>
                  <a:gd name="T60" fmla="*/ 227 w 233"/>
                  <a:gd name="T61" fmla="*/ 240 h 252"/>
                  <a:gd name="T62" fmla="*/ 226 w 233"/>
                  <a:gd name="T63" fmla="*/ 252 h 252"/>
                  <a:gd name="T64" fmla="*/ 222 w 233"/>
                  <a:gd name="T65" fmla="*/ 252 h 252"/>
                  <a:gd name="T66" fmla="*/ 215 w 233"/>
                  <a:gd name="T67" fmla="*/ 250 h 252"/>
                  <a:gd name="T68" fmla="*/ 208 w 233"/>
                  <a:gd name="T69" fmla="*/ 246 h 252"/>
                  <a:gd name="T70" fmla="*/ 198 w 233"/>
                  <a:gd name="T71" fmla="*/ 241 h 252"/>
                  <a:gd name="T72" fmla="*/ 176 w 233"/>
                  <a:gd name="T73" fmla="*/ 226 h 252"/>
                  <a:gd name="T74" fmla="*/ 151 w 233"/>
                  <a:gd name="T75" fmla="*/ 208 h 252"/>
                  <a:gd name="T76" fmla="*/ 125 w 233"/>
                  <a:gd name="T77" fmla="*/ 186 h 252"/>
                  <a:gd name="T78" fmla="*/ 100 w 233"/>
                  <a:gd name="T79" fmla="*/ 165 h 252"/>
                  <a:gd name="T80" fmla="*/ 78 w 233"/>
                  <a:gd name="T81" fmla="*/ 145 h 252"/>
                  <a:gd name="T82" fmla="*/ 61 w 233"/>
                  <a:gd name="T83" fmla="*/ 129 h 252"/>
                  <a:gd name="T84" fmla="*/ 55 w 233"/>
                  <a:gd name="T85" fmla="*/ 125 h 252"/>
                  <a:gd name="T86" fmla="*/ 48 w 233"/>
                  <a:gd name="T87" fmla="*/ 120 h 252"/>
                  <a:gd name="T88" fmla="*/ 41 w 233"/>
                  <a:gd name="T89" fmla="*/ 116 h 252"/>
                  <a:gd name="T90" fmla="*/ 33 w 233"/>
                  <a:gd name="T91" fmla="*/ 112 h 252"/>
                  <a:gd name="T92" fmla="*/ 17 w 233"/>
                  <a:gd name="T93" fmla="*/ 104 h 252"/>
                  <a:gd name="T94" fmla="*/ 0 w 233"/>
                  <a:gd name="T95" fmla="*/ 99 h 252"/>
                  <a:gd name="T96" fmla="*/ 40 w 233"/>
                  <a:gd name="T97" fmla="*/ 63 h 252"/>
                  <a:gd name="T98" fmla="*/ 59 w 233"/>
                  <a:gd name="T99" fmla="*/ 43 h 252"/>
                  <a:gd name="T100" fmla="*/ 65 w 233"/>
                  <a:gd name="T101" fmla="*/ 33 h 252"/>
                  <a:gd name="T102" fmla="*/ 69 w 233"/>
                  <a:gd name="T103" fmla="*/ 25 h 252"/>
                  <a:gd name="T104" fmla="*/ 72 w 233"/>
                  <a:gd name="T105" fmla="*/ 14 h 252"/>
                  <a:gd name="T106" fmla="*/ 74 w 233"/>
                  <a:gd name="T107" fmla="*/ 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4" name="Freeform 266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5382067" y="3631326"/>
                <a:ext cx="139354" cy="201659"/>
              </a:xfrm>
              <a:custGeom>
                <a:avLst/>
                <a:gdLst>
                  <a:gd name="T0" fmla="*/ 13 w 246"/>
                  <a:gd name="T1" fmla="*/ 376 h 380"/>
                  <a:gd name="T2" fmla="*/ 14 w 246"/>
                  <a:gd name="T3" fmla="*/ 367 h 380"/>
                  <a:gd name="T4" fmla="*/ 15 w 246"/>
                  <a:gd name="T5" fmla="*/ 359 h 380"/>
                  <a:gd name="T6" fmla="*/ 18 w 246"/>
                  <a:gd name="T7" fmla="*/ 351 h 380"/>
                  <a:gd name="T8" fmla="*/ 20 w 246"/>
                  <a:gd name="T9" fmla="*/ 344 h 380"/>
                  <a:gd name="T10" fmla="*/ 25 w 246"/>
                  <a:gd name="T11" fmla="*/ 333 h 380"/>
                  <a:gd name="T12" fmla="*/ 26 w 246"/>
                  <a:gd name="T13" fmla="*/ 327 h 380"/>
                  <a:gd name="T14" fmla="*/ 25 w 246"/>
                  <a:gd name="T15" fmla="*/ 321 h 380"/>
                  <a:gd name="T16" fmla="*/ 23 w 246"/>
                  <a:gd name="T17" fmla="*/ 314 h 380"/>
                  <a:gd name="T18" fmla="*/ 19 w 246"/>
                  <a:gd name="T19" fmla="*/ 305 h 380"/>
                  <a:gd name="T20" fmla="*/ 13 w 246"/>
                  <a:gd name="T21" fmla="*/ 295 h 380"/>
                  <a:gd name="T22" fmla="*/ 9 w 246"/>
                  <a:gd name="T23" fmla="*/ 285 h 380"/>
                  <a:gd name="T24" fmla="*/ 4 w 246"/>
                  <a:gd name="T25" fmla="*/ 275 h 380"/>
                  <a:gd name="T26" fmla="*/ 1 w 246"/>
                  <a:gd name="T27" fmla="*/ 267 h 380"/>
                  <a:gd name="T28" fmla="*/ 0 w 246"/>
                  <a:gd name="T29" fmla="*/ 259 h 380"/>
                  <a:gd name="T30" fmla="*/ 1 w 246"/>
                  <a:gd name="T31" fmla="*/ 251 h 380"/>
                  <a:gd name="T32" fmla="*/ 2 w 246"/>
                  <a:gd name="T33" fmla="*/ 243 h 380"/>
                  <a:gd name="T34" fmla="*/ 3 w 246"/>
                  <a:gd name="T35" fmla="*/ 236 h 380"/>
                  <a:gd name="T36" fmla="*/ 6 w 246"/>
                  <a:gd name="T37" fmla="*/ 230 h 380"/>
                  <a:gd name="T38" fmla="*/ 11 w 246"/>
                  <a:gd name="T39" fmla="*/ 218 h 380"/>
                  <a:gd name="T40" fmla="*/ 19 w 246"/>
                  <a:gd name="T41" fmla="*/ 207 h 380"/>
                  <a:gd name="T42" fmla="*/ 26 w 246"/>
                  <a:gd name="T43" fmla="*/ 197 h 380"/>
                  <a:gd name="T44" fmla="*/ 34 w 246"/>
                  <a:gd name="T45" fmla="*/ 185 h 380"/>
                  <a:gd name="T46" fmla="*/ 41 w 246"/>
                  <a:gd name="T47" fmla="*/ 173 h 380"/>
                  <a:gd name="T48" fmla="*/ 47 w 246"/>
                  <a:gd name="T49" fmla="*/ 160 h 380"/>
                  <a:gd name="T50" fmla="*/ 26 w 246"/>
                  <a:gd name="T51" fmla="*/ 73 h 380"/>
                  <a:gd name="T52" fmla="*/ 26 w 246"/>
                  <a:gd name="T53" fmla="*/ 50 h 380"/>
                  <a:gd name="T54" fmla="*/ 24 w 246"/>
                  <a:gd name="T55" fmla="*/ 33 h 380"/>
                  <a:gd name="T56" fmla="*/ 24 w 246"/>
                  <a:gd name="T57" fmla="*/ 25 h 380"/>
                  <a:gd name="T58" fmla="*/ 24 w 246"/>
                  <a:gd name="T59" fmla="*/ 16 h 380"/>
                  <a:gd name="T60" fmla="*/ 25 w 246"/>
                  <a:gd name="T61" fmla="*/ 8 h 380"/>
                  <a:gd name="T62" fmla="*/ 26 w 246"/>
                  <a:gd name="T63" fmla="*/ 0 h 380"/>
                  <a:gd name="T64" fmla="*/ 180 w 246"/>
                  <a:gd name="T65" fmla="*/ 0 h 380"/>
                  <a:gd name="T66" fmla="*/ 220 w 246"/>
                  <a:gd name="T67" fmla="*/ 129 h 380"/>
                  <a:gd name="T68" fmla="*/ 220 w 246"/>
                  <a:gd name="T69" fmla="*/ 210 h 380"/>
                  <a:gd name="T70" fmla="*/ 220 w 246"/>
                  <a:gd name="T71" fmla="*/ 220 h 380"/>
                  <a:gd name="T72" fmla="*/ 221 w 246"/>
                  <a:gd name="T73" fmla="*/ 230 h 380"/>
                  <a:gd name="T74" fmla="*/ 223 w 246"/>
                  <a:gd name="T75" fmla="*/ 240 h 380"/>
                  <a:gd name="T76" fmla="*/ 225 w 246"/>
                  <a:gd name="T77" fmla="*/ 250 h 380"/>
                  <a:gd name="T78" fmla="*/ 228 w 246"/>
                  <a:gd name="T79" fmla="*/ 259 h 380"/>
                  <a:gd name="T80" fmla="*/ 234 w 246"/>
                  <a:gd name="T81" fmla="*/ 268 h 380"/>
                  <a:gd name="T82" fmla="*/ 239 w 246"/>
                  <a:gd name="T83" fmla="*/ 278 h 380"/>
                  <a:gd name="T84" fmla="*/ 246 w 246"/>
                  <a:gd name="T85" fmla="*/ 289 h 380"/>
                  <a:gd name="T86" fmla="*/ 224 w 246"/>
                  <a:gd name="T87" fmla="*/ 295 h 380"/>
                  <a:gd name="T88" fmla="*/ 202 w 246"/>
                  <a:gd name="T89" fmla="*/ 302 h 380"/>
                  <a:gd name="T90" fmla="*/ 181 w 246"/>
                  <a:gd name="T91" fmla="*/ 310 h 380"/>
                  <a:gd name="T92" fmla="*/ 160 w 246"/>
                  <a:gd name="T93" fmla="*/ 319 h 380"/>
                  <a:gd name="T94" fmla="*/ 141 w 246"/>
                  <a:gd name="T95" fmla="*/ 328 h 380"/>
                  <a:gd name="T96" fmla="*/ 120 w 246"/>
                  <a:gd name="T97" fmla="*/ 338 h 380"/>
                  <a:gd name="T98" fmla="*/ 100 w 246"/>
                  <a:gd name="T99" fmla="*/ 347 h 380"/>
                  <a:gd name="T100" fmla="*/ 80 w 246"/>
                  <a:gd name="T101" fmla="*/ 358 h 380"/>
                  <a:gd name="T102" fmla="*/ 75 w 246"/>
                  <a:gd name="T103" fmla="*/ 363 h 380"/>
                  <a:gd name="T104" fmla="*/ 69 w 246"/>
                  <a:gd name="T105" fmla="*/ 367 h 380"/>
                  <a:gd name="T106" fmla="*/ 62 w 246"/>
                  <a:gd name="T107" fmla="*/ 372 h 380"/>
                  <a:gd name="T108" fmla="*/ 54 w 246"/>
                  <a:gd name="T109" fmla="*/ 376 h 380"/>
                  <a:gd name="T110" fmla="*/ 46 w 246"/>
                  <a:gd name="T111" fmla="*/ 379 h 380"/>
                  <a:gd name="T112" fmla="*/ 36 w 246"/>
                  <a:gd name="T113" fmla="*/ 380 h 380"/>
                  <a:gd name="T114" fmla="*/ 31 w 246"/>
                  <a:gd name="T115" fmla="*/ 380 h 380"/>
                  <a:gd name="T116" fmla="*/ 25 w 246"/>
                  <a:gd name="T117" fmla="*/ 379 h 380"/>
                  <a:gd name="T118" fmla="*/ 20 w 246"/>
                  <a:gd name="T119" fmla="*/ 378 h 380"/>
                  <a:gd name="T120" fmla="*/ 13 w 246"/>
                  <a:gd name="T121" fmla="*/ 376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5" name="Freeform 267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4919663" y="3547168"/>
                <a:ext cx="116129" cy="58752"/>
              </a:xfrm>
              <a:custGeom>
                <a:avLst/>
                <a:gdLst>
                  <a:gd name="T0" fmla="*/ 7 w 193"/>
                  <a:gd name="T1" fmla="*/ 20 h 38"/>
                  <a:gd name="T2" fmla="*/ 38 w 193"/>
                  <a:gd name="T3" fmla="*/ 11 h 38"/>
                  <a:gd name="T4" fmla="*/ 67 w 193"/>
                  <a:gd name="T5" fmla="*/ 5 h 38"/>
                  <a:gd name="T6" fmla="*/ 80 w 193"/>
                  <a:gd name="T7" fmla="*/ 3 h 38"/>
                  <a:gd name="T8" fmla="*/ 94 w 193"/>
                  <a:gd name="T9" fmla="*/ 2 h 38"/>
                  <a:gd name="T10" fmla="*/ 110 w 193"/>
                  <a:gd name="T11" fmla="*/ 1 h 38"/>
                  <a:gd name="T12" fmla="*/ 126 w 193"/>
                  <a:gd name="T13" fmla="*/ 0 h 38"/>
                  <a:gd name="T14" fmla="*/ 138 w 193"/>
                  <a:gd name="T15" fmla="*/ 1 h 38"/>
                  <a:gd name="T16" fmla="*/ 149 w 193"/>
                  <a:gd name="T17" fmla="*/ 1 h 38"/>
                  <a:gd name="T18" fmla="*/ 160 w 193"/>
                  <a:gd name="T19" fmla="*/ 2 h 38"/>
                  <a:gd name="T20" fmla="*/ 169 w 193"/>
                  <a:gd name="T21" fmla="*/ 4 h 38"/>
                  <a:gd name="T22" fmla="*/ 178 w 193"/>
                  <a:gd name="T23" fmla="*/ 6 h 38"/>
                  <a:gd name="T24" fmla="*/ 184 w 193"/>
                  <a:gd name="T25" fmla="*/ 11 h 38"/>
                  <a:gd name="T26" fmla="*/ 187 w 193"/>
                  <a:gd name="T27" fmla="*/ 13 h 38"/>
                  <a:gd name="T28" fmla="*/ 189 w 193"/>
                  <a:gd name="T29" fmla="*/ 18 h 38"/>
                  <a:gd name="T30" fmla="*/ 191 w 193"/>
                  <a:gd name="T31" fmla="*/ 21 h 38"/>
                  <a:gd name="T32" fmla="*/ 193 w 193"/>
                  <a:gd name="T33" fmla="*/ 26 h 38"/>
                  <a:gd name="T34" fmla="*/ 183 w 193"/>
                  <a:gd name="T35" fmla="*/ 27 h 38"/>
                  <a:gd name="T36" fmla="*/ 173 w 193"/>
                  <a:gd name="T37" fmla="*/ 28 h 38"/>
                  <a:gd name="T38" fmla="*/ 165 w 193"/>
                  <a:gd name="T39" fmla="*/ 28 h 38"/>
                  <a:gd name="T40" fmla="*/ 156 w 193"/>
                  <a:gd name="T41" fmla="*/ 28 h 38"/>
                  <a:gd name="T42" fmla="*/ 138 w 193"/>
                  <a:gd name="T43" fmla="*/ 27 h 38"/>
                  <a:gd name="T44" fmla="*/ 120 w 193"/>
                  <a:gd name="T45" fmla="*/ 26 h 38"/>
                  <a:gd name="T46" fmla="*/ 103 w 193"/>
                  <a:gd name="T47" fmla="*/ 26 h 38"/>
                  <a:gd name="T48" fmla="*/ 89 w 193"/>
                  <a:gd name="T49" fmla="*/ 28 h 38"/>
                  <a:gd name="T50" fmla="*/ 76 w 193"/>
                  <a:gd name="T51" fmla="*/ 30 h 38"/>
                  <a:gd name="T52" fmla="*/ 63 w 193"/>
                  <a:gd name="T53" fmla="*/ 32 h 38"/>
                  <a:gd name="T54" fmla="*/ 49 w 193"/>
                  <a:gd name="T55" fmla="*/ 34 h 38"/>
                  <a:gd name="T56" fmla="*/ 35 w 193"/>
                  <a:gd name="T57" fmla="*/ 36 h 38"/>
                  <a:gd name="T58" fmla="*/ 19 w 193"/>
                  <a:gd name="T59" fmla="*/ 37 h 38"/>
                  <a:gd name="T60" fmla="*/ 0 w 193"/>
                  <a:gd name="T61" fmla="*/ 38 h 38"/>
                  <a:gd name="T62" fmla="*/ 0 w 193"/>
                  <a:gd name="T63" fmla="*/ 33 h 38"/>
                  <a:gd name="T64" fmla="*/ 1 w 193"/>
                  <a:gd name="T65" fmla="*/ 29 h 38"/>
                  <a:gd name="T66" fmla="*/ 3 w 193"/>
                  <a:gd name="T67" fmla="*/ 24 h 38"/>
                  <a:gd name="T68" fmla="*/ 7 w 193"/>
                  <a:gd name="T69" fmla="*/ 2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6" name="Freeform 268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485526" y="3624974"/>
                <a:ext cx="57009" cy="155611"/>
              </a:xfrm>
              <a:custGeom>
                <a:avLst/>
                <a:gdLst>
                  <a:gd name="T0" fmla="*/ 53 w 99"/>
                  <a:gd name="T1" fmla="*/ 12 h 301"/>
                  <a:gd name="T2" fmla="*/ 59 w 99"/>
                  <a:gd name="T3" fmla="*/ 12 h 301"/>
                  <a:gd name="T4" fmla="*/ 59 w 99"/>
                  <a:gd name="T5" fmla="*/ 19 h 301"/>
                  <a:gd name="T6" fmla="*/ 62 w 99"/>
                  <a:gd name="T7" fmla="*/ 26 h 301"/>
                  <a:gd name="T8" fmla="*/ 63 w 99"/>
                  <a:gd name="T9" fmla="*/ 33 h 301"/>
                  <a:gd name="T10" fmla="*/ 66 w 99"/>
                  <a:gd name="T11" fmla="*/ 42 h 301"/>
                  <a:gd name="T12" fmla="*/ 72 w 99"/>
                  <a:gd name="T13" fmla="*/ 58 h 301"/>
                  <a:gd name="T14" fmla="*/ 79 w 99"/>
                  <a:gd name="T15" fmla="*/ 75 h 301"/>
                  <a:gd name="T16" fmla="*/ 87 w 99"/>
                  <a:gd name="T17" fmla="*/ 93 h 301"/>
                  <a:gd name="T18" fmla="*/ 93 w 99"/>
                  <a:gd name="T19" fmla="*/ 111 h 301"/>
                  <a:gd name="T20" fmla="*/ 96 w 99"/>
                  <a:gd name="T21" fmla="*/ 120 h 301"/>
                  <a:gd name="T22" fmla="*/ 98 w 99"/>
                  <a:gd name="T23" fmla="*/ 129 h 301"/>
                  <a:gd name="T24" fmla="*/ 99 w 99"/>
                  <a:gd name="T25" fmla="*/ 138 h 301"/>
                  <a:gd name="T26" fmla="*/ 99 w 99"/>
                  <a:gd name="T27" fmla="*/ 148 h 301"/>
                  <a:gd name="T28" fmla="*/ 99 w 99"/>
                  <a:gd name="T29" fmla="*/ 289 h 301"/>
                  <a:gd name="T30" fmla="*/ 89 w 99"/>
                  <a:gd name="T31" fmla="*/ 290 h 301"/>
                  <a:gd name="T32" fmla="*/ 80 w 99"/>
                  <a:gd name="T33" fmla="*/ 293 h 301"/>
                  <a:gd name="T34" fmla="*/ 73 w 99"/>
                  <a:gd name="T35" fmla="*/ 297 h 301"/>
                  <a:gd name="T36" fmla="*/ 66 w 99"/>
                  <a:gd name="T37" fmla="*/ 301 h 301"/>
                  <a:gd name="T38" fmla="*/ 59 w 99"/>
                  <a:gd name="T39" fmla="*/ 290 h 301"/>
                  <a:gd name="T40" fmla="*/ 54 w 99"/>
                  <a:gd name="T41" fmla="*/ 280 h 301"/>
                  <a:gd name="T42" fmla="*/ 48 w 99"/>
                  <a:gd name="T43" fmla="*/ 271 h 301"/>
                  <a:gd name="T44" fmla="*/ 45 w 99"/>
                  <a:gd name="T45" fmla="*/ 262 h 301"/>
                  <a:gd name="T46" fmla="*/ 43 w 99"/>
                  <a:gd name="T47" fmla="*/ 252 h 301"/>
                  <a:gd name="T48" fmla="*/ 41 w 99"/>
                  <a:gd name="T49" fmla="*/ 242 h 301"/>
                  <a:gd name="T50" fmla="*/ 40 w 99"/>
                  <a:gd name="T51" fmla="*/ 232 h 301"/>
                  <a:gd name="T52" fmla="*/ 40 w 99"/>
                  <a:gd name="T53" fmla="*/ 222 h 301"/>
                  <a:gd name="T54" fmla="*/ 40 w 99"/>
                  <a:gd name="T55" fmla="*/ 141 h 301"/>
                  <a:gd name="T56" fmla="*/ 0 w 99"/>
                  <a:gd name="T57" fmla="*/ 6 h 301"/>
                  <a:gd name="T58" fmla="*/ 5 w 99"/>
                  <a:gd name="T59" fmla="*/ 2 h 301"/>
                  <a:gd name="T60" fmla="*/ 10 w 99"/>
                  <a:gd name="T61" fmla="*/ 0 h 301"/>
                  <a:gd name="T62" fmla="*/ 14 w 99"/>
                  <a:gd name="T63" fmla="*/ 0 h 301"/>
                  <a:gd name="T64" fmla="*/ 20 w 99"/>
                  <a:gd name="T65" fmla="*/ 0 h 301"/>
                  <a:gd name="T66" fmla="*/ 26 w 99"/>
                  <a:gd name="T67" fmla="*/ 0 h 301"/>
                  <a:gd name="T68" fmla="*/ 32 w 99"/>
                  <a:gd name="T69" fmla="*/ 2 h 301"/>
                  <a:gd name="T70" fmla="*/ 37 w 99"/>
                  <a:gd name="T71" fmla="*/ 4 h 301"/>
                  <a:gd name="T72" fmla="*/ 41 w 99"/>
                  <a:gd name="T73" fmla="*/ 6 h 301"/>
                  <a:gd name="T74" fmla="*/ 47 w 99"/>
                  <a:gd name="T75" fmla="*/ 10 h 301"/>
                  <a:gd name="T76" fmla="*/ 53 w 99"/>
                  <a:gd name="T77" fmla="*/ 1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7" name="Freeform 269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5519310" y="3586866"/>
                <a:ext cx="101349" cy="188956"/>
              </a:xfrm>
              <a:custGeom>
                <a:avLst/>
                <a:gdLst>
                  <a:gd name="T0" fmla="*/ 0 w 173"/>
                  <a:gd name="T1" fmla="*/ 80 h 357"/>
                  <a:gd name="T2" fmla="*/ 9 w 173"/>
                  <a:gd name="T3" fmla="*/ 72 h 357"/>
                  <a:gd name="T4" fmla="*/ 17 w 173"/>
                  <a:gd name="T5" fmla="*/ 65 h 357"/>
                  <a:gd name="T6" fmla="*/ 25 w 173"/>
                  <a:gd name="T7" fmla="*/ 60 h 357"/>
                  <a:gd name="T8" fmla="*/ 33 w 173"/>
                  <a:gd name="T9" fmla="*/ 56 h 357"/>
                  <a:gd name="T10" fmla="*/ 40 w 173"/>
                  <a:gd name="T11" fmla="*/ 50 h 357"/>
                  <a:gd name="T12" fmla="*/ 67 w 173"/>
                  <a:gd name="T13" fmla="*/ 50 h 357"/>
                  <a:gd name="T14" fmla="*/ 94 w 173"/>
                  <a:gd name="T15" fmla="*/ 0 h 357"/>
                  <a:gd name="T16" fmla="*/ 101 w 173"/>
                  <a:gd name="T17" fmla="*/ 3 h 357"/>
                  <a:gd name="T18" fmla="*/ 108 w 173"/>
                  <a:gd name="T19" fmla="*/ 7 h 357"/>
                  <a:gd name="T20" fmla="*/ 116 w 173"/>
                  <a:gd name="T21" fmla="*/ 12 h 357"/>
                  <a:gd name="T22" fmla="*/ 123 w 173"/>
                  <a:gd name="T23" fmla="*/ 18 h 357"/>
                  <a:gd name="T24" fmla="*/ 131 w 173"/>
                  <a:gd name="T25" fmla="*/ 22 h 357"/>
                  <a:gd name="T26" fmla="*/ 139 w 173"/>
                  <a:gd name="T27" fmla="*/ 27 h 357"/>
                  <a:gd name="T28" fmla="*/ 145 w 173"/>
                  <a:gd name="T29" fmla="*/ 29 h 357"/>
                  <a:gd name="T30" fmla="*/ 153 w 173"/>
                  <a:gd name="T31" fmla="*/ 30 h 357"/>
                  <a:gd name="T32" fmla="*/ 163 w 173"/>
                  <a:gd name="T33" fmla="*/ 39 h 357"/>
                  <a:gd name="T34" fmla="*/ 173 w 173"/>
                  <a:gd name="T35" fmla="*/ 50 h 357"/>
                  <a:gd name="T36" fmla="*/ 173 w 173"/>
                  <a:gd name="T37" fmla="*/ 61 h 357"/>
                  <a:gd name="T38" fmla="*/ 173 w 173"/>
                  <a:gd name="T39" fmla="*/ 69 h 357"/>
                  <a:gd name="T40" fmla="*/ 173 w 173"/>
                  <a:gd name="T41" fmla="*/ 80 h 357"/>
                  <a:gd name="T42" fmla="*/ 173 w 173"/>
                  <a:gd name="T43" fmla="*/ 98 h 357"/>
                  <a:gd name="T44" fmla="*/ 173 w 173"/>
                  <a:gd name="T45" fmla="*/ 109 h 357"/>
                  <a:gd name="T46" fmla="*/ 171 w 173"/>
                  <a:gd name="T47" fmla="*/ 118 h 357"/>
                  <a:gd name="T48" fmla="*/ 167 w 173"/>
                  <a:gd name="T49" fmla="*/ 127 h 357"/>
                  <a:gd name="T50" fmla="*/ 163 w 173"/>
                  <a:gd name="T51" fmla="*/ 135 h 357"/>
                  <a:gd name="T52" fmla="*/ 152 w 173"/>
                  <a:gd name="T53" fmla="*/ 151 h 357"/>
                  <a:gd name="T54" fmla="*/ 140 w 173"/>
                  <a:gd name="T55" fmla="*/ 167 h 357"/>
                  <a:gd name="T56" fmla="*/ 128 w 173"/>
                  <a:gd name="T57" fmla="*/ 183 h 357"/>
                  <a:gd name="T58" fmla="*/ 117 w 173"/>
                  <a:gd name="T59" fmla="*/ 200 h 357"/>
                  <a:gd name="T60" fmla="*/ 112 w 173"/>
                  <a:gd name="T61" fmla="*/ 209 h 357"/>
                  <a:gd name="T62" fmla="*/ 109 w 173"/>
                  <a:gd name="T63" fmla="*/ 219 h 357"/>
                  <a:gd name="T64" fmla="*/ 108 w 173"/>
                  <a:gd name="T65" fmla="*/ 229 h 357"/>
                  <a:gd name="T66" fmla="*/ 107 w 173"/>
                  <a:gd name="T67" fmla="*/ 240 h 357"/>
                  <a:gd name="T68" fmla="*/ 108 w 173"/>
                  <a:gd name="T69" fmla="*/ 273 h 357"/>
                  <a:gd name="T70" fmla="*/ 109 w 173"/>
                  <a:gd name="T71" fmla="*/ 293 h 357"/>
                  <a:gd name="T72" fmla="*/ 110 w 173"/>
                  <a:gd name="T73" fmla="*/ 302 h 357"/>
                  <a:gd name="T74" fmla="*/ 109 w 173"/>
                  <a:gd name="T75" fmla="*/ 313 h 357"/>
                  <a:gd name="T76" fmla="*/ 109 w 173"/>
                  <a:gd name="T77" fmla="*/ 327 h 357"/>
                  <a:gd name="T78" fmla="*/ 107 w 173"/>
                  <a:gd name="T79" fmla="*/ 345 h 357"/>
                  <a:gd name="T80" fmla="*/ 97 w 173"/>
                  <a:gd name="T81" fmla="*/ 346 h 357"/>
                  <a:gd name="T82" fmla="*/ 88 w 173"/>
                  <a:gd name="T83" fmla="*/ 347 h 357"/>
                  <a:gd name="T84" fmla="*/ 79 w 173"/>
                  <a:gd name="T85" fmla="*/ 349 h 357"/>
                  <a:gd name="T86" fmla="*/ 71 w 173"/>
                  <a:gd name="T87" fmla="*/ 351 h 357"/>
                  <a:gd name="T88" fmla="*/ 63 w 173"/>
                  <a:gd name="T89" fmla="*/ 353 h 357"/>
                  <a:gd name="T90" fmla="*/ 55 w 173"/>
                  <a:gd name="T91" fmla="*/ 355 h 357"/>
                  <a:gd name="T92" fmla="*/ 48 w 173"/>
                  <a:gd name="T93" fmla="*/ 357 h 357"/>
                  <a:gd name="T94" fmla="*/ 40 w 173"/>
                  <a:gd name="T95" fmla="*/ 357 h 357"/>
                  <a:gd name="T96" fmla="*/ 40 w 173"/>
                  <a:gd name="T97" fmla="*/ 216 h 357"/>
                  <a:gd name="T98" fmla="*/ 40 w 173"/>
                  <a:gd name="T99" fmla="*/ 206 h 357"/>
                  <a:gd name="T100" fmla="*/ 39 w 173"/>
                  <a:gd name="T101" fmla="*/ 197 h 357"/>
                  <a:gd name="T102" fmla="*/ 37 w 173"/>
                  <a:gd name="T103" fmla="*/ 188 h 357"/>
                  <a:gd name="T104" fmla="*/ 34 w 173"/>
                  <a:gd name="T105" fmla="*/ 179 h 357"/>
                  <a:gd name="T106" fmla="*/ 28 w 173"/>
                  <a:gd name="T107" fmla="*/ 161 h 357"/>
                  <a:gd name="T108" fmla="*/ 20 w 173"/>
                  <a:gd name="T109" fmla="*/ 143 h 357"/>
                  <a:gd name="T110" fmla="*/ 13 w 173"/>
                  <a:gd name="T111" fmla="*/ 126 h 357"/>
                  <a:gd name="T112" fmla="*/ 7 w 173"/>
                  <a:gd name="T113" fmla="*/ 110 h 357"/>
                  <a:gd name="T114" fmla="*/ 4 w 173"/>
                  <a:gd name="T115" fmla="*/ 101 h 357"/>
                  <a:gd name="T116" fmla="*/ 3 w 173"/>
                  <a:gd name="T117" fmla="*/ 94 h 357"/>
                  <a:gd name="T118" fmla="*/ 0 w 173"/>
                  <a:gd name="T119" fmla="*/ 87 h 357"/>
                  <a:gd name="T120" fmla="*/ 0 w 173"/>
                  <a:gd name="T121" fmla="*/ 8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8" name="Freeform 270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6488457" y="4792057"/>
                <a:ext cx="33783" cy="60339"/>
              </a:xfrm>
              <a:custGeom>
                <a:avLst/>
                <a:gdLst>
                  <a:gd name="T0" fmla="*/ 10 w 50"/>
                  <a:gd name="T1" fmla="*/ 0 h 74"/>
                  <a:gd name="T2" fmla="*/ 6 w 50"/>
                  <a:gd name="T3" fmla="*/ 14 h 74"/>
                  <a:gd name="T4" fmla="*/ 2 w 50"/>
                  <a:gd name="T5" fmla="*/ 26 h 74"/>
                  <a:gd name="T6" fmla="*/ 0 w 50"/>
                  <a:gd name="T7" fmla="*/ 36 h 74"/>
                  <a:gd name="T8" fmla="*/ 0 w 50"/>
                  <a:gd name="T9" fmla="*/ 43 h 74"/>
                  <a:gd name="T10" fmla="*/ 0 w 50"/>
                  <a:gd name="T11" fmla="*/ 50 h 74"/>
                  <a:gd name="T12" fmla="*/ 2 w 50"/>
                  <a:gd name="T13" fmla="*/ 56 h 74"/>
                  <a:gd name="T14" fmla="*/ 6 w 50"/>
                  <a:gd name="T15" fmla="*/ 61 h 74"/>
                  <a:gd name="T16" fmla="*/ 10 w 50"/>
                  <a:gd name="T17" fmla="*/ 68 h 74"/>
                  <a:gd name="T18" fmla="*/ 50 w 50"/>
                  <a:gd name="T19" fmla="*/ 74 h 74"/>
                  <a:gd name="T20" fmla="*/ 50 w 50"/>
                  <a:gd name="T21" fmla="*/ 51 h 74"/>
                  <a:gd name="T22" fmla="*/ 50 w 50"/>
                  <a:gd name="T23" fmla="*/ 34 h 74"/>
                  <a:gd name="T24" fmla="*/ 50 w 50"/>
                  <a:gd name="T25" fmla="*/ 19 h 74"/>
                  <a:gd name="T26" fmla="*/ 50 w 50"/>
                  <a:gd name="T27" fmla="*/ 0 h 74"/>
                  <a:gd name="T28" fmla="*/ 38 w 50"/>
                  <a:gd name="T29" fmla="*/ 0 h 74"/>
                  <a:gd name="T30" fmla="*/ 25 w 50"/>
                  <a:gd name="T31" fmla="*/ 0 h 74"/>
                  <a:gd name="T32" fmla="*/ 14 w 50"/>
                  <a:gd name="T33" fmla="*/ 0 h 74"/>
                  <a:gd name="T34" fmla="*/ 10 w 50"/>
                  <a:gd name="T3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9" name="Freeform 271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0" name="Freeform 272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9298772" y="2602388"/>
                <a:ext cx="160469" cy="171490"/>
              </a:xfrm>
              <a:custGeom>
                <a:avLst/>
                <a:gdLst>
                  <a:gd name="T0" fmla="*/ 240 w 266"/>
                  <a:gd name="T1" fmla="*/ 9 h 326"/>
                  <a:gd name="T2" fmla="*/ 240 w 266"/>
                  <a:gd name="T3" fmla="*/ 28 h 326"/>
                  <a:gd name="T4" fmla="*/ 249 w 266"/>
                  <a:gd name="T5" fmla="*/ 42 h 326"/>
                  <a:gd name="T6" fmla="*/ 245 w 266"/>
                  <a:gd name="T7" fmla="*/ 55 h 326"/>
                  <a:gd name="T8" fmla="*/ 225 w 266"/>
                  <a:gd name="T9" fmla="*/ 50 h 326"/>
                  <a:gd name="T10" fmla="*/ 210 w 266"/>
                  <a:gd name="T11" fmla="*/ 51 h 326"/>
                  <a:gd name="T12" fmla="*/ 195 w 266"/>
                  <a:gd name="T13" fmla="*/ 65 h 326"/>
                  <a:gd name="T14" fmla="*/ 193 w 266"/>
                  <a:gd name="T15" fmla="*/ 78 h 326"/>
                  <a:gd name="T16" fmla="*/ 198 w 266"/>
                  <a:gd name="T17" fmla="*/ 89 h 326"/>
                  <a:gd name="T18" fmla="*/ 215 w 266"/>
                  <a:gd name="T19" fmla="*/ 110 h 326"/>
                  <a:gd name="T20" fmla="*/ 224 w 266"/>
                  <a:gd name="T21" fmla="*/ 122 h 326"/>
                  <a:gd name="T22" fmla="*/ 225 w 266"/>
                  <a:gd name="T23" fmla="*/ 133 h 326"/>
                  <a:gd name="T24" fmla="*/ 222 w 266"/>
                  <a:gd name="T25" fmla="*/ 143 h 326"/>
                  <a:gd name="T26" fmla="*/ 207 w 266"/>
                  <a:gd name="T27" fmla="*/ 154 h 326"/>
                  <a:gd name="T28" fmla="*/ 200 w 266"/>
                  <a:gd name="T29" fmla="*/ 160 h 326"/>
                  <a:gd name="T30" fmla="*/ 181 w 266"/>
                  <a:gd name="T31" fmla="*/ 166 h 326"/>
                  <a:gd name="T32" fmla="*/ 164 w 266"/>
                  <a:gd name="T33" fmla="*/ 178 h 326"/>
                  <a:gd name="T34" fmla="*/ 160 w 266"/>
                  <a:gd name="T35" fmla="*/ 191 h 326"/>
                  <a:gd name="T36" fmla="*/ 173 w 266"/>
                  <a:gd name="T37" fmla="*/ 207 h 326"/>
                  <a:gd name="T38" fmla="*/ 189 w 266"/>
                  <a:gd name="T39" fmla="*/ 215 h 326"/>
                  <a:gd name="T40" fmla="*/ 214 w 266"/>
                  <a:gd name="T41" fmla="*/ 227 h 326"/>
                  <a:gd name="T42" fmla="*/ 245 w 266"/>
                  <a:gd name="T43" fmla="*/ 259 h 326"/>
                  <a:gd name="T44" fmla="*/ 251 w 266"/>
                  <a:gd name="T45" fmla="*/ 285 h 326"/>
                  <a:gd name="T46" fmla="*/ 220 w 266"/>
                  <a:gd name="T47" fmla="*/ 291 h 326"/>
                  <a:gd name="T48" fmla="*/ 207 w 266"/>
                  <a:gd name="T49" fmla="*/ 298 h 326"/>
                  <a:gd name="T50" fmla="*/ 198 w 266"/>
                  <a:gd name="T51" fmla="*/ 312 h 326"/>
                  <a:gd name="T52" fmla="*/ 189 w 266"/>
                  <a:gd name="T53" fmla="*/ 326 h 326"/>
                  <a:gd name="T54" fmla="*/ 170 w 266"/>
                  <a:gd name="T55" fmla="*/ 321 h 326"/>
                  <a:gd name="T56" fmla="*/ 167 w 266"/>
                  <a:gd name="T57" fmla="*/ 316 h 326"/>
                  <a:gd name="T58" fmla="*/ 154 w 266"/>
                  <a:gd name="T59" fmla="*/ 310 h 326"/>
                  <a:gd name="T60" fmla="*/ 139 w 266"/>
                  <a:gd name="T61" fmla="*/ 301 h 326"/>
                  <a:gd name="T62" fmla="*/ 126 w 266"/>
                  <a:gd name="T63" fmla="*/ 295 h 326"/>
                  <a:gd name="T64" fmla="*/ 98 w 266"/>
                  <a:gd name="T65" fmla="*/ 290 h 326"/>
                  <a:gd name="T66" fmla="*/ 63 w 266"/>
                  <a:gd name="T67" fmla="*/ 277 h 326"/>
                  <a:gd name="T68" fmla="*/ 54 w 266"/>
                  <a:gd name="T69" fmla="*/ 268 h 326"/>
                  <a:gd name="T70" fmla="*/ 55 w 266"/>
                  <a:gd name="T71" fmla="*/ 256 h 326"/>
                  <a:gd name="T72" fmla="*/ 70 w 266"/>
                  <a:gd name="T73" fmla="*/ 244 h 326"/>
                  <a:gd name="T74" fmla="*/ 59 w 266"/>
                  <a:gd name="T75" fmla="*/ 221 h 326"/>
                  <a:gd name="T76" fmla="*/ 34 w 266"/>
                  <a:gd name="T77" fmla="*/ 194 h 326"/>
                  <a:gd name="T78" fmla="*/ 13 w 266"/>
                  <a:gd name="T79" fmla="*/ 182 h 326"/>
                  <a:gd name="T80" fmla="*/ 4 w 266"/>
                  <a:gd name="T81" fmla="*/ 171 h 326"/>
                  <a:gd name="T82" fmla="*/ 19 w 266"/>
                  <a:gd name="T83" fmla="*/ 152 h 326"/>
                  <a:gd name="T84" fmla="*/ 54 w 266"/>
                  <a:gd name="T85" fmla="*/ 124 h 326"/>
                  <a:gd name="T86" fmla="*/ 73 w 266"/>
                  <a:gd name="T87" fmla="*/ 105 h 326"/>
                  <a:gd name="T88" fmla="*/ 88 w 266"/>
                  <a:gd name="T89" fmla="*/ 92 h 326"/>
                  <a:gd name="T90" fmla="*/ 110 w 266"/>
                  <a:gd name="T91" fmla="*/ 88 h 326"/>
                  <a:gd name="T92" fmla="*/ 144 w 266"/>
                  <a:gd name="T93" fmla="*/ 70 h 326"/>
                  <a:gd name="T94" fmla="*/ 168 w 266"/>
                  <a:gd name="T95" fmla="*/ 46 h 326"/>
                  <a:gd name="T96" fmla="*/ 191 w 266"/>
                  <a:gd name="T97" fmla="*/ 21 h 326"/>
                  <a:gd name="T98" fmla="*/ 220 w 266"/>
                  <a:gd name="T99" fmla="*/ 4 h 326"/>
                  <a:gd name="T100" fmla="*/ 238 w 266"/>
                  <a:gd name="T101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1" name="Freeform 273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8063585" y="3016822"/>
                <a:ext cx="274486" cy="123853"/>
              </a:xfrm>
              <a:custGeom>
                <a:avLst/>
                <a:gdLst>
                  <a:gd name="T0" fmla="*/ 86 w 471"/>
                  <a:gd name="T1" fmla="*/ 0 h 237"/>
                  <a:gd name="T2" fmla="*/ 92 w 471"/>
                  <a:gd name="T3" fmla="*/ 7 h 237"/>
                  <a:gd name="T4" fmla="*/ 102 w 471"/>
                  <a:gd name="T5" fmla="*/ 13 h 237"/>
                  <a:gd name="T6" fmla="*/ 125 w 471"/>
                  <a:gd name="T7" fmla="*/ 23 h 237"/>
                  <a:gd name="T8" fmla="*/ 159 w 471"/>
                  <a:gd name="T9" fmla="*/ 37 h 237"/>
                  <a:gd name="T10" fmla="*/ 223 w 471"/>
                  <a:gd name="T11" fmla="*/ 77 h 237"/>
                  <a:gd name="T12" fmla="*/ 253 w 471"/>
                  <a:gd name="T13" fmla="*/ 97 h 237"/>
                  <a:gd name="T14" fmla="*/ 283 w 471"/>
                  <a:gd name="T15" fmla="*/ 113 h 237"/>
                  <a:gd name="T16" fmla="*/ 316 w 471"/>
                  <a:gd name="T17" fmla="*/ 127 h 237"/>
                  <a:gd name="T18" fmla="*/ 355 w 471"/>
                  <a:gd name="T19" fmla="*/ 139 h 237"/>
                  <a:gd name="T20" fmla="*/ 399 w 471"/>
                  <a:gd name="T21" fmla="*/ 146 h 237"/>
                  <a:gd name="T22" fmla="*/ 451 w 471"/>
                  <a:gd name="T23" fmla="*/ 148 h 237"/>
                  <a:gd name="T24" fmla="*/ 452 w 471"/>
                  <a:gd name="T25" fmla="*/ 187 h 237"/>
                  <a:gd name="T26" fmla="*/ 459 w 471"/>
                  <a:gd name="T27" fmla="*/ 211 h 237"/>
                  <a:gd name="T28" fmla="*/ 467 w 471"/>
                  <a:gd name="T29" fmla="*/ 227 h 237"/>
                  <a:gd name="T30" fmla="*/ 467 w 471"/>
                  <a:gd name="T31" fmla="*/ 236 h 237"/>
                  <a:gd name="T32" fmla="*/ 451 w 471"/>
                  <a:gd name="T33" fmla="*/ 236 h 237"/>
                  <a:gd name="T34" fmla="*/ 416 w 471"/>
                  <a:gd name="T35" fmla="*/ 231 h 237"/>
                  <a:gd name="T36" fmla="*/ 362 w 471"/>
                  <a:gd name="T37" fmla="*/ 219 h 237"/>
                  <a:gd name="T38" fmla="*/ 315 w 471"/>
                  <a:gd name="T39" fmla="*/ 207 h 237"/>
                  <a:gd name="T40" fmla="*/ 294 w 471"/>
                  <a:gd name="T41" fmla="*/ 203 h 237"/>
                  <a:gd name="T42" fmla="*/ 287 w 471"/>
                  <a:gd name="T43" fmla="*/ 199 h 237"/>
                  <a:gd name="T44" fmla="*/ 277 w 471"/>
                  <a:gd name="T45" fmla="*/ 190 h 237"/>
                  <a:gd name="T46" fmla="*/ 267 w 471"/>
                  <a:gd name="T47" fmla="*/ 178 h 237"/>
                  <a:gd name="T48" fmla="*/ 255 w 471"/>
                  <a:gd name="T49" fmla="*/ 166 h 237"/>
                  <a:gd name="T50" fmla="*/ 240 w 471"/>
                  <a:gd name="T51" fmla="*/ 159 h 237"/>
                  <a:gd name="T52" fmla="*/ 227 w 471"/>
                  <a:gd name="T53" fmla="*/ 159 h 237"/>
                  <a:gd name="T54" fmla="*/ 205 w 471"/>
                  <a:gd name="T55" fmla="*/ 163 h 237"/>
                  <a:gd name="T56" fmla="*/ 183 w 471"/>
                  <a:gd name="T57" fmla="*/ 167 h 237"/>
                  <a:gd name="T58" fmla="*/ 169 w 471"/>
                  <a:gd name="T59" fmla="*/ 168 h 237"/>
                  <a:gd name="T60" fmla="*/ 158 w 471"/>
                  <a:gd name="T61" fmla="*/ 164 h 237"/>
                  <a:gd name="T62" fmla="*/ 148 w 471"/>
                  <a:gd name="T63" fmla="*/ 155 h 237"/>
                  <a:gd name="T64" fmla="*/ 139 w 471"/>
                  <a:gd name="T65" fmla="*/ 148 h 237"/>
                  <a:gd name="T66" fmla="*/ 122 w 471"/>
                  <a:gd name="T67" fmla="*/ 145 h 237"/>
                  <a:gd name="T68" fmla="*/ 92 w 471"/>
                  <a:gd name="T69" fmla="*/ 135 h 237"/>
                  <a:gd name="T70" fmla="*/ 48 w 471"/>
                  <a:gd name="T71" fmla="*/ 117 h 237"/>
                  <a:gd name="T72" fmla="*/ 12 w 471"/>
                  <a:gd name="T73" fmla="*/ 96 h 237"/>
                  <a:gd name="T74" fmla="*/ 7 w 471"/>
                  <a:gd name="T75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2" name="Freeform 274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8350740" y="3072396"/>
                <a:ext cx="97127" cy="65102"/>
              </a:xfrm>
              <a:custGeom>
                <a:avLst/>
                <a:gdLst>
                  <a:gd name="T0" fmla="*/ 167 w 167"/>
                  <a:gd name="T1" fmla="*/ 43 h 123"/>
                  <a:gd name="T2" fmla="*/ 164 w 167"/>
                  <a:gd name="T3" fmla="*/ 54 h 123"/>
                  <a:gd name="T4" fmla="*/ 161 w 167"/>
                  <a:gd name="T5" fmla="*/ 66 h 123"/>
                  <a:gd name="T6" fmla="*/ 155 w 167"/>
                  <a:gd name="T7" fmla="*/ 79 h 123"/>
                  <a:gd name="T8" fmla="*/ 150 w 167"/>
                  <a:gd name="T9" fmla="*/ 93 h 123"/>
                  <a:gd name="T10" fmla="*/ 146 w 167"/>
                  <a:gd name="T11" fmla="*/ 99 h 123"/>
                  <a:gd name="T12" fmla="*/ 142 w 167"/>
                  <a:gd name="T13" fmla="*/ 105 h 123"/>
                  <a:gd name="T14" fmla="*/ 138 w 167"/>
                  <a:gd name="T15" fmla="*/ 110 h 123"/>
                  <a:gd name="T16" fmla="*/ 132 w 167"/>
                  <a:gd name="T17" fmla="*/ 114 h 123"/>
                  <a:gd name="T18" fmla="*/ 127 w 167"/>
                  <a:gd name="T19" fmla="*/ 118 h 123"/>
                  <a:gd name="T20" fmla="*/ 121 w 167"/>
                  <a:gd name="T21" fmla="*/ 121 h 123"/>
                  <a:gd name="T22" fmla="*/ 115 w 167"/>
                  <a:gd name="T23" fmla="*/ 122 h 123"/>
                  <a:gd name="T24" fmla="*/ 107 w 167"/>
                  <a:gd name="T25" fmla="*/ 123 h 123"/>
                  <a:gd name="T26" fmla="*/ 100 w 167"/>
                  <a:gd name="T27" fmla="*/ 122 h 123"/>
                  <a:gd name="T28" fmla="*/ 92 w 167"/>
                  <a:gd name="T29" fmla="*/ 119 h 123"/>
                  <a:gd name="T30" fmla="*/ 87 w 167"/>
                  <a:gd name="T31" fmla="*/ 116 h 123"/>
                  <a:gd name="T32" fmla="*/ 84 w 167"/>
                  <a:gd name="T33" fmla="*/ 113 h 123"/>
                  <a:gd name="T34" fmla="*/ 82 w 167"/>
                  <a:gd name="T35" fmla="*/ 109 h 123"/>
                  <a:gd name="T36" fmla="*/ 81 w 167"/>
                  <a:gd name="T37" fmla="*/ 105 h 123"/>
                  <a:gd name="T38" fmla="*/ 71 w 167"/>
                  <a:gd name="T39" fmla="*/ 104 h 123"/>
                  <a:gd name="T40" fmla="*/ 61 w 167"/>
                  <a:gd name="T41" fmla="*/ 103 h 123"/>
                  <a:gd name="T42" fmla="*/ 51 w 167"/>
                  <a:gd name="T43" fmla="*/ 101 h 123"/>
                  <a:gd name="T44" fmla="*/ 41 w 167"/>
                  <a:gd name="T45" fmla="*/ 98 h 123"/>
                  <a:gd name="T46" fmla="*/ 21 w 167"/>
                  <a:gd name="T47" fmla="*/ 92 h 123"/>
                  <a:gd name="T48" fmla="*/ 0 w 167"/>
                  <a:gd name="T49" fmla="*/ 86 h 123"/>
                  <a:gd name="T50" fmla="*/ 2 w 167"/>
                  <a:gd name="T51" fmla="*/ 77 h 123"/>
                  <a:gd name="T52" fmla="*/ 5 w 167"/>
                  <a:gd name="T53" fmla="*/ 67 h 123"/>
                  <a:gd name="T54" fmla="*/ 9 w 167"/>
                  <a:gd name="T55" fmla="*/ 56 h 123"/>
                  <a:gd name="T56" fmla="*/ 15 w 167"/>
                  <a:gd name="T57" fmla="*/ 43 h 123"/>
                  <a:gd name="T58" fmla="*/ 20 w 167"/>
                  <a:gd name="T59" fmla="*/ 43 h 123"/>
                  <a:gd name="T60" fmla="*/ 26 w 167"/>
                  <a:gd name="T61" fmla="*/ 42 h 123"/>
                  <a:gd name="T62" fmla="*/ 30 w 167"/>
                  <a:gd name="T63" fmla="*/ 41 h 123"/>
                  <a:gd name="T64" fmla="*/ 33 w 167"/>
                  <a:gd name="T65" fmla="*/ 38 h 123"/>
                  <a:gd name="T66" fmla="*/ 40 w 167"/>
                  <a:gd name="T67" fmla="*/ 33 h 123"/>
                  <a:gd name="T68" fmla="*/ 45 w 167"/>
                  <a:gd name="T69" fmla="*/ 26 h 123"/>
                  <a:gd name="T70" fmla="*/ 52 w 167"/>
                  <a:gd name="T71" fmla="*/ 12 h 123"/>
                  <a:gd name="T72" fmla="*/ 61 w 167"/>
                  <a:gd name="T73" fmla="*/ 0 h 123"/>
                  <a:gd name="T74" fmla="*/ 64 w 167"/>
                  <a:gd name="T75" fmla="*/ 4 h 123"/>
                  <a:gd name="T76" fmla="*/ 67 w 167"/>
                  <a:gd name="T77" fmla="*/ 7 h 123"/>
                  <a:gd name="T78" fmla="*/ 73 w 167"/>
                  <a:gd name="T79" fmla="*/ 11 h 123"/>
                  <a:gd name="T80" fmla="*/ 78 w 167"/>
                  <a:gd name="T81" fmla="*/ 14 h 123"/>
                  <a:gd name="T82" fmla="*/ 92 w 167"/>
                  <a:gd name="T83" fmla="*/ 21 h 123"/>
                  <a:gd name="T84" fmla="*/ 107 w 167"/>
                  <a:gd name="T85" fmla="*/ 28 h 123"/>
                  <a:gd name="T86" fmla="*/ 122 w 167"/>
                  <a:gd name="T87" fmla="*/ 35 h 123"/>
                  <a:gd name="T88" fmla="*/ 139 w 167"/>
                  <a:gd name="T89" fmla="*/ 39 h 123"/>
                  <a:gd name="T90" fmla="*/ 153 w 167"/>
                  <a:gd name="T91" fmla="*/ 42 h 123"/>
                  <a:gd name="T92" fmla="*/ 167 w 167"/>
                  <a:gd name="T93" fmla="*/ 4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3" name="Freeform 275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8338071" y="3143851"/>
                <a:ext cx="177360" cy="166726"/>
              </a:xfrm>
              <a:custGeom>
                <a:avLst/>
                <a:gdLst>
                  <a:gd name="T0" fmla="*/ 259 w 306"/>
                  <a:gd name="T1" fmla="*/ 160 h 321"/>
                  <a:gd name="T2" fmla="*/ 252 w 306"/>
                  <a:gd name="T3" fmla="*/ 173 h 321"/>
                  <a:gd name="T4" fmla="*/ 243 w 306"/>
                  <a:gd name="T5" fmla="*/ 182 h 321"/>
                  <a:gd name="T6" fmla="*/ 233 w 306"/>
                  <a:gd name="T7" fmla="*/ 186 h 321"/>
                  <a:gd name="T8" fmla="*/ 223 w 306"/>
                  <a:gd name="T9" fmla="*/ 184 h 321"/>
                  <a:gd name="T10" fmla="*/ 214 w 306"/>
                  <a:gd name="T11" fmla="*/ 178 h 321"/>
                  <a:gd name="T12" fmla="*/ 209 w 306"/>
                  <a:gd name="T13" fmla="*/ 169 h 321"/>
                  <a:gd name="T14" fmla="*/ 206 w 306"/>
                  <a:gd name="T15" fmla="*/ 160 h 321"/>
                  <a:gd name="T16" fmla="*/ 209 w 306"/>
                  <a:gd name="T17" fmla="*/ 148 h 321"/>
                  <a:gd name="T18" fmla="*/ 213 w 306"/>
                  <a:gd name="T19" fmla="*/ 136 h 321"/>
                  <a:gd name="T20" fmla="*/ 230 w 306"/>
                  <a:gd name="T21" fmla="*/ 114 h 321"/>
                  <a:gd name="T22" fmla="*/ 246 w 306"/>
                  <a:gd name="T23" fmla="*/ 93 h 321"/>
                  <a:gd name="T24" fmla="*/ 250 w 306"/>
                  <a:gd name="T25" fmla="*/ 82 h 321"/>
                  <a:gd name="T26" fmla="*/ 253 w 306"/>
                  <a:gd name="T27" fmla="*/ 69 h 321"/>
                  <a:gd name="T28" fmla="*/ 129 w 306"/>
                  <a:gd name="T29" fmla="*/ 68 h 321"/>
                  <a:gd name="T30" fmla="*/ 119 w 306"/>
                  <a:gd name="T31" fmla="*/ 59 h 321"/>
                  <a:gd name="T32" fmla="*/ 112 w 306"/>
                  <a:gd name="T33" fmla="*/ 45 h 321"/>
                  <a:gd name="T34" fmla="*/ 108 w 306"/>
                  <a:gd name="T35" fmla="*/ 28 h 321"/>
                  <a:gd name="T36" fmla="*/ 101 w 306"/>
                  <a:gd name="T37" fmla="*/ 19 h 321"/>
                  <a:gd name="T38" fmla="*/ 90 w 306"/>
                  <a:gd name="T39" fmla="*/ 17 h 321"/>
                  <a:gd name="T40" fmla="*/ 80 w 306"/>
                  <a:gd name="T41" fmla="*/ 12 h 321"/>
                  <a:gd name="T42" fmla="*/ 75 w 306"/>
                  <a:gd name="T43" fmla="*/ 4 h 321"/>
                  <a:gd name="T44" fmla="*/ 65 w 306"/>
                  <a:gd name="T45" fmla="*/ 0 h 321"/>
                  <a:gd name="T46" fmla="*/ 49 w 306"/>
                  <a:gd name="T47" fmla="*/ 0 h 321"/>
                  <a:gd name="T48" fmla="*/ 34 w 306"/>
                  <a:gd name="T49" fmla="*/ 1 h 321"/>
                  <a:gd name="T50" fmla="*/ 22 w 306"/>
                  <a:gd name="T51" fmla="*/ 5 h 321"/>
                  <a:gd name="T52" fmla="*/ 10 w 306"/>
                  <a:gd name="T53" fmla="*/ 14 h 321"/>
                  <a:gd name="T54" fmla="*/ 1 w 306"/>
                  <a:gd name="T55" fmla="*/ 25 h 321"/>
                  <a:gd name="T56" fmla="*/ 2 w 306"/>
                  <a:gd name="T57" fmla="*/ 35 h 321"/>
                  <a:gd name="T58" fmla="*/ 15 w 306"/>
                  <a:gd name="T59" fmla="*/ 46 h 321"/>
                  <a:gd name="T60" fmla="*/ 35 w 306"/>
                  <a:gd name="T61" fmla="*/ 58 h 321"/>
                  <a:gd name="T62" fmla="*/ 54 w 306"/>
                  <a:gd name="T63" fmla="*/ 67 h 321"/>
                  <a:gd name="T64" fmla="*/ 47 w 306"/>
                  <a:gd name="T65" fmla="*/ 79 h 321"/>
                  <a:gd name="T66" fmla="*/ 25 w 306"/>
                  <a:gd name="T67" fmla="*/ 97 h 321"/>
                  <a:gd name="T68" fmla="*/ 17 w 306"/>
                  <a:gd name="T69" fmla="*/ 107 h 321"/>
                  <a:gd name="T70" fmla="*/ 14 w 306"/>
                  <a:gd name="T71" fmla="*/ 114 h 321"/>
                  <a:gd name="T72" fmla="*/ 14 w 306"/>
                  <a:gd name="T73" fmla="*/ 122 h 321"/>
                  <a:gd name="T74" fmla="*/ 18 w 306"/>
                  <a:gd name="T75" fmla="*/ 129 h 321"/>
                  <a:gd name="T76" fmla="*/ 28 w 306"/>
                  <a:gd name="T77" fmla="*/ 141 h 321"/>
                  <a:gd name="T78" fmla="*/ 47 w 306"/>
                  <a:gd name="T79" fmla="*/ 156 h 321"/>
                  <a:gd name="T80" fmla="*/ 64 w 306"/>
                  <a:gd name="T81" fmla="*/ 164 h 321"/>
                  <a:gd name="T82" fmla="*/ 75 w 306"/>
                  <a:gd name="T83" fmla="*/ 166 h 321"/>
                  <a:gd name="T84" fmla="*/ 107 w 306"/>
                  <a:gd name="T85" fmla="*/ 271 h 321"/>
                  <a:gd name="T86" fmla="*/ 108 w 306"/>
                  <a:gd name="T87" fmla="*/ 263 h 321"/>
                  <a:gd name="T88" fmla="*/ 112 w 306"/>
                  <a:gd name="T89" fmla="*/ 256 h 321"/>
                  <a:gd name="T90" fmla="*/ 127 w 306"/>
                  <a:gd name="T91" fmla="*/ 246 h 321"/>
                  <a:gd name="T92" fmla="*/ 148 w 306"/>
                  <a:gd name="T93" fmla="*/ 240 h 321"/>
                  <a:gd name="T94" fmla="*/ 174 w 306"/>
                  <a:gd name="T95" fmla="*/ 235 h 321"/>
                  <a:gd name="T96" fmla="*/ 174 w 306"/>
                  <a:gd name="T97" fmla="*/ 210 h 321"/>
                  <a:gd name="T98" fmla="*/ 183 w 306"/>
                  <a:gd name="T99" fmla="*/ 212 h 321"/>
                  <a:gd name="T100" fmla="*/ 193 w 306"/>
                  <a:gd name="T101" fmla="*/ 212 h 321"/>
                  <a:gd name="T102" fmla="*/ 213 w 306"/>
                  <a:gd name="T103" fmla="*/ 210 h 321"/>
                  <a:gd name="T104" fmla="*/ 232 w 306"/>
                  <a:gd name="T105" fmla="*/ 261 h 321"/>
                  <a:gd name="T106" fmla="*/ 259 w 306"/>
                  <a:gd name="T107" fmla="*/ 321 h 321"/>
                  <a:gd name="T108" fmla="*/ 272 w 306"/>
                  <a:gd name="T109" fmla="*/ 311 h 321"/>
                  <a:gd name="T110" fmla="*/ 282 w 306"/>
                  <a:gd name="T111" fmla="*/ 302 h 321"/>
                  <a:gd name="T112" fmla="*/ 295 w 306"/>
                  <a:gd name="T113" fmla="*/ 280 h 321"/>
                  <a:gd name="T114" fmla="*/ 306 w 306"/>
                  <a:gd name="T115" fmla="*/ 235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4" name="Freeform 276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8760357" y="3259765"/>
                <a:ext cx="268151" cy="269937"/>
              </a:xfrm>
              <a:custGeom>
                <a:avLst/>
                <a:gdLst>
                  <a:gd name="T0" fmla="*/ 94 w 471"/>
                  <a:gd name="T1" fmla="*/ 12 h 518"/>
                  <a:gd name="T2" fmla="*/ 67 w 471"/>
                  <a:gd name="T3" fmla="*/ 32 h 518"/>
                  <a:gd name="T4" fmla="*/ 40 w 471"/>
                  <a:gd name="T5" fmla="*/ 49 h 518"/>
                  <a:gd name="T6" fmla="*/ 27 w 471"/>
                  <a:gd name="T7" fmla="*/ 82 h 518"/>
                  <a:gd name="T8" fmla="*/ 8 w 471"/>
                  <a:gd name="T9" fmla="*/ 118 h 518"/>
                  <a:gd name="T10" fmla="*/ 7 w 471"/>
                  <a:gd name="T11" fmla="*/ 136 h 518"/>
                  <a:gd name="T12" fmla="*/ 30 w 471"/>
                  <a:gd name="T13" fmla="*/ 153 h 518"/>
                  <a:gd name="T14" fmla="*/ 50 w 471"/>
                  <a:gd name="T15" fmla="*/ 168 h 518"/>
                  <a:gd name="T16" fmla="*/ 62 w 471"/>
                  <a:gd name="T17" fmla="*/ 172 h 518"/>
                  <a:gd name="T18" fmla="*/ 75 w 471"/>
                  <a:gd name="T19" fmla="*/ 211 h 518"/>
                  <a:gd name="T20" fmla="*/ 84 w 471"/>
                  <a:gd name="T21" fmla="*/ 272 h 518"/>
                  <a:gd name="T22" fmla="*/ 94 w 471"/>
                  <a:gd name="T23" fmla="*/ 299 h 518"/>
                  <a:gd name="T24" fmla="*/ 104 w 471"/>
                  <a:gd name="T25" fmla="*/ 302 h 518"/>
                  <a:gd name="T26" fmla="*/ 112 w 471"/>
                  <a:gd name="T27" fmla="*/ 297 h 518"/>
                  <a:gd name="T28" fmla="*/ 128 w 471"/>
                  <a:gd name="T29" fmla="*/ 268 h 518"/>
                  <a:gd name="T30" fmla="*/ 145 w 471"/>
                  <a:gd name="T31" fmla="*/ 262 h 518"/>
                  <a:gd name="T32" fmla="*/ 160 w 471"/>
                  <a:gd name="T33" fmla="*/ 272 h 518"/>
                  <a:gd name="T34" fmla="*/ 173 w 471"/>
                  <a:gd name="T35" fmla="*/ 277 h 518"/>
                  <a:gd name="T36" fmla="*/ 183 w 471"/>
                  <a:gd name="T37" fmla="*/ 274 h 518"/>
                  <a:gd name="T38" fmla="*/ 192 w 471"/>
                  <a:gd name="T39" fmla="*/ 259 h 518"/>
                  <a:gd name="T40" fmla="*/ 203 w 471"/>
                  <a:gd name="T41" fmla="*/ 244 h 518"/>
                  <a:gd name="T42" fmla="*/ 212 w 471"/>
                  <a:gd name="T43" fmla="*/ 241 h 518"/>
                  <a:gd name="T44" fmla="*/ 241 w 471"/>
                  <a:gd name="T45" fmla="*/ 247 h 518"/>
                  <a:gd name="T46" fmla="*/ 259 w 471"/>
                  <a:gd name="T47" fmla="*/ 271 h 518"/>
                  <a:gd name="T48" fmla="*/ 308 w 471"/>
                  <a:gd name="T49" fmla="*/ 336 h 518"/>
                  <a:gd name="T50" fmla="*/ 341 w 471"/>
                  <a:gd name="T51" fmla="*/ 382 h 518"/>
                  <a:gd name="T52" fmla="*/ 358 w 471"/>
                  <a:gd name="T53" fmla="*/ 419 h 518"/>
                  <a:gd name="T54" fmla="*/ 366 w 471"/>
                  <a:gd name="T55" fmla="*/ 457 h 518"/>
                  <a:gd name="T56" fmla="*/ 359 w 471"/>
                  <a:gd name="T57" fmla="*/ 470 h 518"/>
                  <a:gd name="T58" fmla="*/ 339 w 471"/>
                  <a:gd name="T59" fmla="*/ 487 h 518"/>
                  <a:gd name="T60" fmla="*/ 363 w 471"/>
                  <a:gd name="T61" fmla="*/ 496 h 518"/>
                  <a:gd name="T62" fmla="*/ 392 w 471"/>
                  <a:gd name="T63" fmla="*/ 518 h 518"/>
                  <a:gd name="T64" fmla="*/ 401 w 471"/>
                  <a:gd name="T65" fmla="*/ 499 h 518"/>
                  <a:gd name="T66" fmla="*/ 413 w 471"/>
                  <a:gd name="T67" fmla="*/ 489 h 518"/>
                  <a:gd name="T68" fmla="*/ 444 w 471"/>
                  <a:gd name="T69" fmla="*/ 483 h 518"/>
                  <a:gd name="T70" fmla="*/ 468 w 471"/>
                  <a:gd name="T71" fmla="*/ 438 h 518"/>
                  <a:gd name="T72" fmla="*/ 449 w 471"/>
                  <a:gd name="T73" fmla="*/ 387 h 518"/>
                  <a:gd name="T74" fmla="*/ 421 w 471"/>
                  <a:gd name="T75" fmla="*/ 347 h 518"/>
                  <a:gd name="T76" fmla="*/ 345 w 471"/>
                  <a:gd name="T77" fmla="*/ 277 h 518"/>
                  <a:gd name="T78" fmla="*/ 279 w 471"/>
                  <a:gd name="T79" fmla="*/ 218 h 518"/>
                  <a:gd name="T80" fmla="*/ 224 w 471"/>
                  <a:gd name="T81" fmla="*/ 162 h 518"/>
                  <a:gd name="T82" fmla="*/ 179 w 471"/>
                  <a:gd name="T83" fmla="*/ 105 h 518"/>
                  <a:gd name="T84" fmla="*/ 127 w 471"/>
                  <a:gd name="T85" fmla="*/ 40 h 518"/>
                  <a:gd name="T86" fmla="*/ 115 w 471"/>
                  <a:gd name="T87" fmla="*/ 1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5" name="Freeform 277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8870152" y="3510648"/>
                <a:ext cx="177360" cy="130204"/>
              </a:xfrm>
              <a:custGeom>
                <a:avLst/>
                <a:gdLst>
                  <a:gd name="T0" fmla="*/ 152 w 293"/>
                  <a:gd name="T1" fmla="*/ 19 h 246"/>
                  <a:gd name="T2" fmla="*/ 179 w 293"/>
                  <a:gd name="T3" fmla="*/ 30 h 246"/>
                  <a:gd name="T4" fmla="*/ 196 w 293"/>
                  <a:gd name="T5" fmla="*/ 30 h 246"/>
                  <a:gd name="T6" fmla="*/ 202 w 293"/>
                  <a:gd name="T7" fmla="*/ 18 h 246"/>
                  <a:gd name="T8" fmla="*/ 210 w 293"/>
                  <a:gd name="T9" fmla="*/ 10 h 246"/>
                  <a:gd name="T10" fmla="*/ 219 w 293"/>
                  <a:gd name="T11" fmla="*/ 6 h 246"/>
                  <a:gd name="T12" fmla="*/ 245 w 293"/>
                  <a:gd name="T13" fmla="*/ 2 h 246"/>
                  <a:gd name="T14" fmla="*/ 293 w 293"/>
                  <a:gd name="T15" fmla="*/ 80 h 246"/>
                  <a:gd name="T16" fmla="*/ 266 w 293"/>
                  <a:gd name="T17" fmla="*/ 107 h 246"/>
                  <a:gd name="T18" fmla="*/ 237 w 293"/>
                  <a:gd name="T19" fmla="*/ 141 h 246"/>
                  <a:gd name="T20" fmla="*/ 225 w 293"/>
                  <a:gd name="T21" fmla="*/ 159 h 246"/>
                  <a:gd name="T22" fmla="*/ 215 w 293"/>
                  <a:gd name="T23" fmla="*/ 178 h 246"/>
                  <a:gd name="T24" fmla="*/ 209 w 293"/>
                  <a:gd name="T25" fmla="*/ 197 h 246"/>
                  <a:gd name="T26" fmla="*/ 206 w 293"/>
                  <a:gd name="T27" fmla="*/ 216 h 246"/>
                  <a:gd name="T28" fmla="*/ 196 w 293"/>
                  <a:gd name="T29" fmla="*/ 217 h 246"/>
                  <a:gd name="T30" fmla="*/ 186 w 293"/>
                  <a:gd name="T31" fmla="*/ 220 h 246"/>
                  <a:gd name="T32" fmla="*/ 170 w 293"/>
                  <a:gd name="T33" fmla="*/ 229 h 246"/>
                  <a:gd name="T34" fmla="*/ 154 w 293"/>
                  <a:gd name="T35" fmla="*/ 239 h 246"/>
                  <a:gd name="T36" fmla="*/ 133 w 293"/>
                  <a:gd name="T37" fmla="*/ 246 h 246"/>
                  <a:gd name="T38" fmla="*/ 102 w 293"/>
                  <a:gd name="T39" fmla="*/ 240 h 246"/>
                  <a:gd name="T40" fmla="*/ 71 w 293"/>
                  <a:gd name="T41" fmla="*/ 232 h 246"/>
                  <a:gd name="T42" fmla="*/ 59 w 293"/>
                  <a:gd name="T43" fmla="*/ 226 h 246"/>
                  <a:gd name="T44" fmla="*/ 49 w 293"/>
                  <a:gd name="T45" fmla="*/ 220 h 246"/>
                  <a:gd name="T46" fmla="*/ 43 w 293"/>
                  <a:gd name="T47" fmla="*/ 212 h 246"/>
                  <a:gd name="T48" fmla="*/ 41 w 293"/>
                  <a:gd name="T49" fmla="*/ 204 h 246"/>
                  <a:gd name="T50" fmla="*/ 47 w 293"/>
                  <a:gd name="T51" fmla="*/ 178 h 246"/>
                  <a:gd name="T52" fmla="*/ 45 w 293"/>
                  <a:gd name="T53" fmla="*/ 162 h 246"/>
                  <a:gd name="T54" fmla="*/ 40 w 293"/>
                  <a:gd name="T55" fmla="*/ 147 h 246"/>
                  <a:gd name="T56" fmla="*/ 24 w 293"/>
                  <a:gd name="T57" fmla="*/ 119 h 246"/>
                  <a:gd name="T58" fmla="*/ 8 w 293"/>
                  <a:gd name="T59" fmla="*/ 91 h 246"/>
                  <a:gd name="T60" fmla="*/ 2 w 293"/>
                  <a:gd name="T61" fmla="*/ 74 h 246"/>
                  <a:gd name="T62" fmla="*/ 0 w 293"/>
                  <a:gd name="T63" fmla="*/ 55 h 246"/>
                  <a:gd name="T64" fmla="*/ 2 w 293"/>
                  <a:gd name="T65" fmla="*/ 45 h 246"/>
                  <a:gd name="T66" fmla="*/ 8 w 293"/>
                  <a:gd name="T67" fmla="*/ 36 h 246"/>
                  <a:gd name="T68" fmla="*/ 17 w 293"/>
                  <a:gd name="T69" fmla="*/ 29 h 246"/>
                  <a:gd name="T70" fmla="*/ 26 w 293"/>
                  <a:gd name="T71" fmla="*/ 22 h 246"/>
                  <a:gd name="T72" fmla="*/ 48 w 293"/>
                  <a:gd name="T73" fmla="*/ 14 h 246"/>
                  <a:gd name="T74" fmla="*/ 67 w 293"/>
                  <a:gd name="T75" fmla="*/ 12 h 246"/>
                  <a:gd name="T76" fmla="*/ 96 w 293"/>
                  <a:gd name="T77" fmla="*/ 12 h 246"/>
                  <a:gd name="T78" fmla="*/ 133 w 293"/>
                  <a:gd name="T79" fmla="*/ 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6" name="Freeform 278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9404344" y="2746883"/>
                <a:ext cx="114018" cy="130204"/>
              </a:xfrm>
              <a:custGeom>
                <a:avLst/>
                <a:gdLst>
                  <a:gd name="T0" fmla="*/ 18 w 200"/>
                  <a:gd name="T1" fmla="*/ 41 h 246"/>
                  <a:gd name="T2" fmla="*/ 28 w 200"/>
                  <a:gd name="T3" fmla="*/ 26 h 246"/>
                  <a:gd name="T4" fmla="*/ 38 w 200"/>
                  <a:gd name="T5" fmla="*/ 16 h 246"/>
                  <a:gd name="T6" fmla="*/ 50 w 200"/>
                  <a:gd name="T7" fmla="*/ 9 h 246"/>
                  <a:gd name="T8" fmla="*/ 73 w 200"/>
                  <a:gd name="T9" fmla="*/ 1 h 246"/>
                  <a:gd name="T10" fmla="*/ 88 w 200"/>
                  <a:gd name="T11" fmla="*/ 12 h 246"/>
                  <a:gd name="T12" fmla="*/ 108 w 200"/>
                  <a:gd name="T13" fmla="*/ 34 h 246"/>
                  <a:gd name="T14" fmla="*/ 125 w 200"/>
                  <a:gd name="T15" fmla="*/ 50 h 246"/>
                  <a:gd name="T16" fmla="*/ 139 w 200"/>
                  <a:gd name="T17" fmla="*/ 58 h 246"/>
                  <a:gd name="T18" fmla="*/ 152 w 200"/>
                  <a:gd name="T19" fmla="*/ 64 h 246"/>
                  <a:gd name="T20" fmla="*/ 166 w 200"/>
                  <a:gd name="T21" fmla="*/ 67 h 246"/>
                  <a:gd name="T22" fmla="*/ 184 w 200"/>
                  <a:gd name="T23" fmla="*/ 96 h 246"/>
                  <a:gd name="T24" fmla="*/ 195 w 200"/>
                  <a:gd name="T25" fmla="*/ 137 h 246"/>
                  <a:gd name="T26" fmla="*/ 199 w 200"/>
                  <a:gd name="T27" fmla="*/ 165 h 246"/>
                  <a:gd name="T28" fmla="*/ 200 w 200"/>
                  <a:gd name="T29" fmla="*/ 185 h 246"/>
                  <a:gd name="T30" fmla="*/ 198 w 200"/>
                  <a:gd name="T31" fmla="*/ 197 h 246"/>
                  <a:gd name="T32" fmla="*/ 195 w 200"/>
                  <a:gd name="T33" fmla="*/ 207 h 246"/>
                  <a:gd name="T34" fmla="*/ 189 w 200"/>
                  <a:gd name="T35" fmla="*/ 214 h 246"/>
                  <a:gd name="T36" fmla="*/ 179 w 200"/>
                  <a:gd name="T37" fmla="*/ 220 h 246"/>
                  <a:gd name="T38" fmla="*/ 164 w 200"/>
                  <a:gd name="T39" fmla="*/ 224 h 246"/>
                  <a:gd name="T40" fmla="*/ 140 w 200"/>
                  <a:gd name="T41" fmla="*/ 224 h 246"/>
                  <a:gd name="T42" fmla="*/ 118 w 200"/>
                  <a:gd name="T43" fmla="*/ 229 h 246"/>
                  <a:gd name="T44" fmla="*/ 111 w 200"/>
                  <a:gd name="T45" fmla="*/ 235 h 246"/>
                  <a:gd name="T46" fmla="*/ 108 w 200"/>
                  <a:gd name="T47" fmla="*/ 242 h 246"/>
                  <a:gd name="T48" fmla="*/ 98 w 200"/>
                  <a:gd name="T49" fmla="*/ 245 h 246"/>
                  <a:gd name="T50" fmla="*/ 85 w 200"/>
                  <a:gd name="T51" fmla="*/ 240 h 246"/>
                  <a:gd name="T52" fmla="*/ 77 w 200"/>
                  <a:gd name="T53" fmla="*/ 230 h 246"/>
                  <a:gd name="T54" fmla="*/ 73 w 200"/>
                  <a:gd name="T55" fmla="*/ 216 h 246"/>
                  <a:gd name="T56" fmla="*/ 72 w 200"/>
                  <a:gd name="T57" fmla="*/ 192 h 246"/>
                  <a:gd name="T58" fmla="*/ 71 w 200"/>
                  <a:gd name="T59" fmla="*/ 168 h 246"/>
                  <a:gd name="T60" fmla="*/ 69 w 200"/>
                  <a:gd name="T61" fmla="*/ 154 h 246"/>
                  <a:gd name="T62" fmla="*/ 64 w 200"/>
                  <a:gd name="T63" fmla="*/ 142 h 246"/>
                  <a:gd name="T64" fmla="*/ 56 w 200"/>
                  <a:gd name="T65" fmla="*/ 134 h 246"/>
                  <a:gd name="T66" fmla="*/ 40 w 200"/>
                  <a:gd name="T67" fmla="*/ 125 h 246"/>
                  <a:gd name="T68" fmla="*/ 18 w 200"/>
                  <a:gd name="T69" fmla="*/ 115 h 246"/>
                  <a:gd name="T70" fmla="*/ 6 w 200"/>
                  <a:gd name="T71" fmla="*/ 106 h 246"/>
                  <a:gd name="T72" fmla="*/ 1 w 200"/>
                  <a:gd name="T73" fmla="*/ 98 h 246"/>
                  <a:gd name="T74" fmla="*/ 1 w 200"/>
                  <a:gd name="T75" fmla="*/ 87 h 246"/>
                  <a:gd name="T76" fmla="*/ 5 w 200"/>
                  <a:gd name="T77" fmla="*/ 78 h 246"/>
                  <a:gd name="T78" fmla="*/ 10 w 200"/>
                  <a:gd name="T79" fmla="*/ 68 h 246"/>
                  <a:gd name="T80" fmla="*/ 13 w 200"/>
                  <a:gd name="T81" fmla="*/ 5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7" name="Freeform 279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10160236" y="4044171"/>
                <a:ext cx="308270" cy="254059"/>
              </a:xfrm>
              <a:custGeom>
                <a:avLst/>
                <a:gdLst>
                  <a:gd name="T0" fmla="*/ 91 w 538"/>
                  <a:gd name="T1" fmla="*/ 21 h 487"/>
                  <a:gd name="T2" fmla="*/ 160 w 538"/>
                  <a:gd name="T3" fmla="*/ 47 h 487"/>
                  <a:gd name="T4" fmla="*/ 202 w 538"/>
                  <a:gd name="T5" fmla="*/ 70 h 487"/>
                  <a:gd name="T6" fmla="*/ 253 w 538"/>
                  <a:gd name="T7" fmla="*/ 110 h 487"/>
                  <a:gd name="T8" fmla="*/ 300 w 538"/>
                  <a:gd name="T9" fmla="*/ 136 h 487"/>
                  <a:gd name="T10" fmla="*/ 299 w 538"/>
                  <a:gd name="T11" fmla="*/ 161 h 487"/>
                  <a:gd name="T12" fmla="*/ 347 w 538"/>
                  <a:gd name="T13" fmla="*/ 205 h 487"/>
                  <a:gd name="T14" fmla="*/ 393 w 538"/>
                  <a:gd name="T15" fmla="*/ 248 h 487"/>
                  <a:gd name="T16" fmla="*/ 379 w 538"/>
                  <a:gd name="T17" fmla="*/ 250 h 487"/>
                  <a:gd name="T18" fmla="*/ 372 w 538"/>
                  <a:gd name="T19" fmla="*/ 256 h 487"/>
                  <a:gd name="T20" fmla="*/ 372 w 538"/>
                  <a:gd name="T21" fmla="*/ 278 h 487"/>
                  <a:gd name="T22" fmla="*/ 377 w 538"/>
                  <a:gd name="T23" fmla="*/ 301 h 487"/>
                  <a:gd name="T24" fmla="*/ 389 w 538"/>
                  <a:gd name="T25" fmla="*/ 325 h 487"/>
                  <a:gd name="T26" fmla="*/ 407 w 538"/>
                  <a:gd name="T27" fmla="*/ 348 h 487"/>
                  <a:gd name="T28" fmla="*/ 428 w 538"/>
                  <a:gd name="T29" fmla="*/ 366 h 487"/>
                  <a:gd name="T30" fmla="*/ 451 w 538"/>
                  <a:gd name="T31" fmla="*/ 376 h 487"/>
                  <a:gd name="T32" fmla="*/ 461 w 538"/>
                  <a:gd name="T33" fmla="*/ 390 h 487"/>
                  <a:gd name="T34" fmla="*/ 472 w 538"/>
                  <a:gd name="T35" fmla="*/ 406 h 487"/>
                  <a:gd name="T36" fmla="*/ 489 w 538"/>
                  <a:gd name="T37" fmla="*/ 417 h 487"/>
                  <a:gd name="T38" fmla="*/ 513 w 538"/>
                  <a:gd name="T39" fmla="*/ 432 h 487"/>
                  <a:gd name="T40" fmla="*/ 518 w 538"/>
                  <a:gd name="T41" fmla="*/ 444 h 487"/>
                  <a:gd name="T42" fmla="*/ 525 w 538"/>
                  <a:gd name="T43" fmla="*/ 450 h 487"/>
                  <a:gd name="T44" fmla="*/ 538 w 538"/>
                  <a:gd name="T45" fmla="*/ 456 h 487"/>
                  <a:gd name="T46" fmla="*/ 534 w 538"/>
                  <a:gd name="T47" fmla="*/ 472 h 487"/>
                  <a:gd name="T48" fmla="*/ 519 w 538"/>
                  <a:gd name="T49" fmla="*/ 484 h 487"/>
                  <a:gd name="T50" fmla="*/ 490 w 538"/>
                  <a:gd name="T51" fmla="*/ 487 h 487"/>
                  <a:gd name="T52" fmla="*/ 448 w 538"/>
                  <a:gd name="T53" fmla="*/ 480 h 487"/>
                  <a:gd name="T54" fmla="*/ 414 w 538"/>
                  <a:gd name="T55" fmla="*/ 466 h 487"/>
                  <a:gd name="T56" fmla="*/ 386 w 538"/>
                  <a:gd name="T57" fmla="*/ 446 h 487"/>
                  <a:gd name="T58" fmla="*/ 355 w 538"/>
                  <a:gd name="T59" fmla="*/ 415 h 487"/>
                  <a:gd name="T60" fmla="*/ 312 w 538"/>
                  <a:gd name="T61" fmla="*/ 365 h 487"/>
                  <a:gd name="T62" fmla="*/ 274 w 538"/>
                  <a:gd name="T63" fmla="*/ 330 h 487"/>
                  <a:gd name="T64" fmla="*/ 246 w 538"/>
                  <a:gd name="T65" fmla="*/ 316 h 487"/>
                  <a:gd name="T66" fmla="*/ 212 w 538"/>
                  <a:gd name="T67" fmla="*/ 309 h 487"/>
                  <a:gd name="T68" fmla="*/ 180 w 538"/>
                  <a:gd name="T69" fmla="*/ 310 h 487"/>
                  <a:gd name="T70" fmla="*/ 153 w 538"/>
                  <a:gd name="T71" fmla="*/ 317 h 487"/>
                  <a:gd name="T72" fmla="*/ 113 w 538"/>
                  <a:gd name="T73" fmla="*/ 345 h 487"/>
                  <a:gd name="T74" fmla="*/ 136 w 538"/>
                  <a:gd name="T75" fmla="*/ 361 h 487"/>
                  <a:gd name="T76" fmla="*/ 140 w 538"/>
                  <a:gd name="T77" fmla="*/ 370 h 487"/>
                  <a:gd name="T78" fmla="*/ 124 w 538"/>
                  <a:gd name="T79" fmla="*/ 401 h 487"/>
                  <a:gd name="T80" fmla="*/ 113 w 538"/>
                  <a:gd name="T81" fmla="*/ 414 h 487"/>
                  <a:gd name="T82" fmla="*/ 47 w 538"/>
                  <a:gd name="T83" fmla="*/ 403 h 487"/>
                  <a:gd name="T84" fmla="*/ 20 w 538"/>
                  <a:gd name="T85" fmla="*/ 259 h 487"/>
                  <a:gd name="T86" fmla="*/ 20 w 538"/>
                  <a:gd name="T87" fmla="*/ 0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8" name="Freeform 280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10415718" y="4028293"/>
                <a:ext cx="141465" cy="128617"/>
              </a:xfrm>
              <a:custGeom>
                <a:avLst/>
                <a:gdLst>
                  <a:gd name="T0" fmla="*/ 136 w 253"/>
                  <a:gd name="T1" fmla="*/ 1 h 246"/>
                  <a:gd name="T2" fmla="*/ 157 w 253"/>
                  <a:gd name="T3" fmla="*/ 8 h 246"/>
                  <a:gd name="T4" fmla="*/ 179 w 253"/>
                  <a:gd name="T5" fmla="*/ 21 h 246"/>
                  <a:gd name="T6" fmla="*/ 199 w 253"/>
                  <a:gd name="T7" fmla="*/ 37 h 246"/>
                  <a:gd name="T8" fmla="*/ 218 w 253"/>
                  <a:gd name="T9" fmla="*/ 57 h 246"/>
                  <a:gd name="T10" fmla="*/ 234 w 253"/>
                  <a:gd name="T11" fmla="*/ 76 h 246"/>
                  <a:gd name="T12" fmla="*/ 245 w 253"/>
                  <a:gd name="T13" fmla="*/ 94 h 246"/>
                  <a:gd name="T14" fmla="*/ 252 w 253"/>
                  <a:gd name="T15" fmla="*/ 111 h 246"/>
                  <a:gd name="T16" fmla="*/ 252 w 253"/>
                  <a:gd name="T17" fmla="*/ 128 h 246"/>
                  <a:gd name="T18" fmla="*/ 243 w 253"/>
                  <a:gd name="T19" fmla="*/ 151 h 246"/>
                  <a:gd name="T20" fmla="*/ 229 w 253"/>
                  <a:gd name="T21" fmla="*/ 174 h 246"/>
                  <a:gd name="T22" fmla="*/ 209 w 253"/>
                  <a:gd name="T23" fmla="*/ 195 h 246"/>
                  <a:gd name="T24" fmla="*/ 184 w 253"/>
                  <a:gd name="T25" fmla="*/ 214 h 246"/>
                  <a:gd name="T26" fmla="*/ 157 w 253"/>
                  <a:gd name="T27" fmla="*/ 229 h 246"/>
                  <a:gd name="T28" fmla="*/ 129 w 253"/>
                  <a:gd name="T29" fmla="*/ 240 h 246"/>
                  <a:gd name="T30" fmla="*/ 100 w 253"/>
                  <a:gd name="T31" fmla="*/ 245 h 246"/>
                  <a:gd name="T32" fmla="*/ 74 w 253"/>
                  <a:gd name="T33" fmla="*/ 245 h 246"/>
                  <a:gd name="T34" fmla="*/ 53 w 253"/>
                  <a:gd name="T35" fmla="*/ 240 h 246"/>
                  <a:gd name="T36" fmla="*/ 33 w 253"/>
                  <a:gd name="T37" fmla="*/ 234 h 246"/>
                  <a:gd name="T38" fmla="*/ 11 w 253"/>
                  <a:gd name="T39" fmla="*/ 229 h 246"/>
                  <a:gd name="T40" fmla="*/ 3 w 253"/>
                  <a:gd name="T41" fmla="*/ 219 h 246"/>
                  <a:gd name="T42" fmla="*/ 10 w 253"/>
                  <a:gd name="T43" fmla="*/ 205 h 246"/>
                  <a:gd name="T44" fmla="*/ 22 w 253"/>
                  <a:gd name="T45" fmla="*/ 196 h 246"/>
                  <a:gd name="T46" fmla="*/ 37 w 253"/>
                  <a:gd name="T47" fmla="*/ 191 h 246"/>
                  <a:gd name="T48" fmla="*/ 50 w 253"/>
                  <a:gd name="T49" fmla="*/ 197 h 246"/>
                  <a:gd name="T50" fmla="*/ 60 w 253"/>
                  <a:gd name="T51" fmla="*/ 207 h 246"/>
                  <a:gd name="T52" fmla="*/ 68 w 253"/>
                  <a:gd name="T53" fmla="*/ 201 h 246"/>
                  <a:gd name="T54" fmla="*/ 75 w 253"/>
                  <a:gd name="T55" fmla="*/ 190 h 246"/>
                  <a:gd name="T56" fmla="*/ 84 w 253"/>
                  <a:gd name="T57" fmla="*/ 180 h 246"/>
                  <a:gd name="T58" fmla="*/ 91 w 253"/>
                  <a:gd name="T59" fmla="*/ 181 h 246"/>
                  <a:gd name="T60" fmla="*/ 98 w 253"/>
                  <a:gd name="T61" fmla="*/ 179 h 246"/>
                  <a:gd name="T62" fmla="*/ 106 w 253"/>
                  <a:gd name="T63" fmla="*/ 178 h 246"/>
                  <a:gd name="T64" fmla="*/ 120 w 253"/>
                  <a:gd name="T65" fmla="*/ 174 h 246"/>
                  <a:gd name="T66" fmla="*/ 149 w 253"/>
                  <a:gd name="T67" fmla="*/ 164 h 246"/>
                  <a:gd name="T68" fmla="*/ 179 w 253"/>
                  <a:gd name="T69" fmla="*/ 147 h 246"/>
                  <a:gd name="T70" fmla="*/ 197 w 253"/>
                  <a:gd name="T71" fmla="*/ 135 h 246"/>
                  <a:gd name="T72" fmla="*/ 210 w 253"/>
                  <a:gd name="T73" fmla="*/ 123 h 246"/>
                  <a:gd name="T74" fmla="*/ 218 w 253"/>
                  <a:gd name="T75" fmla="*/ 111 h 246"/>
                  <a:gd name="T76" fmla="*/ 219 w 253"/>
                  <a:gd name="T77" fmla="*/ 98 h 246"/>
                  <a:gd name="T78" fmla="*/ 214 w 253"/>
                  <a:gd name="T79" fmla="*/ 88 h 246"/>
                  <a:gd name="T80" fmla="*/ 210 w 253"/>
                  <a:gd name="T81" fmla="*/ 80 h 246"/>
                  <a:gd name="T82" fmla="*/ 207 w 253"/>
                  <a:gd name="T83" fmla="*/ 72 h 246"/>
                  <a:gd name="T84" fmla="*/ 201 w 253"/>
                  <a:gd name="T85" fmla="*/ 67 h 246"/>
                  <a:gd name="T86" fmla="*/ 191 w 253"/>
                  <a:gd name="T87" fmla="*/ 65 h 246"/>
                  <a:gd name="T88" fmla="*/ 184 w 253"/>
                  <a:gd name="T89" fmla="*/ 61 h 246"/>
                  <a:gd name="T90" fmla="*/ 180 w 253"/>
                  <a:gd name="T91" fmla="*/ 54 h 246"/>
                  <a:gd name="T92" fmla="*/ 140 w 253"/>
                  <a:gd name="T93" fmla="*/ 49 h 246"/>
                  <a:gd name="T94" fmla="*/ 136 w 253"/>
                  <a:gd name="T95" fmla="*/ 44 h 246"/>
                  <a:gd name="T96" fmla="*/ 136 w 253"/>
                  <a:gd name="T97" fmla="*/ 36 h 246"/>
                  <a:gd name="T98" fmla="*/ 140 w 253"/>
                  <a:gd name="T99" fmla="*/ 18 h 246"/>
                  <a:gd name="T100" fmla="*/ 110 w 253"/>
                  <a:gd name="T101" fmla="*/ 11 h 246"/>
                  <a:gd name="T102" fmla="*/ 97 w 253"/>
                  <a:gd name="T103" fmla="*/ 12 h 246"/>
                  <a:gd name="T104" fmla="*/ 86 w 253"/>
                  <a:gd name="T105" fmla="*/ 18 h 246"/>
                  <a:gd name="T106" fmla="*/ 104 w 253"/>
                  <a:gd name="T107" fmla="*/ 5 h 246"/>
                  <a:gd name="T108" fmla="*/ 113 w 253"/>
                  <a:gd name="T109" fmla="*/ 1 h 246"/>
                  <a:gd name="T110" fmla="*/ 127 w 253"/>
                  <a:gd name="T111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9" name="Freeform 281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8122705" y="3661495"/>
                <a:ext cx="84456" cy="119091"/>
              </a:xfrm>
              <a:custGeom>
                <a:avLst/>
                <a:gdLst>
                  <a:gd name="T0" fmla="*/ 41 w 141"/>
                  <a:gd name="T1" fmla="*/ 228 h 228"/>
                  <a:gd name="T2" fmla="*/ 36 w 141"/>
                  <a:gd name="T3" fmla="*/ 220 h 228"/>
                  <a:gd name="T4" fmla="*/ 29 w 141"/>
                  <a:gd name="T5" fmla="*/ 208 h 228"/>
                  <a:gd name="T6" fmla="*/ 22 w 141"/>
                  <a:gd name="T7" fmla="*/ 194 h 228"/>
                  <a:gd name="T8" fmla="*/ 16 w 141"/>
                  <a:gd name="T9" fmla="*/ 178 h 228"/>
                  <a:gd name="T10" fmla="*/ 10 w 141"/>
                  <a:gd name="T11" fmla="*/ 163 h 228"/>
                  <a:gd name="T12" fmla="*/ 5 w 141"/>
                  <a:gd name="T13" fmla="*/ 148 h 228"/>
                  <a:gd name="T14" fmla="*/ 2 w 141"/>
                  <a:gd name="T15" fmla="*/ 135 h 228"/>
                  <a:gd name="T16" fmla="*/ 0 w 141"/>
                  <a:gd name="T17" fmla="*/ 123 h 228"/>
                  <a:gd name="T18" fmla="*/ 2 w 141"/>
                  <a:gd name="T19" fmla="*/ 104 h 228"/>
                  <a:gd name="T20" fmla="*/ 4 w 141"/>
                  <a:gd name="T21" fmla="*/ 87 h 228"/>
                  <a:gd name="T22" fmla="*/ 6 w 141"/>
                  <a:gd name="T23" fmla="*/ 70 h 228"/>
                  <a:gd name="T24" fmla="*/ 9 w 141"/>
                  <a:gd name="T25" fmla="*/ 55 h 228"/>
                  <a:gd name="T26" fmla="*/ 18 w 141"/>
                  <a:gd name="T27" fmla="*/ 28 h 228"/>
                  <a:gd name="T28" fmla="*/ 28 w 141"/>
                  <a:gd name="T29" fmla="*/ 0 h 228"/>
                  <a:gd name="T30" fmla="*/ 45 w 141"/>
                  <a:gd name="T31" fmla="*/ 16 h 228"/>
                  <a:gd name="T32" fmla="*/ 62 w 141"/>
                  <a:gd name="T33" fmla="*/ 28 h 228"/>
                  <a:gd name="T34" fmla="*/ 76 w 141"/>
                  <a:gd name="T35" fmla="*/ 37 h 228"/>
                  <a:gd name="T36" fmla="*/ 89 w 141"/>
                  <a:gd name="T37" fmla="*/ 48 h 228"/>
                  <a:gd name="T38" fmla="*/ 95 w 141"/>
                  <a:gd name="T39" fmla="*/ 55 h 228"/>
                  <a:gd name="T40" fmla="*/ 101 w 141"/>
                  <a:gd name="T41" fmla="*/ 63 h 228"/>
                  <a:gd name="T42" fmla="*/ 107 w 141"/>
                  <a:gd name="T43" fmla="*/ 74 h 228"/>
                  <a:gd name="T44" fmla="*/ 114 w 141"/>
                  <a:gd name="T45" fmla="*/ 86 h 228"/>
                  <a:gd name="T46" fmla="*/ 120 w 141"/>
                  <a:gd name="T47" fmla="*/ 100 h 228"/>
                  <a:gd name="T48" fmla="*/ 127 w 141"/>
                  <a:gd name="T49" fmla="*/ 117 h 228"/>
                  <a:gd name="T50" fmla="*/ 133 w 141"/>
                  <a:gd name="T51" fmla="*/ 138 h 228"/>
                  <a:gd name="T52" fmla="*/ 141 w 141"/>
                  <a:gd name="T53" fmla="*/ 161 h 228"/>
                  <a:gd name="T54" fmla="*/ 140 w 141"/>
                  <a:gd name="T55" fmla="*/ 169 h 228"/>
                  <a:gd name="T56" fmla="*/ 138 w 141"/>
                  <a:gd name="T57" fmla="*/ 177 h 228"/>
                  <a:gd name="T58" fmla="*/ 135 w 141"/>
                  <a:gd name="T59" fmla="*/ 186 h 228"/>
                  <a:gd name="T60" fmla="*/ 131 w 141"/>
                  <a:gd name="T61" fmla="*/ 192 h 228"/>
                  <a:gd name="T62" fmla="*/ 127 w 141"/>
                  <a:gd name="T63" fmla="*/ 199 h 228"/>
                  <a:gd name="T64" fmla="*/ 121 w 141"/>
                  <a:gd name="T65" fmla="*/ 204 h 228"/>
                  <a:gd name="T66" fmla="*/ 115 w 141"/>
                  <a:gd name="T67" fmla="*/ 209 h 228"/>
                  <a:gd name="T68" fmla="*/ 108 w 141"/>
                  <a:gd name="T69" fmla="*/ 213 h 228"/>
                  <a:gd name="T70" fmla="*/ 100 w 141"/>
                  <a:gd name="T71" fmla="*/ 217 h 228"/>
                  <a:gd name="T72" fmla="*/ 93 w 141"/>
                  <a:gd name="T73" fmla="*/ 220 h 228"/>
                  <a:gd name="T74" fmla="*/ 85 w 141"/>
                  <a:gd name="T75" fmla="*/ 223 h 228"/>
                  <a:gd name="T76" fmla="*/ 76 w 141"/>
                  <a:gd name="T77" fmla="*/ 225 h 228"/>
                  <a:gd name="T78" fmla="*/ 59 w 141"/>
                  <a:gd name="T79" fmla="*/ 227 h 228"/>
                  <a:gd name="T80" fmla="*/ 41 w 141"/>
                  <a:gd name="T8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790" name="Group 282"/>
              <p:cNvGrpSpPr>
                <a:grpSpLocks/>
              </p:cNvGrpSpPr>
              <p:nvPr>
                <p:custDataLst>
                  <p:tags r:id="rId202"/>
                </p:custDataLst>
              </p:nvPr>
            </p:nvGrpSpPr>
            <p:grpSpPr bwMode="auto">
              <a:xfrm>
                <a:off x="9372672" y="3372503"/>
                <a:ext cx="310380" cy="439839"/>
                <a:chOff x="5062" y="2295"/>
                <a:chExt cx="177" cy="279"/>
              </a:xfrm>
              <a:grpFill/>
            </p:grpSpPr>
            <p:sp>
              <p:nvSpPr>
                <p:cNvPr id="1044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39 w 60"/>
                    <a:gd name="T1" fmla="*/ 110 h 110"/>
                    <a:gd name="T2" fmla="*/ 42 w 60"/>
                    <a:gd name="T3" fmla="*/ 109 h 110"/>
                    <a:gd name="T4" fmla="*/ 46 w 60"/>
                    <a:gd name="T5" fmla="*/ 106 h 110"/>
                    <a:gd name="T6" fmla="*/ 49 w 60"/>
                    <a:gd name="T7" fmla="*/ 101 h 110"/>
                    <a:gd name="T8" fmla="*/ 52 w 60"/>
                    <a:gd name="T9" fmla="*/ 96 h 110"/>
                    <a:gd name="T10" fmla="*/ 54 w 60"/>
                    <a:gd name="T11" fmla="*/ 90 h 110"/>
                    <a:gd name="T12" fmla="*/ 57 w 60"/>
                    <a:gd name="T13" fmla="*/ 84 h 110"/>
                    <a:gd name="T14" fmla="*/ 59 w 60"/>
                    <a:gd name="T15" fmla="*/ 78 h 110"/>
                    <a:gd name="T16" fmla="*/ 60 w 60"/>
                    <a:gd name="T17" fmla="*/ 73 h 110"/>
                    <a:gd name="T18" fmla="*/ 59 w 60"/>
                    <a:gd name="T19" fmla="*/ 60 h 110"/>
                    <a:gd name="T20" fmla="*/ 58 w 60"/>
                    <a:gd name="T21" fmla="*/ 48 h 110"/>
                    <a:gd name="T22" fmla="*/ 57 w 60"/>
                    <a:gd name="T23" fmla="*/ 38 h 110"/>
                    <a:gd name="T24" fmla="*/ 54 w 60"/>
                    <a:gd name="T25" fmla="*/ 29 h 110"/>
                    <a:gd name="T26" fmla="*/ 51 w 60"/>
                    <a:gd name="T27" fmla="*/ 21 h 110"/>
                    <a:gd name="T28" fmla="*/ 48 w 60"/>
                    <a:gd name="T29" fmla="*/ 13 h 110"/>
                    <a:gd name="T30" fmla="*/ 45 w 60"/>
                    <a:gd name="T31" fmla="*/ 6 h 110"/>
                    <a:gd name="T32" fmla="*/ 39 w 60"/>
                    <a:gd name="T33" fmla="*/ 0 h 110"/>
                    <a:gd name="T34" fmla="*/ 35 w 60"/>
                    <a:gd name="T35" fmla="*/ 3 h 110"/>
                    <a:gd name="T36" fmla="*/ 30 w 60"/>
                    <a:gd name="T37" fmla="*/ 8 h 110"/>
                    <a:gd name="T38" fmla="*/ 27 w 60"/>
                    <a:gd name="T39" fmla="*/ 13 h 110"/>
                    <a:gd name="T40" fmla="*/ 24 w 60"/>
                    <a:gd name="T41" fmla="*/ 18 h 110"/>
                    <a:gd name="T42" fmla="*/ 18 w 60"/>
                    <a:gd name="T43" fmla="*/ 29 h 110"/>
                    <a:gd name="T44" fmla="*/ 15 w 60"/>
                    <a:gd name="T45" fmla="*/ 40 h 110"/>
                    <a:gd name="T46" fmla="*/ 10 w 60"/>
                    <a:gd name="T47" fmla="*/ 51 h 110"/>
                    <a:gd name="T48" fmla="*/ 7 w 60"/>
                    <a:gd name="T49" fmla="*/ 62 h 110"/>
                    <a:gd name="T50" fmla="*/ 6 w 60"/>
                    <a:gd name="T51" fmla="*/ 66 h 110"/>
                    <a:gd name="T52" fmla="*/ 4 w 60"/>
                    <a:gd name="T53" fmla="*/ 69 h 110"/>
                    <a:gd name="T54" fmla="*/ 2 w 60"/>
                    <a:gd name="T55" fmla="*/ 72 h 110"/>
                    <a:gd name="T56" fmla="*/ 0 w 60"/>
                    <a:gd name="T57" fmla="*/ 73 h 110"/>
                    <a:gd name="T58" fmla="*/ 1 w 60"/>
                    <a:gd name="T59" fmla="*/ 78 h 110"/>
                    <a:gd name="T60" fmla="*/ 3 w 60"/>
                    <a:gd name="T61" fmla="*/ 84 h 110"/>
                    <a:gd name="T62" fmla="*/ 7 w 60"/>
                    <a:gd name="T63" fmla="*/ 90 h 110"/>
                    <a:gd name="T64" fmla="*/ 12 w 60"/>
                    <a:gd name="T65" fmla="*/ 96 h 110"/>
                    <a:gd name="T66" fmla="*/ 18 w 60"/>
                    <a:gd name="T67" fmla="*/ 101 h 110"/>
                    <a:gd name="T68" fmla="*/ 25 w 60"/>
                    <a:gd name="T69" fmla="*/ 106 h 110"/>
                    <a:gd name="T70" fmla="*/ 32 w 60"/>
                    <a:gd name="T71" fmla="*/ 109 h 110"/>
                    <a:gd name="T72" fmla="*/ 39 w 60"/>
                    <a:gd name="T73" fmla="*/ 1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5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13 h 75"/>
                    <a:gd name="T2" fmla="*/ 8 w 72"/>
                    <a:gd name="T3" fmla="*/ 18 h 75"/>
                    <a:gd name="T4" fmla="*/ 15 w 72"/>
                    <a:gd name="T5" fmla="*/ 25 h 75"/>
                    <a:gd name="T6" fmla="*/ 23 w 72"/>
                    <a:gd name="T7" fmla="*/ 32 h 75"/>
                    <a:gd name="T8" fmla="*/ 31 w 72"/>
                    <a:gd name="T9" fmla="*/ 40 h 75"/>
                    <a:gd name="T10" fmla="*/ 37 w 72"/>
                    <a:gd name="T11" fmla="*/ 48 h 75"/>
                    <a:gd name="T12" fmla="*/ 42 w 72"/>
                    <a:gd name="T13" fmla="*/ 57 h 75"/>
                    <a:gd name="T14" fmla="*/ 45 w 72"/>
                    <a:gd name="T15" fmla="*/ 65 h 75"/>
                    <a:gd name="T16" fmla="*/ 46 w 72"/>
                    <a:gd name="T17" fmla="*/ 75 h 75"/>
                    <a:gd name="T18" fmla="*/ 72 w 72"/>
                    <a:gd name="T19" fmla="*/ 75 h 75"/>
                    <a:gd name="T20" fmla="*/ 65 w 72"/>
                    <a:gd name="T21" fmla="*/ 50 h 75"/>
                    <a:gd name="T22" fmla="*/ 60 w 72"/>
                    <a:gd name="T23" fmla="*/ 34 h 75"/>
                    <a:gd name="T24" fmla="*/ 60 w 72"/>
                    <a:gd name="T25" fmla="*/ 27 h 75"/>
                    <a:gd name="T26" fmla="*/ 63 w 72"/>
                    <a:gd name="T27" fmla="*/ 19 h 75"/>
                    <a:gd name="T28" fmla="*/ 67 w 72"/>
                    <a:gd name="T29" fmla="*/ 11 h 75"/>
                    <a:gd name="T30" fmla="*/ 72 w 72"/>
                    <a:gd name="T31" fmla="*/ 1 h 75"/>
                    <a:gd name="T32" fmla="*/ 52 w 72"/>
                    <a:gd name="T33" fmla="*/ 0 h 75"/>
                    <a:gd name="T34" fmla="*/ 32 w 72"/>
                    <a:gd name="T35" fmla="*/ 0 h 75"/>
                    <a:gd name="T36" fmla="*/ 22 w 72"/>
                    <a:gd name="T37" fmla="*/ 1 h 75"/>
                    <a:gd name="T38" fmla="*/ 13 w 72"/>
                    <a:gd name="T39" fmla="*/ 3 h 75"/>
                    <a:gd name="T40" fmla="*/ 9 w 72"/>
                    <a:gd name="T41" fmla="*/ 5 h 75"/>
                    <a:gd name="T42" fmla="*/ 6 w 72"/>
                    <a:gd name="T43" fmla="*/ 7 h 75"/>
                    <a:gd name="T44" fmla="*/ 2 w 72"/>
                    <a:gd name="T45" fmla="*/ 10 h 75"/>
                    <a:gd name="T46" fmla="*/ 0 w 72"/>
                    <a:gd name="T47" fmla="*/ 1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6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5 w 15"/>
                    <a:gd name="T1" fmla="*/ 49 h 49"/>
                    <a:gd name="T2" fmla="*/ 15 w 15"/>
                    <a:gd name="T3" fmla="*/ 33 h 49"/>
                    <a:gd name="T4" fmla="*/ 15 w 15"/>
                    <a:gd name="T5" fmla="*/ 19 h 49"/>
                    <a:gd name="T6" fmla="*/ 14 w 15"/>
                    <a:gd name="T7" fmla="*/ 13 h 49"/>
                    <a:gd name="T8" fmla="*/ 13 w 15"/>
                    <a:gd name="T9" fmla="*/ 7 h 49"/>
                    <a:gd name="T10" fmla="*/ 11 w 15"/>
                    <a:gd name="T11" fmla="*/ 3 h 49"/>
                    <a:gd name="T12" fmla="*/ 9 w 15"/>
                    <a:gd name="T13" fmla="*/ 0 h 49"/>
                    <a:gd name="T14" fmla="*/ 4 w 15"/>
                    <a:gd name="T15" fmla="*/ 7 h 49"/>
                    <a:gd name="T16" fmla="*/ 2 w 15"/>
                    <a:gd name="T17" fmla="*/ 15 h 49"/>
                    <a:gd name="T18" fmla="*/ 0 w 15"/>
                    <a:gd name="T19" fmla="*/ 23 h 49"/>
                    <a:gd name="T20" fmla="*/ 0 w 15"/>
                    <a:gd name="T21" fmla="*/ 30 h 49"/>
                    <a:gd name="T22" fmla="*/ 1 w 15"/>
                    <a:gd name="T23" fmla="*/ 36 h 49"/>
                    <a:gd name="T24" fmla="*/ 4 w 15"/>
                    <a:gd name="T25" fmla="*/ 42 h 49"/>
                    <a:gd name="T26" fmla="*/ 7 w 15"/>
                    <a:gd name="T27" fmla="*/ 44 h 49"/>
                    <a:gd name="T28" fmla="*/ 9 w 15"/>
                    <a:gd name="T29" fmla="*/ 46 h 49"/>
                    <a:gd name="T30" fmla="*/ 12 w 15"/>
                    <a:gd name="T31" fmla="*/ 48 h 49"/>
                    <a:gd name="T32" fmla="*/ 15 w 15"/>
                    <a:gd name="T33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7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20 w 47"/>
                    <a:gd name="T1" fmla="*/ 6 h 40"/>
                    <a:gd name="T2" fmla="*/ 0 w 47"/>
                    <a:gd name="T3" fmla="*/ 37 h 40"/>
                    <a:gd name="T4" fmla="*/ 6 w 47"/>
                    <a:gd name="T5" fmla="*/ 39 h 40"/>
                    <a:gd name="T6" fmla="*/ 12 w 47"/>
                    <a:gd name="T7" fmla="*/ 40 h 40"/>
                    <a:gd name="T8" fmla="*/ 19 w 47"/>
                    <a:gd name="T9" fmla="*/ 39 h 40"/>
                    <a:gd name="T10" fmla="*/ 26 w 47"/>
                    <a:gd name="T11" fmla="*/ 38 h 40"/>
                    <a:gd name="T12" fmla="*/ 32 w 47"/>
                    <a:gd name="T13" fmla="*/ 36 h 40"/>
                    <a:gd name="T14" fmla="*/ 39 w 47"/>
                    <a:gd name="T15" fmla="*/ 33 h 40"/>
                    <a:gd name="T16" fmla="*/ 43 w 47"/>
                    <a:gd name="T17" fmla="*/ 30 h 40"/>
                    <a:gd name="T18" fmla="*/ 47 w 47"/>
                    <a:gd name="T19" fmla="*/ 25 h 40"/>
                    <a:gd name="T20" fmla="*/ 47 w 47"/>
                    <a:gd name="T21" fmla="*/ 0 h 40"/>
                    <a:gd name="T22" fmla="*/ 41 w 47"/>
                    <a:gd name="T23" fmla="*/ 0 h 40"/>
                    <a:gd name="T24" fmla="*/ 33 w 47"/>
                    <a:gd name="T25" fmla="*/ 1 h 40"/>
                    <a:gd name="T26" fmla="*/ 26 w 47"/>
                    <a:gd name="T27" fmla="*/ 3 h 40"/>
                    <a:gd name="T28" fmla="*/ 20 w 47"/>
                    <a:gd name="T29" fmla="*/ 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8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3 w 39"/>
                    <a:gd name="T3" fmla="*/ 8 h 31"/>
                    <a:gd name="T4" fmla="*/ 6 w 39"/>
                    <a:gd name="T5" fmla="*/ 13 h 31"/>
                    <a:gd name="T6" fmla="*/ 12 w 39"/>
                    <a:gd name="T7" fmla="*/ 19 h 31"/>
                    <a:gd name="T8" fmla="*/ 17 w 39"/>
                    <a:gd name="T9" fmla="*/ 23 h 31"/>
                    <a:gd name="T10" fmla="*/ 23 w 39"/>
                    <a:gd name="T11" fmla="*/ 26 h 31"/>
                    <a:gd name="T12" fmla="*/ 28 w 39"/>
                    <a:gd name="T13" fmla="*/ 29 h 31"/>
                    <a:gd name="T14" fmla="*/ 34 w 39"/>
                    <a:gd name="T15" fmla="*/ 31 h 31"/>
                    <a:gd name="T16" fmla="*/ 39 w 39"/>
                    <a:gd name="T17" fmla="*/ 31 h 31"/>
                    <a:gd name="T18" fmla="*/ 33 w 39"/>
                    <a:gd name="T19" fmla="*/ 22 h 31"/>
                    <a:gd name="T20" fmla="*/ 25 w 39"/>
                    <a:gd name="T21" fmla="*/ 14 h 31"/>
                    <a:gd name="T22" fmla="*/ 16 w 39"/>
                    <a:gd name="T23" fmla="*/ 7 h 31"/>
                    <a:gd name="T24" fmla="*/ 6 w 39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9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34 w 34"/>
                    <a:gd name="T3" fmla="*/ 19 h 19"/>
                    <a:gd name="T4" fmla="*/ 34 w 34"/>
                    <a:gd name="T5" fmla="*/ 0 h 19"/>
                    <a:gd name="T6" fmla="*/ 24 w 34"/>
                    <a:gd name="T7" fmla="*/ 0 h 19"/>
                    <a:gd name="T8" fmla="*/ 14 w 34"/>
                    <a:gd name="T9" fmla="*/ 0 h 19"/>
                    <a:gd name="T10" fmla="*/ 7 w 34"/>
                    <a:gd name="T11" fmla="*/ 0 h 19"/>
                    <a:gd name="T12" fmla="*/ 0 w 34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0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9 w 19"/>
                    <a:gd name="T3" fmla="*/ 12 h 12"/>
                    <a:gd name="T4" fmla="*/ 13 w 19"/>
                    <a:gd name="T5" fmla="*/ 6 h 12"/>
                    <a:gd name="T6" fmla="*/ 6 w 19"/>
                    <a:gd name="T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1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113 w 126"/>
                    <a:gd name="T1" fmla="*/ 0 h 166"/>
                    <a:gd name="T2" fmla="*/ 117 w 126"/>
                    <a:gd name="T3" fmla="*/ 5 h 166"/>
                    <a:gd name="T4" fmla="*/ 121 w 126"/>
                    <a:gd name="T5" fmla="*/ 10 h 166"/>
                    <a:gd name="T6" fmla="*/ 124 w 126"/>
                    <a:gd name="T7" fmla="*/ 13 h 166"/>
                    <a:gd name="T8" fmla="*/ 125 w 126"/>
                    <a:gd name="T9" fmla="*/ 17 h 166"/>
                    <a:gd name="T10" fmla="*/ 126 w 126"/>
                    <a:gd name="T11" fmla="*/ 20 h 166"/>
                    <a:gd name="T12" fmla="*/ 126 w 126"/>
                    <a:gd name="T13" fmla="*/ 25 h 166"/>
                    <a:gd name="T14" fmla="*/ 123 w 126"/>
                    <a:gd name="T15" fmla="*/ 32 h 166"/>
                    <a:gd name="T16" fmla="*/ 118 w 126"/>
                    <a:gd name="T17" fmla="*/ 41 h 166"/>
                    <a:gd name="T18" fmla="*/ 113 w 126"/>
                    <a:gd name="T19" fmla="*/ 50 h 166"/>
                    <a:gd name="T20" fmla="*/ 106 w 126"/>
                    <a:gd name="T21" fmla="*/ 61 h 166"/>
                    <a:gd name="T22" fmla="*/ 91 w 126"/>
                    <a:gd name="T23" fmla="*/ 83 h 166"/>
                    <a:gd name="T24" fmla="*/ 72 w 126"/>
                    <a:gd name="T25" fmla="*/ 104 h 166"/>
                    <a:gd name="T26" fmla="*/ 53 w 126"/>
                    <a:gd name="T27" fmla="*/ 126 h 166"/>
                    <a:gd name="T28" fmla="*/ 34 w 126"/>
                    <a:gd name="T29" fmla="*/ 144 h 166"/>
                    <a:gd name="T30" fmla="*/ 25 w 126"/>
                    <a:gd name="T31" fmla="*/ 152 h 166"/>
                    <a:gd name="T32" fmla="*/ 16 w 126"/>
                    <a:gd name="T33" fmla="*/ 158 h 166"/>
                    <a:gd name="T34" fmla="*/ 7 w 126"/>
                    <a:gd name="T35" fmla="*/ 163 h 166"/>
                    <a:gd name="T36" fmla="*/ 0 w 126"/>
                    <a:gd name="T37" fmla="*/ 166 h 166"/>
                    <a:gd name="T38" fmla="*/ 0 w 126"/>
                    <a:gd name="T39" fmla="*/ 160 h 166"/>
                    <a:gd name="T40" fmla="*/ 0 w 126"/>
                    <a:gd name="T41" fmla="*/ 153 h 166"/>
                    <a:gd name="T42" fmla="*/ 0 w 126"/>
                    <a:gd name="T43" fmla="*/ 145 h 166"/>
                    <a:gd name="T44" fmla="*/ 0 w 126"/>
                    <a:gd name="T45" fmla="*/ 136 h 166"/>
                    <a:gd name="T46" fmla="*/ 3 w 126"/>
                    <a:gd name="T47" fmla="*/ 131 h 166"/>
                    <a:gd name="T48" fmla="*/ 6 w 126"/>
                    <a:gd name="T49" fmla="*/ 128 h 166"/>
                    <a:gd name="T50" fmla="*/ 12 w 126"/>
                    <a:gd name="T51" fmla="*/ 124 h 166"/>
                    <a:gd name="T52" fmla="*/ 16 w 126"/>
                    <a:gd name="T53" fmla="*/ 121 h 166"/>
                    <a:gd name="T54" fmla="*/ 26 w 126"/>
                    <a:gd name="T55" fmla="*/ 116 h 166"/>
                    <a:gd name="T56" fmla="*/ 33 w 126"/>
                    <a:gd name="T57" fmla="*/ 110 h 166"/>
                    <a:gd name="T58" fmla="*/ 40 w 126"/>
                    <a:gd name="T59" fmla="*/ 104 h 166"/>
                    <a:gd name="T60" fmla="*/ 48 w 126"/>
                    <a:gd name="T61" fmla="*/ 96 h 166"/>
                    <a:gd name="T62" fmla="*/ 53 w 126"/>
                    <a:gd name="T63" fmla="*/ 89 h 166"/>
                    <a:gd name="T64" fmla="*/ 58 w 126"/>
                    <a:gd name="T65" fmla="*/ 82 h 166"/>
                    <a:gd name="T66" fmla="*/ 67 w 126"/>
                    <a:gd name="T67" fmla="*/ 66 h 166"/>
                    <a:gd name="T68" fmla="*/ 72 w 126"/>
                    <a:gd name="T69" fmla="*/ 50 h 166"/>
                    <a:gd name="T70" fmla="*/ 79 w 126"/>
                    <a:gd name="T71" fmla="*/ 36 h 166"/>
                    <a:gd name="T72" fmla="*/ 87 w 126"/>
                    <a:gd name="T73" fmla="*/ 23 h 166"/>
                    <a:gd name="T74" fmla="*/ 92 w 126"/>
                    <a:gd name="T75" fmla="*/ 16 h 166"/>
                    <a:gd name="T76" fmla="*/ 97 w 126"/>
                    <a:gd name="T77" fmla="*/ 11 h 166"/>
                    <a:gd name="T78" fmla="*/ 104 w 126"/>
                    <a:gd name="T79" fmla="*/ 5 h 166"/>
                    <a:gd name="T80" fmla="*/ 113 w 126"/>
                    <a:gd name="T81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2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8 w 259"/>
                    <a:gd name="T1" fmla="*/ 182 h 259"/>
                    <a:gd name="T2" fmla="*/ 1 w 259"/>
                    <a:gd name="T3" fmla="*/ 163 h 259"/>
                    <a:gd name="T4" fmla="*/ 0 w 259"/>
                    <a:gd name="T5" fmla="*/ 142 h 259"/>
                    <a:gd name="T6" fmla="*/ 6 w 259"/>
                    <a:gd name="T7" fmla="*/ 130 h 259"/>
                    <a:gd name="T8" fmla="*/ 19 w 259"/>
                    <a:gd name="T9" fmla="*/ 126 h 259"/>
                    <a:gd name="T10" fmla="*/ 34 w 259"/>
                    <a:gd name="T11" fmla="*/ 117 h 259"/>
                    <a:gd name="T12" fmla="*/ 48 w 259"/>
                    <a:gd name="T13" fmla="*/ 100 h 259"/>
                    <a:gd name="T14" fmla="*/ 60 w 259"/>
                    <a:gd name="T15" fmla="*/ 91 h 259"/>
                    <a:gd name="T16" fmla="*/ 68 w 259"/>
                    <a:gd name="T17" fmla="*/ 87 h 259"/>
                    <a:gd name="T18" fmla="*/ 83 w 259"/>
                    <a:gd name="T19" fmla="*/ 87 h 259"/>
                    <a:gd name="T20" fmla="*/ 94 w 259"/>
                    <a:gd name="T21" fmla="*/ 93 h 259"/>
                    <a:gd name="T22" fmla="*/ 101 w 259"/>
                    <a:gd name="T23" fmla="*/ 105 h 259"/>
                    <a:gd name="T24" fmla="*/ 108 w 259"/>
                    <a:gd name="T25" fmla="*/ 110 h 259"/>
                    <a:gd name="T26" fmla="*/ 120 w 259"/>
                    <a:gd name="T27" fmla="*/ 110 h 259"/>
                    <a:gd name="T28" fmla="*/ 135 w 259"/>
                    <a:gd name="T29" fmla="*/ 104 h 259"/>
                    <a:gd name="T30" fmla="*/ 148 w 259"/>
                    <a:gd name="T31" fmla="*/ 93 h 259"/>
                    <a:gd name="T32" fmla="*/ 160 w 259"/>
                    <a:gd name="T33" fmla="*/ 78 h 259"/>
                    <a:gd name="T34" fmla="*/ 174 w 259"/>
                    <a:gd name="T35" fmla="*/ 51 h 259"/>
                    <a:gd name="T36" fmla="*/ 188 w 259"/>
                    <a:gd name="T37" fmla="*/ 16 h 259"/>
                    <a:gd name="T38" fmla="*/ 195 w 259"/>
                    <a:gd name="T39" fmla="*/ 4 h 259"/>
                    <a:gd name="T40" fmla="*/ 202 w 259"/>
                    <a:gd name="T41" fmla="*/ 12 h 259"/>
                    <a:gd name="T42" fmla="*/ 213 w 259"/>
                    <a:gd name="T43" fmla="*/ 18 h 259"/>
                    <a:gd name="T44" fmla="*/ 219 w 259"/>
                    <a:gd name="T45" fmla="*/ 32 h 259"/>
                    <a:gd name="T46" fmla="*/ 219 w 259"/>
                    <a:gd name="T47" fmla="*/ 52 h 259"/>
                    <a:gd name="T48" fmla="*/ 227 w 259"/>
                    <a:gd name="T49" fmla="*/ 61 h 259"/>
                    <a:gd name="T50" fmla="*/ 234 w 259"/>
                    <a:gd name="T51" fmla="*/ 70 h 259"/>
                    <a:gd name="T52" fmla="*/ 234 w 259"/>
                    <a:gd name="T53" fmla="*/ 88 h 259"/>
                    <a:gd name="T54" fmla="*/ 234 w 259"/>
                    <a:gd name="T55" fmla="*/ 104 h 259"/>
                    <a:gd name="T56" fmla="*/ 237 w 259"/>
                    <a:gd name="T57" fmla="*/ 110 h 259"/>
                    <a:gd name="T58" fmla="*/ 243 w 259"/>
                    <a:gd name="T59" fmla="*/ 121 h 259"/>
                    <a:gd name="T60" fmla="*/ 249 w 259"/>
                    <a:gd name="T61" fmla="*/ 137 h 259"/>
                    <a:gd name="T62" fmla="*/ 254 w 259"/>
                    <a:gd name="T63" fmla="*/ 161 h 259"/>
                    <a:gd name="T64" fmla="*/ 245 w 259"/>
                    <a:gd name="T65" fmla="*/ 235 h 259"/>
                    <a:gd name="T66" fmla="*/ 239 w 259"/>
                    <a:gd name="T67" fmla="*/ 222 h 259"/>
                    <a:gd name="T68" fmla="*/ 237 w 259"/>
                    <a:gd name="T69" fmla="*/ 208 h 259"/>
                    <a:gd name="T70" fmla="*/ 239 w 259"/>
                    <a:gd name="T71" fmla="*/ 192 h 259"/>
                    <a:gd name="T72" fmla="*/ 222 w 259"/>
                    <a:gd name="T73" fmla="*/ 188 h 259"/>
                    <a:gd name="T74" fmla="*/ 206 w 259"/>
                    <a:gd name="T75" fmla="*/ 179 h 259"/>
                    <a:gd name="T76" fmla="*/ 194 w 259"/>
                    <a:gd name="T77" fmla="*/ 199 h 259"/>
                    <a:gd name="T78" fmla="*/ 188 w 259"/>
                    <a:gd name="T79" fmla="*/ 219 h 259"/>
                    <a:gd name="T80" fmla="*/ 185 w 259"/>
                    <a:gd name="T81" fmla="*/ 259 h 259"/>
                    <a:gd name="T82" fmla="*/ 124 w 259"/>
                    <a:gd name="T83" fmla="*/ 242 h 259"/>
                    <a:gd name="T84" fmla="*/ 110 w 259"/>
                    <a:gd name="T85" fmla="*/ 220 h 259"/>
                    <a:gd name="T86" fmla="*/ 99 w 259"/>
                    <a:gd name="T87" fmla="*/ 209 h 259"/>
                    <a:gd name="T88" fmla="*/ 97 w 259"/>
                    <a:gd name="T89" fmla="*/ 196 h 259"/>
                    <a:gd name="T90" fmla="*/ 105 w 259"/>
                    <a:gd name="T91" fmla="*/ 186 h 259"/>
                    <a:gd name="T92" fmla="*/ 112 w 259"/>
                    <a:gd name="T93" fmla="*/ 180 h 259"/>
                    <a:gd name="T94" fmla="*/ 117 w 259"/>
                    <a:gd name="T95" fmla="*/ 173 h 259"/>
                    <a:gd name="T96" fmla="*/ 93 w 259"/>
                    <a:gd name="T97" fmla="*/ 154 h 259"/>
                    <a:gd name="T98" fmla="*/ 28 w 259"/>
                    <a:gd name="T99" fmla="*/ 155 h 259"/>
                    <a:gd name="T100" fmla="*/ 20 w 259"/>
                    <a:gd name="T101" fmla="*/ 163 h 259"/>
                    <a:gd name="T102" fmla="*/ 16 w 259"/>
                    <a:gd name="T103" fmla="*/ 175 h 259"/>
                    <a:gd name="T104" fmla="*/ 13 w 259"/>
                    <a:gd name="T105" fmla="*/ 18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3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72 w 72"/>
                    <a:gd name="T1" fmla="*/ 43 h 92"/>
                    <a:gd name="T2" fmla="*/ 72 w 72"/>
                    <a:gd name="T3" fmla="*/ 92 h 92"/>
                    <a:gd name="T4" fmla="*/ 65 w 72"/>
                    <a:gd name="T5" fmla="*/ 86 h 92"/>
                    <a:gd name="T6" fmla="*/ 58 w 72"/>
                    <a:gd name="T7" fmla="*/ 81 h 92"/>
                    <a:gd name="T8" fmla="*/ 51 w 72"/>
                    <a:gd name="T9" fmla="*/ 75 h 92"/>
                    <a:gd name="T10" fmla="*/ 46 w 72"/>
                    <a:gd name="T11" fmla="*/ 69 h 92"/>
                    <a:gd name="T12" fmla="*/ 38 w 72"/>
                    <a:gd name="T13" fmla="*/ 58 h 92"/>
                    <a:gd name="T14" fmla="*/ 32 w 72"/>
                    <a:gd name="T15" fmla="*/ 46 h 92"/>
                    <a:gd name="T16" fmla="*/ 25 w 72"/>
                    <a:gd name="T17" fmla="*/ 34 h 92"/>
                    <a:gd name="T18" fmla="*/ 19 w 72"/>
                    <a:gd name="T19" fmla="*/ 23 h 92"/>
                    <a:gd name="T20" fmla="*/ 11 w 72"/>
                    <a:gd name="T21" fmla="*/ 12 h 92"/>
                    <a:gd name="T22" fmla="*/ 0 w 72"/>
                    <a:gd name="T23" fmla="*/ 0 h 92"/>
                    <a:gd name="T24" fmla="*/ 25 w 72"/>
                    <a:gd name="T25" fmla="*/ 12 h 92"/>
                    <a:gd name="T26" fmla="*/ 44 w 72"/>
                    <a:gd name="T27" fmla="*/ 21 h 92"/>
                    <a:gd name="T28" fmla="*/ 51 w 72"/>
                    <a:gd name="T29" fmla="*/ 26 h 92"/>
                    <a:gd name="T30" fmla="*/ 58 w 72"/>
                    <a:gd name="T31" fmla="*/ 31 h 92"/>
                    <a:gd name="T32" fmla="*/ 66 w 72"/>
                    <a:gd name="T33" fmla="*/ 36 h 92"/>
                    <a:gd name="T34" fmla="*/ 72 w 72"/>
                    <a:gd name="T35" fmla="*/ 43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4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6 w 46"/>
                    <a:gd name="T1" fmla="*/ 6 h 62"/>
                    <a:gd name="T2" fmla="*/ 19 w 46"/>
                    <a:gd name="T3" fmla="*/ 5 h 62"/>
                    <a:gd name="T4" fmla="*/ 31 w 46"/>
                    <a:gd name="T5" fmla="*/ 3 h 62"/>
                    <a:gd name="T6" fmla="*/ 39 w 46"/>
                    <a:gd name="T7" fmla="*/ 1 h 62"/>
                    <a:gd name="T8" fmla="*/ 46 w 46"/>
                    <a:gd name="T9" fmla="*/ 0 h 62"/>
                    <a:gd name="T10" fmla="*/ 46 w 46"/>
                    <a:gd name="T11" fmla="*/ 9 h 62"/>
                    <a:gd name="T12" fmla="*/ 46 w 46"/>
                    <a:gd name="T13" fmla="*/ 18 h 62"/>
                    <a:gd name="T14" fmla="*/ 46 w 46"/>
                    <a:gd name="T15" fmla="*/ 27 h 62"/>
                    <a:gd name="T16" fmla="*/ 46 w 46"/>
                    <a:gd name="T17" fmla="*/ 38 h 62"/>
                    <a:gd name="T18" fmla="*/ 45 w 46"/>
                    <a:gd name="T19" fmla="*/ 46 h 62"/>
                    <a:gd name="T20" fmla="*/ 41 w 46"/>
                    <a:gd name="T21" fmla="*/ 54 h 62"/>
                    <a:gd name="T22" fmla="*/ 39 w 46"/>
                    <a:gd name="T23" fmla="*/ 57 h 62"/>
                    <a:gd name="T24" fmla="*/ 37 w 46"/>
                    <a:gd name="T25" fmla="*/ 60 h 62"/>
                    <a:gd name="T26" fmla="*/ 35 w 46"/>
                    <a:gd name="T27" fmla="*/ 61 h 62"/>
                    <a:gd name="T28" fmla="*/ 33 w 46"/>
                    <a:gd name="T29" fmla="*/ 62 h 62"/>
                    <a:gd name="T30" fmla="*/ 27 w 46"/>
                    <a:gd name="T31" fmla="*/ 61 h 62"/>
                    <a:gd name="T32" fmla="*/ 22 w 46"/>
                    <a:gd name="T33" fmla="*/ 60 h 62"/>
                    <a:gd name="T34" fmla="*/ 17 w 46"/>
                    <a:gd name="T35" fmla="*/ 59 h 62"/>
                    <a:gd name="T36" fmla="*/ 14 w 46"/>
                    <a:gd name="T37" fmla="*/ 57 h 62"/>
                    <a:gd name="T38" fmla="*/ 11 w 46"/>
                    <a:gd name="T39" fmla="*/ 54 h 62"/>
                    <a:gd name="T40" fmla="*/ 7 w 46"/>
                    <a:gd name="T41" fmla="*/ 51 h 62"/>
                    <a:gd name="T42" fmla="*/ 5 w 46"/>
                    <a:gd name="T43" fmla="*/ 47 h 62"/>
                    <a:gd name="T44" fmla="*/ 4 w 46"/>
                    <a:gd name="T45" fmla="*/ 44 h 62"/>
                    <a:gd name="T46" fmla="*/ 1 w 46"/>
                    <a:gd name="T47" fmla="*/ 34 h 62"/>
                    <a:gd name="T48" fmla="*/ 0 w 46"/>
                    <a:gd name="T49" fmla="*/ 25 h 62"/>
                    <a:gd name="T50" fmla="*/ 0 w 46"/>
                    <a:gd name="T51" fmla="*/ 16 h 62"/>
                    <a:gd name="T52" fmla="*/ 0 w 46"/>
                    <a:gd name="T53" fmla="*/ 6 h 62"/>
                    <a:gd name="T54" fmla="*/ 6 w 46"/>
                    <a:gd name="T55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5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59 w 152"/>
                    <a:gd name="T1" fmla="*/ 0 h 296"/>
                    <a:gd name="T2" fmla="*/ 66 w 152"/>
                    <a:gd name="T3" fmla="*/ 9 h 296"/>
                    <a:gd name="T4" fmla="*/ 77 w 152"/>
                    <a:gd name="T5" fmla="*/ 17 h 296"/>
                    <a:gd name="T6" fmla="*/ 88 w 152"/>
                    <a:gd name="T7" fmla="*/ 23 h 296"/>
                    <a:gd name="T8" fmla="*/ 99 w 152"/>
                    <a:gd name="T9" fmla="*/ 25 h 296"/>
                    <a:gd name="T10" fmla="*/ 108 w 152"/>
                    <a:gd name="T11" fmla="*/ 21 h 296"/>
                    <a:gd name="T12" fmla="*/ 118 w 152"/>
                    <a:gd name="T13" fmla="*/ 12 h 296"/>
                    <a:gd name="T14" fmla="*/ 122 w 152"/>
                    <a:gd name="T15" fmla="*/ 35 h 296"/>
                    <a:gd name="T16" fmla="*/ 130 w 152"/>
                    <a:gd name="T17" fmla="*/ 62 h 296"/>
                    <a:gd name="T18" fmla="*/ 141 w 152"/>
                    <a:gd name="T19" fmla="*/ 86 h 296"/>
                    <a:gd name="T20" fmla="*/ 147 w 152"/>
                    <a:gd name="T21" fmla="*/ 94 h 296"/>
                    <a:gd name="T22" fmla="*/ 152 w 152"/>
                    <a:gd name="T23" fmla="*/ 99 h 296"/>
                    <a:gd name="T24" fmla="*/ 143 w 152"/>
                    <a:gd name="T25" fmla="*/ 120 h 296"/>
                    <a:gd name="T26" fmla="*/ 129 w 152"/>
                    <a:gd name="T27" fmla="*/ 140 h 296"/>
                    <a:gd name="T28" fmla="*/ 117 w 152"/>
                    <a:gd name="T29" fmla="*/ 157 h 296"/>
                    <a:gd name="T30" fmla="*/ 112 w 152"/>
                    <a:gd name="T31" fmla="*/ 172 h 296"/>
                    <a:gd name="T32" fmla="*/ 115 w 152"/>
                    <a:gd name="T33" fmla="*/ 197 h 296"/>
                    <a:gd name="T34" fmla="*/ 115 w 152"/>
                    <a:gd name="T35" fmla="*/ 205 h 296"/>
                    <a:gd name="T36" fmla="*/ 112 w 152"/>
                    <a:gd name="T37" fmla="*/ 216 h 296"/>
                    <a:gd name="T38" fmla="*/ 126 w 152"/>
                    <a:gd name="T39" fmla="*/ 216 h 296"/>
                    <a:gd name="T40" fmla="*/ 146 w 152"/>
                    <a:gd name="T41" fmla="*/ 216 h 296"/>
                    <a:gd name="T42" fmla="*/ 136 w 152"/>
                    <a:gd name="T43" fmla="*/ 252 h 296"/>
                    <a:gd name="T44" fmla="*/ 136 w 152"/>
                    <a:gd name="T45" fmla="*/ 267 h 296"/>
                    <a:gd name="T46" fmla="*/ 146 w 152"/>
                    <a:gd name="T47" fmla="*/ 283 h 296"/>
                    <a:gd name="T48" fmla="*/ 125 w 152"/>
                    <a:gd name="T49" fmla="*/ 291 h 296"/>
                    <a:gd name="T50" fmla="*/ 105 w 152"/>
                    <a:gd name="T51" fmla="*/ 296 h 296"/>
                    <a:gd name="T52" fmla="*/ 85 w 152"/>
                    <a:gd name="T53" fmla="*/ 294 h 296"/>
                    <a:gd name="T54" fmla="*/ 73 w 152"/>
                    <a:gd name="T55" fmla="*/ 288 h 296"/>
                    <a:gd name="T56" fmla="*/ 67 w 152"/>
                    <a:gd name="T57" fmla="*/ 280 h 296"/>
                    <a:gd name="T58" fmla="*/ 66 w 152"/>
                    <a:gd name="T59" fmla="*/ 271 h 296"/>
                    <a:gd name="T60" fmla="*/ 85 w 152"/>
                    <a:gd name="T61" fmla="*/ 253 h 296"/>
                    <a:gd name="T62" fmla="*/ 69 w 152"/>
                    <a:gd name="T63" fmla="*/ 249 h 296"/>
                    <a:gd name="T64" fmla="*/ 52 w 152"/>
                    <a:gd name="T65" fmla="*/ 242 h 296"/>
                    <a:gd name="T66" fmla="*/ 38 w 152"/>
                    <a:gd name="T67" fmla="*/ 231 h 296"/>
                    <a:gd name="T68" fmla="*/ 25 w 152"/>
                    <a:gd name="T69" fmla="*/ 219 h 296"/>
                    <a:gd name="T70" fmla="*/ 14 w 152"/>
                    <a:gd name="T71" fmla="*/ 205 h 296"/>
                    <a:gd name="T72" fmla="*/ 6 w 152"/>
                    <a:gd name="T73" fmla="*/ 190 h 296"/>
                    <a:gd name="T74" fmla="*/ 1 w 152"/>
                    <a:gd name="T75" fmla="*/ 172 h 296"/>
                    <a:gd name="T76" fmla="*/ 0 w 152"/>
                    <a:gd name="T77" fmla="*/ 154 h 296"/>
                    <a:gd name="T78" fmla="*/ 0 w 152"/>
                    <a:gd name="T79" fmla="*/ 130 h 296"/>
                    <a:gd name="T80" fmla="*/ 27 w 152"/>
                    <a:gd name="T81" fmla="*/ 106 h 296"/>
                    <a:gd name="T82" fmla="*/ 32 w 152"/>
                    <a:gd name="T83" fmla="*/ 46 h 296"/>
                    <a:gd name="T84" fmla="*/ 31 w 152"/>
                    <a:gd name="T85" fmla="*/ 18 h 296"/>
                    <a:gd name="T86" fmla="*/ 28 w 152"/>
                    <a:gd name="T87" fmla="*/ 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6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26 w 26"/>
                    <a:gd name="T1" fmla="*/ 38 h 38"/>
                    <a:gd name="T2" fmla="*/ 26 w 26"/>
                    <a:gd name="T3" fmla="*/ 0 h 38"/>
                    <a:gd name="T4" fmla="*/ 21 w 26"/>
                    <a:gd name="T5" fmla="*/ 1 h 38"/>
                    <a:gd name="T6" fmla="*/ 13 w 26"/>
                    <a:gd name="T7" fmla="*/ 4 h 38"/>
                    <a:gd name="T8" fmla="*/ 6 w 26"/>
                    <a:gd name="T9" fmla="*/ 8 h 38"/>
                    <a:gd name="T10" fmla="*/ 0 w 26"/>
                    <a:gd name="T11" fmla="*/ 13 h 38"/>
                    <a:gd name="T12" fmla="*/ 18 w 26"/>
                    <a:gd name="T13" fmla="*/ 30 h 38"/>
                    <a:gd name="T14" fmla="*/ 26 w 26"/>
                    <a:gd name="T15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7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8 h 31"/>
                    <a:gd name="T2" fmla="*/ 8 w 34"/>
                    <a:gd name="T3" fmla="*/ 22 h 31"/>
                    <a:gd name="T4" fmla="*/ 17 w 34"/>
                    <a:gd name="T5" fmla="*/ 26 h 31"/>
                    <a:gd name="T6" fmla="*/ 27 w 34"/>
                    <a:gd name="T7" fmla="*/ 30 h 31"/>
                    <a:gd name="T8" fmla="*/ 34 w 34"/>
                    <a:gd name="T9" fmla="*/ 31 h 31"/>
                    <a:gd name="T10" fmla="*/ 33 w 34"/>
                    <a:gd name="T11" fmla="*/ 24 h 31"/>
                    <a:gd name="T12" fmla="*/ 30 w 34"/>
                    <a:gd name="T13" fmla="*/ 15 h 31"/>
                    <a:gd name="T14" fmla="*/ 26 w 34"/>
                    <a:gd name="T15" fmla="*/ 6 h 31"/>
                    <a:gd name="T16" fmla="*/ 20 w 34"/>
                    <a:gd name="T17" fmla="*/ 0 h 31"/>
                    <a:gd name="T18" fmla="*/ 16 w 34"/>
                    <a:gd name="T19" fmla="*/ 5 h 31"/>
                    <a:gd name="T20" fmla="*/ 10 w 34"/>
                    <a:gd name="T21" fmla="*/ 11 h 31"/>
                    <a:gd name="T22" fmla="*/ 8 w 34"/>
                    <a:gd name="T23" fmla="*/ 14 h 31"/>
                    <a:gd name="T24" fmla="*/ 6 w 34"/>
                    <a:gd name="T25" fmla="*/ 16 h 31"/>
                    <a:gd name="T26" fmla="*/ 4 w 34"/>
                    <a:gd name="T27" fmla="*/ 18 h 31"/>
                    <a:gd name="T28" fmla="*/ 0 w 34"/>
                    <a:gd name="T29" fmla="*/ 1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8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6 h 37"/>
                    <a:gd name="T2" fmla="*/ 0 w 20"/>
                    <a:gd name="T3" fmla="*/ 37 h 37"/>
                    <a:gd name="T4" fmla="*/ 7 w 20"/>
                    <a:gd name="T5" fmla="*/ 33 h 37"/>
                    <a:gd name="T6" fmla="*/ 20 w 20"/>
                    <a:gd name="T7" fmla="*/ 30 h 37"/>
                    <a:gd name="T8" fmla="*/ 20 w 20"/>
                    <a:gd name="T9" fmla="*/ 0 h 37"/>
                    <a:gd name="T10" fmla="*/ 0 w 20"/>
                    <a:gd name="T11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59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0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8 h 18"/>
                    <a:gd name="T2" fmla="*/ 1 w 13"/>
                    <a:gd name="T3" fmla="*/ 13 h 18"/>
                    <a:gd name="T4" fmla="*/ 3 w 13"/>
                    <a:gd name="T5" fmla="*/ 9 h 18"/>
                    <a:gd name="T6" fmla="*/ 7 w 13"/>
                    <a:gd name="T7" fmla="*/ 4 h 18"/>
                    <a:gd name="T8" fmla="*/ 13 w 13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1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2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20 w 27"/>
                    <a:gd name="T3" fmla="*/ 31 h 31"/>
                    <a:gd name="T4" fmla="*/ 27 w 27"/>
                    <a:gd name="T5" fmla="*/ 1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3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20 w 20"/>
                    <a:gd name="T1" fmla="*/ 10 w 20"/>
                    <a:gd name="T2" fmla="*/ 0 w 2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0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4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3 h 13"/>
                    <a:gd name="T2" fmla="*/ 6 w 34"/>
                    <a:gd name="T3" fmla="*/ 13 h 13"/>
                    <a:gd name="T4" fmla="*/ 10 w 34"/>
                    <a:gd name="T5" fmla="*/ 11 h 13"/>
                    <a:gd name="T6" fmla="*/ 16 w 34"/>
                    <a:gd name="T7" fmla="*/ 10 h 13"/>
                    <a:gd name="T8" fmla="*/ 20 w 34"/>
                    <a:gd name="T9" fmla="*/ 7 h 13"/>
                    <a:gd name="T10" fmla="*/ 28 w 34"/>
                    <a:gd name="T11" fmla="*/ 2 h 13"/>
                    <a:gd name="T12" fmla="*/ 34 w 34"/>
                    <a:gd name="T13" fmla="*/ 0 h 13"/>
                    <a:gd name="T14" fmla="*/ 25 w 34"/>
                    <a:gd name="T15" fmla="*/ 0 h 13"/>
                    <a:gd name="T16" fmla="*/ 15 w 34"/>
                    <a:gd name="T1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5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34 w 34"/>
                    <a:gd name="T1" fmla="*/ 18 h 18"/>
                    <a:gd name="T2" fmla="*/ 34 w 34"/>
                    <a:gd name="T3" fmla="*/ 0 h 18"/>
                    <a:gd name="T4" fmla="*/ 28 w 34"/>
                    <a:gd name="T5" fmla="*/ 0 h 18"/>
                    <a:gd name="T6" fmla="*/ 20 w 34"/>
                    <a:gd name="T7" fmla="*/ 0 h 18"/>
                    <a:gd name="T8" fmla="*/ 10 w 34"/>
                    <a:gd name="T9" fmla="*/ 0 h 18"/>
                    <a:gd name="T10" fmla="*/ 0 w 34"/>
                    <a:gd name="T11" fmla="*/ 0 h 18"/>
                    <a:gd name="T12" fmla="*/ 34 w 34"/>
                    <a:gd name="T13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6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53 w 59"/>
                    <a:gd name="T1" fmla="*/ 25 h 25"/>
                    <a:gd name="T2" fmla="*/ 56 w 59"/>
                    <a:gd name="T3" fmla="*/ 12 h 25"/>
                    <a:gd name="T4" fmla="*/ 59 w 59"/>
                    <a:gd name="T5" fmla="*/ 0 h 25"/>
                    <a:gd name="T6" fmla="*/ 44 w 59"/>
                    <a:gd name="T7" fmla="*/ 0 h 25"/>
                    <a:gd name="T8" fmla="*/ 27 w 59"/>
                    <a:gd name="T9" fmla="*/ 0 h 25"/>
                    <a:gd name="T10" fmla="*/ 19 w 59"/>
                    <a:gd name="T11" fmla="*/ 1 h 25"/>
                    <a:gd name="T12" fmla="*/ 12 w 59"/>
                    <a:gd name="T13" fmla="*/ 2 h 25"/>
                    <a:gd name="T14" fmla="*/ 5 w 59"/>
                    <a:gd name="T15" fmla="*/ 4 h 25"/>
                    <a:gd name="T16" fmla="*/ 0 w 59"/>
                    <a:gd name="T17" fmla="*/ 6 h 25"/>
                    <a:gd name="T18" fmla="*/ 13 w 59"/>
                    <a:gd name="T19" fmla="*/ 14 h 25"/>
                    <a:gd name="T20" fmla="*/ 26 w 59"/>
                    <a:gd name="T21" fmla="*/ 20 h 25"/>
                    <a:gd name="T22" fmla="*/ 33 w 59"/>
                    <a:gd name="T23" fmla="*/ 22 h 25"/>
                    <a:gd name="T24" fmla="*/ 38 w 59"/>
                    <a:gd name="T25" fmla="*/ 24 h 25"/>
                    <a:gd name="T26" fmla="*/ 46 w 59"/>
                    <a:gd name="T27" fmla="*/ 25 h 25"/>
                    <a:gd name="T28" fmla="*/ 53 w 59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67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791" name="Freeform 307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9830852" y="4191843"/>
                <a:ext cx="19004" cy="55576"/>
              </a:xfrm>
              <a:custGeom>
                <a:avLst/>
                <a:gdLst>
                  <a:gd name="T0" fmla="*/ 0 w 33"/>
                  <a:gd name="T1" fmla="*/ 43 h 43"/>
                  <a:gd name="T2" fmla="*/ 1 w 33"/>
                  <a:gd name="T3" fmla="*/ 34 h 43"/>
                  <a:gd name="T4" fmla="*/ 2 w 33"/>
                  <a:gd name="T5" fmla="*/ 27 h 43"/>
                  <a:gd name="T6" fmla="*/ 5 w 33"/>
                  <a:gd name="T7" fmla="*/ 21 h 43"/>
                  <a:gd name="T8" fmla="*/ 9 w 33"/>
                  <a:gd name="T9" fmla="*/ 15 h 43"/>
                  <a:gd name="T10" fmla="*/ 14 w 33"/>
                  <a:gd name="T11" fmla="*/ 9 h 43"/>
                  <a:gd name="T12" fmla="*/ 20 w 33"/>
                  <a:gd name="T13" fmla="*/ 5 h 43"/>
                  <a:gd name="T14" fmla="*/ 26 w 33"/>
                  <a:gd name="T15" fmla="*/ 2 h 43"/>
                  <a:gd name="T16" fmla="*/ 33 w 33"/>
                  <a:gd name="T17" fmla="*/ 0 h 43"/>
                  <a:gd name="T18" fmla="*/ 33 w 33"/>
                  <a:gd name="T19" fmla="*/ 25 h 43"/>
                  <a:gd name="T20" fmla="*/ 23 w 33"/>
                  <a:gd name="T21" fmla="*/ 27 h 43"/>
                  <a:gd name="T22" fmla="*/ 18 w 33"/>
                  <a:gd name="T23" fmla="*/ 29 h 43"/>
                  <a:gd name="T24" fmla="*/ 16 w 33"/>
                  <a:gd name="T25" fmla="*/ 32 h 43"/>
                  <a:gd name="T26" fmla="*/ 16 w 33"/>
                  <a:gd name="T27" fmla="*/ 34 h 43"/>
                  <a:gd name="T28" fmla="*/ 16 w 33"/>
                  <a:gd name="T29" fmla="*/ 36 h 43"/>
                  <a:gd name="T30" fmla="*/ 14 w 33"/>
                  <a:gd name="T31" fmla="*/ 38 h 43"/>
                  <a:gd name="T32" fmla="*/ 10 w 33"/>
                  <a:gd name="T33" fmla="*/ 41 h 43"/>
                  <a:gd name="T34" fmla="*/ 0 w 33"/>
                  <a:gd name="T3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2" name="Freeform 308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9932201" y="4131504"/>
                <a:ext cx="29560" cy="58752"/>
              </a:xfrm>
              <a:custGeom>
                <a:avLst/>
                <a:gdLst>
                  <a:gd name="T0" fmla="*/ 0 w 54"/>
                  <a:gd name="T1" fmla="*/ 55 h 92"/>
                  <a:gd name="T2" fmla="*/ 1 w 54"/>
                  <a:gd name="T3" fmla="*/ 51 h 92"/>
                  <a:gd name="T4" fmla="*/ 2 w 54"/>
                  <a:gd name="T5" fmla="*/ 46 h 92"/>
                  <a:gd name="T6" fmla="*/ 3 w 54"/>
                  <a:gd name="T7" fmla="*/ 42 h 92"/>
                  <a:gd name="T8" fmla="*/ 6 w 54"/>
                  <a:gd name="T9" fmla="*/ 37 h 92"/>
                  <a:gd name="T10" fmla="*/ 11 w 54"/>
                  <a:gd name="T11" fmla="*/ 29 h 92"/>
                  <a:gd name="T12" fmla="*/ 18 w 54"/>
                  <a:gd name="T13" fmla="*/ 21 h 92"/>
                  <a:gd name="T14" fmla="*/ 31 w 54"/>
                  <a:gd name="T15" fmla="*/ 7 h 92"/>
                  <a:gd name="T16" fmla="*/ 41 w 54"/>
                  <a:gd name="T17" fmla="*/ 0 h 92"/>
                  <a:gd name="T18" fmla="*/ 54 w 54"/>
                  <a:gd name="T19" fmla="*/ 12 h 92"/>
                  <a:gd name="T20" fmla="*/ 51 w 54"/>
                  <a:gd name="T21" fmla="*/ 21 h 92"/>
                  <a:gd name="T22" fmla="*/ 47 w 54"/>
                  <a:gd name="T23" fmla="*/ 29 h 92"/>
                  <a:gd name="T24" fmla="*/ 44 w 54"/>
                  <a:gd name="T25" fmla="*/ 35 h 92"/>
                  <a:gd name="T26" fmla="*/ 41 w 54"/>
                  <a:gd name="T27" fmla="*/ 41 h 92"/>
                  <a:gd name="T28" fmla="*/ 33 w 54"/>
                  <a:gd name="T29" fmla="*/ 49 h 92"/>
                  <a:gd name="T30" fmla="*/ 28 w 54"/>
                  <a:gd name="T31" fmla="*/ 55 h 92"/>
                  <a:gd name="T32" fmla="*/ 26 w 54"/>
                  <a:gd name="T33" fmla="*/ 64 h 92"/>
                  <a:gd name="T34" fmla="*/ 26 w 54"/>
                  <a:gd name="T35" fmla="*/ 74 h 92"/>
                  <a:gd name="T36" fmla="*/ 24 w 54"/>
                  <a:gd name="T37" fmla="*/ 83 h 92"/>
                  <a:gd name="T38" fmla="*/ 20 w 54"/>
                  <a:gd name="T39" fmla="*/ 92 h 92"/>
                  <a:gd name="T40" fmla="*/ 14 w 54"/>
                  <a:gd name="T41" fmla="*/ 83 h 92"/>
                  <a:gd name="T42" fmla="*/ 8 w 54"/>
                  <a:gd name="T43" fmla="*/ 74 h 92"/>
                  <a:gd name="T44" fmla="*/ 5 w 54"/>
                  <a:gd name="T45" fmla="*/ 70 h 92"/>
                  <a:gd name="T46" fmla="*/ 2 w 54"/>
                  <a:gd name="T47" fmla="*/ 64 h 92"/>
                  <a:gd name="T48" fmla="*/ 1 w 54"/>
                  <a:gd name="T49" fmla="*/ 60 h 92"/>
                  <a:gd name="T50" fmla="*/ 0 w 54"/>
                  <a:gd name="T51" fmla="*/ 5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3" name="Freeform 309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9995544" y="4010826"/>
                <a:ext cx="31672" cy="57162"/>
              </a:xfrm>
              <a:custGeom>
                <a:avLst/>
                <a:gdLst>
                  <a:gd name="T0" fmla="*/ 0 w 60"/>
                  <a:gd name="T1" fmla="*/ 0 h 18"/>
                  <a:gd name="T2" fmla="*/ 19 w 60"/>
                  <a:gd name="T3" fmla="*/ 4 h 18"/>
                  <a:gd name="T4" fmla="*/ 37 w 60"/>
                  <a:gd name="T5" fmla="*/ 9 h 18"/>
                  <a:gd name="T6" fmla="*/ 45 w 60"/>
                  <a:gd name="T7" fmla="*/ 11 h 18"/>
                  <a:gd name="T8" fmla="*/ 51 w 60"/>
                  <a:gd name="T9" fmla="*/ 13 h 18"/>
                  <a:gd name="T10" fmla="*/ 56 w 60"/>
                  <a:gd name="T11" fmla="*/ 16 h 18"/>
                  <a:gd name="T12" fmla="*/ 60 w 60"/>
                  <a:gd name="T13" fmla="*/ 18 h 18"/>
                  <a:gd name="T14" fmla="*/ 38 w 60"/>
                  <a:gd name="T15" fmla="*/ 18 h 18"/>
                  <a:gd name="T16" fmla="*/ 23 w 60"/>
                  <a:gd name="T17" fmla="*/ 18 h 18"/>
                  <a:gd name="T18" fmla="*/ 10 w 60"/>
                  <a:gd name="T19" fmla="*/ 18 h 18"/>
                  <a:gd name="T20" fmla="*/ 0 w 60"/>
                  <a:gd name="T21" fmla="*/ 18 h 18"/>
                  <a:gd name="T22" fmla="*/ 0 w 60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4" name="Freeform 310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9974430" y="3980657"/>
                <a:ext cx="33783" cy="57162"/>
              </a:xfrm>
              <a:custGeom>
                <a:avLst/>
                <a:gdLst>
                  <a:gd name="T0" fmla="*/ 0 w 66"/>
                  <a:gd name="T1" fmla="*/ 18 h 18"/>
                  <a:gd name="T2" fmla="*/ 66 w 66"/>
                  <a:gd name="T3" fmla="*/ 18 h 18"/>
                  <a:gd name="T4" fmla="*/ 52 w 66"/>
                  <a:gd name="T5" fmla="*/ 13 h 18"/>
                  <a:gd name="T6" fmla="*/ 40 w 66"/>
                  <a:gd name="T7" fmla="*/ 7 h 18"/>
                  <a:gd name="T8" fmla="*/ 35 w 66"/>
                  <a:gd name="T9" fmla="*/ 4 h 18"/>
                  <a:gd name="T10" fmla="*/ 29 w 66"/>
                  <a:gd name="T11" fmla="*/ 2 h 18"/>
                  <a:gd name="T12" fmla="*/ 25 w 66"/>
                  <a:gd name="T13" fmla="*/ 1 h 18"/>
                  <a:gd name="T14" fmla="*/ 19 w 66"/>
                  <a:gd name="T15" fmla="*/ 0 h 18"/>
                  <a:gd name="T16" fmla="*/ 0 w 6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5" name="Freeform 311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9742172" y="3877445"/>
                <a:ext cx="10558" cy="57162"/>
              </a:xfrm>
              <a:custGeom>
                <a:avLst/>
                <a:gdLst>
                  <a:gd name="T0" fmla="*/ 0 w 17"/>
                  <a:gd name="T1" fmla="*/ 36 h 42"/>
                  <a:gd name="T2" fmla="*/ 13 w 17"/>
                  <a:gd name="T3" fmla="*/ 42 h 42"/>
                  <a:gd name="T4" fmla="*/ 14 w 17"/>
                  <a:gd name="T5" fmla="*/ 33 h 42"/>
                  <a:gd name="T6" fmla="*/ 16 w 17"/>
                  <a:gd name="T7" fmla="*/ 23 h 42"/>
                  <a:gd name="T8" fmla="*/ 17 w 17"/>
                  <a:gd name="T9" fmla="*/ 18 h 42"/>
                  <a:gd name="T10" fmla="*/ 16 w 17"/>
                  <a:gd name="T11" fmla="*/ 12 h 42"/>
                  <a:gd name="T12" fmla="*/ 16 w 17"/>
                  <a:gd name="T13" fmla="*/ 6 h 42"/>
                  <a:gd name="T14" fmla="*/ 13 w 17"/>
                  <a:gd name="T15" fmla="*/ 0 h 42"/>
                  <a:gd name="T16" fmla="*/ 0 w 17"/>
                  <a:gd name="T17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6" name="Freeform 312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9645047" y="4012414"/>
                <a:ext cx="40118" cy="58751"/>
              </a:xfrm>
              <a:custGeom>
                <a:avLst/>
                <a:gdLst>
                  <a:gd name="T0" fmla="*/ 6 w 72"/>
                  <a:gd name="T1" fmla="*/ 29 h 29"/>
                  <a:gd name="T2" fmla="*/ 15 w 72"/>
                  <a:gd name="T3" fmla="*/ 26 h 29"/>
                  <a:gd name="T4" fmla="*/ 24 w 72"/>
                  <a:gd name="T5" fmla="*/ 24 h 29"/>
                  <a:gd name="T6" fmla="*/ 32 w 72"/>
                  <a:gd name="T7" fmla="*/ 24 h 29"/>
                  <a:gd name="T8" fmla="*/ 39 w 72"/>
                  <a:gd name="T9" fmla="*/ 24 h 29"/>
                  <a:gd name="T10" fmla="*/ 55 w 72"/>
                  <a:gd name="T11" fmla="*/ 27 h 29"/>
                  <a:gd name="T12" fmla="*/ 72 w 72"/>
                  <a:gd name="T13" fmla="*/ 29 h 29"/>
                  <a:gd name="T14" fmla="*/ 72 w 72"/>
                  <a:gd name="T15" fmla="*/ 4 h 29"/>
                  <a:gd name="T16" fmla="*/ 58 w 72"/>
                  <a:gd name="T17" fmla="*/ 1 h 29"/>
                  <a:gd name="T18" fmla="*/ 47 w 72"/>
                  <a:gd name="T19" fmla="*/ 0 h 29"/>
                  <a:gd name="T20" fmla="*/ 39 w 72"/>
                  <a:gd name="T21" fmla="*/ 0 h 29"/>
                  <a:gd name="T22" fmla="*/ 34 w 72"/>
                  <a:gd name="T23" fmla="*/ 2 h 29"/>
                  <a:gd name="T24" fmla="*/ 27 w 72"/>
                  <a:gd name="T25" fmla="*/ 3 h 29"/>
                  <a:gd name="T26" fmla="*/ 21 w 72"/>
                  <a:gd name="T27" fmla="*/ 5 h 29"/>
                  <a:gd name="T28" fmla="*/ 12 w 72"/>
                  <a:gd name="T29" fmla="*/ 5 h 29"/>
                  <a:gd name="T30" fmla="*/ 0 w 72"/>
                  <a:gd name="T31" fmla="*/ 4 h 29"/>
                  <a:gd name="T32" fmla="*/ 3 w 72"/>
                  <a:gd name="T33" fmla="*/ 16 h 29"/>
                  <a:gd name="T34" fmla="*/ 6 w 7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7" name="Freeform 313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9655604" y="4198194"/>
                <a:ext cx="25337" cy="55576"/>
              </a:xfrm>
              <a:custGeom>
                <a:avLst/>
                <a:gdLst>
                  <a:gd name="T0" fmla="*/ 0 w 46"/>
                  <a:gd name="T1" fmla="*/ 0 h 37"/>
                  <a:gd name="T2" fmla="*/ 9 w 46"/>
                  <a:gd name="T3" fmla="*/ 9 h 37"/>
                  <a:gd name="T4" fmla="*/ 20 w 46"/>
                  <a:gd name="T5" fmla="*/ 15 h 37"/>
                  <a:gd name="T6" fmla="*/ 31 w 46"/>
                  <a:gd name="T7" fmla="*/ 20 h 37"/>
                  <a:gd name="T8" fmla="*/ 46 w 46"/>
                  <a:gd name="T9" fmla="*/ 25 h 37"/>
                  <a:gd name="T10" fmla="*/ 37 w 46"/>
                  <a:gd name="T11" fmla="*/ 29 h 37"/>
                  <a:gd name="T12" fmla="*/ 29 w 46"/>
                  <a:gd name="T13" fmla="*/ 33 h 37"/>
                  <a:gd name="T14" fmla="*/ 21 w 46"/>
                  <a:gd name="T15" fmla="*/ 36 h 37"/>
                  <a:gd name="T16" fmla="*/ 13 w 46"/>
                  <a:gd name="T17" fmla="*/ 37 h 37"/>
                  <a:gd name="T18" fmla="*/ 9 w 46"/>
                  <a:gd name="T19" fmla="*/ 36 h 37"/>
                  <a:gd name="T20" fmla="*/ 7 w 46"/>
                  <a:gd name="T21" fmla="*/ 33 h 37"/>
                  <a:gd name="T22" fmla="*/ 5 w 46"/>
                  <a:gd name="T23" fmla="*/ 29 h 37"/>
                  <a:gd name="T24" fmla="*/ 3 w 46"/>
                  <a:gd name="T25" fmla="*/ 23 h 37"/>
                  <a:gd name="T26" fmla="*/ 1 w 46"/>
                  <a:gd name="T27" fmla="*/ 12 h 37"/>
                  <a:gd name="T28" fmla="*/ 0 w 46"/>
                  <a:gd name="T2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8" name="Freeform 314"/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9805514" y="4017177"/>
                <a:ext cx="14781" cy="57162"/>
              </a:xfrm>
              <a:custGeom>
                <a:avLst/>
                <a:gdLst>
                  <a:gd name="T0" fmla="*/ 0 w 26"/>
                  <a:gd name="T1" fmla="*/ 0 h 19"/>
                  <a:gd name="T2" fmla="*/ 26 w 26"/>
                  <a:gd name="T3" fmla="*/ 19 h 19"/>
                  <a:gd name="T4" fmla="*/ 26 w 26"/>
                  <a:gd name="T5" fmla="*/ 9 h 19"/>
                  <a:gd name="T6" fmla="*/ 26 w 26"/>
                  <a:gd name="T7" fmla="*/ 0 h 19"/>
                  <a:gd name="T8" fmla="*/ 15 w 26"/>
                  <a:gd name="T9" fmla="*/ 0 h 19"/>
                  <a:gd name="T10" fmla="*/ 0 w 2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9" name="Freeform 315"/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9619709" y="4012414"/>
                <a:ext cx="25337" cy="58751"/>
              </a:xfrm>
              <a:custGeom>
                <a:avLst/>
                <a:gdLst>
                  <a:gd name="T0" fmla="*/ 2 w 43"/>
                  <a:gd name="T1" fmla="*/ 0 h 31"/>
                  <a:gd name="T2" fmla="*/ 1 w 43"/>
                  <a:gd name="T3" fmla="*/ 12 h 31"/>
                  <a:gd name="T4" fmla="*/ 0 w 43"/>
                  <a:gd name="T5" fmla="*/ 23 h 31"/>
                  <a:gd name="T6" fmla="*/ 0 w 43"/>
                  <a:gd name="T7" fmla="*/ 26 h 31"/>
                  <a:gd name="T8" fmla="*/ 0 w 43"/>
                  <a:gd name="T9" fmla="*/ 29 h 31"/>
                  <a:gd name="T10" fmla="*/ 0 w 43"/>
                  <a:gd name="T11" fmla="*/ 31 h 31"/>
                  <a:gd name="T12" fmla="*/ 2 w 43"/>
                  <a:gd name="T13" fmla="*/ 31 h 31"/>
                  <a:gd name="T14" fmla="*/ 13 w 43"/>
                  <a:gd name="T15" fmla="*/ 22 h 31"/>
                  <a:gd name="T16" fmla="*/ 25 w 43"/>
                  <a:gd name="T17" fmla="*/ 13 h 31"/>
                  <a:gd name="T18" fmla="*/ 35 w 43"/>
                  <a:gd name="T19" fmla="*/ 5 h 31"/>
                  <a:gd name="T20" fmla="*/ 43 w 43"/>
                  <a:gd name="T21" fmla="*/ 0 h 31"/>
                  <a:gd name="T22" fmla="*/ 2 w 43"/>
                  <a:gd name="T2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0" name="Freeform 316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9678830" y="4060050"/>
                <a:ext cx="40118" cy="57162"/>
              </a:xfrm>
              <a:custGeom>
                <a:avLst/>
                <a:gdLst>
                  <a:gd name="T0" fmla="*/ 4 w 71"/>
                  <a:gd name="T1" fmla="*/ 12 h 49"/>
                  <a:gd name="T2" fmla="*/ 4 w 71"/>
                  <a:gd name="T3" fmla="*/ 18 h 49"/>
                  <a:gd name="T4" fmla="*/ 5 w 71"/>
                  <a:gd name="T5" fmla="*/ 25 h 49"/>
                  <a:gd name="T6" fmla="*/ 7 w 71"/>
                  <a:gd name="T7" fmla="*/ 31 h 49"/>
                  <a:gd name="T8" fmla="*/ 9 w 71"/>
                  <a:gd name="T9" fmla="*/ 37 h 49"/>
                  <a:gd name="T10" fmla="*/ 14 w 71"/>
                  <a:gd name="T11" fmla="*/ 41 h 49"/>
                  <a:gd name="T12" fmla="*/ 18 w 71"/>
                  <a:gd name="T13" fmla="*/ 46 h 49"/>
                  <a:gd name="T14" fmla="*/ 23 w 71"/>
                  <a:gd name="T15" fmla="*/ 48 h 49"/>
                  <a:gd name="T16" fmla="*/ 30 w 71"/>
                  <a:gd name="T17" fmla="*/ 49 h 49"/>
                  <a:gd name="T18" fmla="*/ 35 w 71"/>
                  <a:gd name="T19" fmla="*/ 48 h 49"/>
                  <a:gd name="T20" fmla="*/ 40 w 71"/>
                  <a:gd name="T21" fmla="*/ 46 h 49"/>
                  <a:gd name="T22" fmla="*/ 45 w 71"/>
                  <a:gd name="T23" fmla="*/ 42 h 49"/>
                  <a:gd name="T24" fmla="*/ 50 w 71"/>
                  <a:gd name="T25" fmla="*/ 37 h 49"/>
                  <a:gd name="T26" fmla="*/ 60 w 71"/>
                  <a:gd name="T27" fmla="*/ 28 h 49"/>
                  <a:gd name="T28" fmla="*/ 71 w 71"/>
                  <a:gd name="T29" fmla="*/ 18 h 49"/>
                  <a:gd name="T30" fmla="*/ 61 w 71"/>
                  <a:gd name="T31" fmla="*/ 12 h 49"/>
                  <a:gd name="T32" fmla="*/ 52 w 71"/>
                  <a:gd name="T33" fmla="*/ 9 h 49"/>
                  <a:gd name="T34" fmla="*/ 44 w 71"/>
                  <a:gd name="T35" fmla="*/ 7 h 49"/>
                  <a:gd name="T36" fmla="*/ 37 w 71"/>
                  <a:gd name="T37" fmla="*/ 6 h 49"/>
                  <a:gd name="T38" fmla="*/ 29 w 71"/>
                  <a:gd name="T39" fmla="*/ 6 h 49"/>
                  <a:gd name="T40" fmla="*/ 21 w 71"/>
                  <a:gd name="T41" fmla="*/ 5 h 49"/>
                  <a:gd name="T42" fmla="*/ 14 w 71"/>
                  <a:gd name="T43" fmla="*/ 3 h 49"/>
                  <a:gd name="T44" fmla="*/ 4 w 71"/>
                  <a:gd name="T45" fmla="*/ 0 h 49"/>
                  <a:gd name="T46" fmla="*/ 3 w 71"/>
                  <a:gd name="T47" fmla="*/ 1 h 49"/>
                  <a:gd name="T48" fmla="*/ 1 w 71"/>
                  <a:gd name="T49" fmla="*/ 6 h 49"/>
                  <a:gd name="T50" fmla="*/ 0 w 71"/>
                  <a:gd name="T51" fmla="*/ 8 h 49"/>
                  <a:gd name="T52" fmla="*/ 0 w 71"/>
                  <a:gd name="T53" fmla="*/ 10 h 49"/>
                  <a:gd name="T54" fmla="*/ 1 w 71"/>
                  <a:gd name="T55" fmla="*/ 11 h 49"/>
                  <a:gd name="T56" fmla="*/ 4 w 71"/>
                  <a:gd name="T57" fmla="*/ 1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1" name="Freeform 317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9414901" y="4263296"/>
                <a:ext cx="61232" cy="58751"/>
              </a:xfrm>
              <a:custGeom>
                <a:avLst/>
                <a:gdLst>
                  <a:gd name="T0" fmla="*/ 46 w 112"/>
                  <a:gd name="T1" fmla="*/ 2 h 26"/>
                  <a:gd name="T2" fmla="*/ 56 w 112"/>
                  <a:gd name="T3" fmla="*/ 2 h 26"/>
                  <a:gd name="T4" fmla="*/ 66 w 112"/>
                  <a:gd name="T5" fmla="*/ 3 h 26"/>
                  <a:gd name="T6" fmla="*/ 74 w 112"/>
                  <a:gd name="T7" fmla="*/ 4 h 26"/>
                  <a:gd name="T8" fmla="*/ 84 w 112"/>
                  <a:gd name="T9" fmla="*/ 6 h 26"/>
                  <a:gd name="T10" fmla="*/ 92 w 112"/>
                  <a:gd name="T11" fmla="*/ 9 h 26"/>
                  <a:gd name="T12" fmla="*/ 100 w 112"/>
                  <a:gd name="T13" fmla="*/ 12 h 26"/>
                  <a:gd name="T14" fmla="*/ 106 w 112"/>
                  <a:gd name="T15" fmla="*/ 16 h 26"/>
                  <a:gd name="T16" fmla="*/ 112 w 112"/>
                  <a:gd name="T17" fmla="*/ 20 h 26"/>
                  <a:gd name="T18" fmla="*/ 110 w 112"/>
                  <a:gd name="T19" fmla="*/ 22 h 26"/>
                  <a:gd name="T20" fmla="*/ 105 w 112"/>
                  <a:gd name="T21" fmla="*/ 23 h 26"/>
                  <a:gd name="T22" fmla="*/ 101 w 112"/>
                  <a:gd name="T23" fmla="*/ 25 h 26"/>
                  <a:gd name="T24" fmla="*/ 95 w 112"/>
                  <a:gd name="T25" fmla="*/ 25 h 26"/>
                  <a:gd name="T26" fmla="*/ 87 w 112"/>
                  <a:gd name="T27" fmla="*/ 26 h 26"/>
                  <a:gd name="T28" fmla="*/ 79 w 112"/>
                  <a:gd name="T29" fmla="*/ 26 h 26"/>
                  <a:gd name="T30" fmla="*/ 66 w 112"/>
                  <a:gd name="T31" fmla="*/ 24 h 26"/>
                  <a:gd name="T32" fmla="*/ 41 w 112"/>
                  <a:gd name="T33" fmla="*/ 19 h 26"/>
                  <a:gd name="T34" fmla="*/ 16 w 112"/>
                  <a:gd name="T35" fmla="*/ 13 h 26"/>
                  <a:gd name="T36" fmla="*/ 0 w 112"/>
                  <a:gd name="T37" fmla="*/ 8 h 26"/>
                  <a:gd name="T38" fmla="*/ 5 w 112"/>
                  <a:gd name="T39" fmla="*/ 4 h 26"/>
                  <a:gd name="T40" fmla="*/ 11 w 112"/>
                  <a:gd name="T41" fmla="*/ 2 h 26"/>
                  <a:gd name="T42" fmla="*/ 18 w 112"/>
                  <a:gd name="T43" fmla="*/ 1 h 26"/>
                  <a:gd name="T44" fmla="*/ 25 w 112"/>
                  <a:gd name="T45" fmla="*/ 0 h 26"/>
                  <a:gd name="T46" fmla="*/ 37 w 112"/>
                  <a:gd name="T47" fmla="*/ 1 h 26"/>
                  <a:gd name="T48" fmla="*/ 46 w 112"/>
                  <a:gd name="T4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2" name="Freeform 318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9545810" y="4301406"/>
                <a:ext cx="19001" cy="58751"/>
              </a:xfrm>
              <a:custGeom>
                <a:avLst/>
                <a:gdLst>
                  <a:gd name="T0" fmla="*/ 0 w 41"/>
                  <a:gd name="T1" fmla="*/ 0 h 25"/>
                  <a:gd name="T2" fmla="*/ 41 w 41"/>
                  <a:gd name="T3" fmla="*/ 0 h 25"/>
                  <a:gd name="T4" fmla="*/ 28 w 41"/>
                  <a:gd name="T5" fmla="*/ 8 h 25"/>
                  <a:gd name="T6" fmla="*/ 18 w 41"/>
                  <a:gd name="T7" fmla="*/ 15 h 25"/>
                  <a:gd name="T8" fmla="*/ 9 w 41"/>
                  <a:gd name="T9" fmla="*/ 20 h 25"/>
                  <a:gd name="T10" fmla="*/ 0 w 41"/>
                  <a:gd name="T11" fmla="*/ 25 h 25"/>
                  <a:gd name="T12" fmla="*/ 0 w 41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3" name="Freeform 319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9324108" y="4233126"/>
                <a:ext cx="48564" cy="55576"/>
              </a:xfrm>
              <a:custGeom>
                <a:avLst/>
                <a:gdLst>
                  <a:gd name="T0" fmla="*/ 0 w 81"/>
                  <a:gd name="T1" fmla="*/ 31 h 31"/>
                  <a:gd name="T2" fmla="*/ 0 w 81"/>
                  <a:gd name="T3" fmla="*/ 22 h 31"/>
                  <a:gd name="T4" fmla="*/ 0 w 81"/>
                  <a:gd name="T5" fmla="*/ 13 h 31"/>
                  <a:gd name="T6" fmla="*/ 0 w 81"/>
                  <a:gd name="T7" fmla="*/ 10 h 31"/>
                  <a:gd name="T8" fmla="*/ 2 w 81"/>
                  <a:gd name="T9" fmla="*/ 8 h 31"/>
                  <a:gd name="T10" fmla="*/ 3 w 81"/>
                  <a:gd name="T11" fmla="*/ 6 h 31"/>
                  <a:gd name="T12" fmla="*/ 4 w 81"/>
                  <a:gd name="T13" fmla="*/ 4 h 31"/>
                  <a:gd name="T14" fmla="*/ 8 w 81"/>
                  <a:gd name="T15" fmla="*/ 2 h 31"/>
                  <a:gd name="T16" fmla="*/ 14 w 81"/>
                  <a:gd name="T17" fmla="*/ 0 h 31"/>
                  <a:gd name="T18" fmla="*/ 26 w 81"/>
                  <a:gd name="T19" fmla="*/ 1 h 31"/>
                  <a:gd name="T20" fmla="*/ 41 w 81"/>
                  <a:gd name="T21" fmla="*/ 1 h 31"/>
                  <a:gd name="T22" fmla="*/ 56 w 81"/>
                  <a:gd name="T23" fmla="*/ 1 h 31"/>
                  <a:gd name="T24" fmla="*/ 65 w 81"/>
                  <a:gd name="T25" fmla="*/ 1 h 31"/>
                  <a:gd name="T26" fmla="*/ 73 w 81"/>
                  <a:gd name="T27" fmla="*/ 1 h 31"/>
                  <a:gd name="T28" fmla="*/ 81 w 81"/>
                  <a:gd name="T29" fmla="*/ 1 h 31"/>
                  <a:gd name="T30" fmla="*/ 73 w 81"/>
                  <a:gd name="T31" fmla="*/ 6 h 31"/>
                  <a:gd name="T32" fmla="*/ 67 w 81"/>
                  <a:gd name="T33" fmla="*/ 10 h 31"/>
                  <a:gd name="T34" fmla="*/ 64 w 81"/>
                  <a:gd name="T35" fmla="*/ 14 h 31"/>
                  <a:gd name="T36" fmla="*/ 62 w 81"/>
                  <a:gd name="T37" fmla="*/ 18 h 31"/>
                  <a:gd name="T38" fmla="*/ 59 w 81"/>
                  <a:gd name="T39" fmla="*/ 21 h 31"/>
                  <a:gd name="T40" fmla="*/ 54 w 81"/>
                  <a:gd name="T41" fmla="*/ 23 h 31"/>
                  <a:gd name="T42" fmla="*/ 47 w 81"/>
                  <a:gd name="T43" fmla="*/ 25 h 31"/>
                  <a:gd name="T44" fmla="*/ 34 w 81"/>
                  <a:gd name="T45" fmla="*/ 25 h 31"/>
                  <a:gd name="T46" fmla="*/ 0 w 81"/>
                  <a:gd name="T4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4" name="Freeform 320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9383228" y="4218837"/>
                <a:ext cx="52786" cy="55575"/>
              </a:xfrm>
              <a:custGeom>
                <a:avLst/>
                <a:gdLst>
                  <a:gd name="T0" fmla="*/ 2 w 89"/>
                  <a:gd name="T1" fmla="*/ 49 h 49"/>
                  <a:gd name="T2" fmla="*/ 89 w 89"/>
                  <a:gd name="T3" fmla="*/ 49 h 49"/>
                  <a:gd name="T4" fmla="*/ 78 w 89"/>
                  <a:gd name="T5" fmla="*/ 41 h 49"/>
                  <a:gd name="T6" fmla="*/ 68 w 89"/>
                  <a:gd name="T7" fmla="*/ 35 h 49"/>
                  <a:gd name="T8" fmla="*/ 57 w 89"/>
                  <a:gd name="T9" fmla="*/ 30 h 49"/>
                  <a:gd name="T10" fmla="*/ 46 w 89"/>
                  <a:gd name="T11" fmla="*/ 25 h 49"/>
                  <a:gd name="T12" fmla="*/ 36 w 89"/>
                  <a:gd name="T13" fmla="*/ 21 h 49"/>
                  <a:gd name="T14" fmla="*/ 26 w 89"/>
                  <a:gd name="T15" fmla="*/ 14 h 49"/>
                  <a:gd name="T16" fmla="*/ 16 w 89"/>
                  <a:gd name="T17" fmla="*/ 8 h 49"/>
                  <a:gd name="T18" fmla="*/ 9 w 89"/>
                  <a:gd name="T19" fmla="*/ 0 h 49"/>
                  <a:gd name="T20" fmla="*/ 4 w 89"/>
                  <a:gd name="T21" fmla="*/ 10 h 49"/>
                  <a:gd name="T22" fmla="*/ 1 w 89"/>
                  <a:gd name="T23" fmla="*/ 23 h 49"/>
                  <a:gd name="T24" fmla="*/ 0 w 89"/>
                  <a:gd name="T25" fmla="*/ 29 h 49"/>
                  <a:gd name="T26" fmla="*/ 0 w 89"/>
                  <a:gd name="T27" fmla="*/ 36 h 49"/>
                  <a:gd name="T28" fmla="*/ 0 w 89"/>
                  <a:gd name="T29" fmla="*/ 43 h 49"/>
                  <a:gd name="T30" fmla="*/ 2 w 89"/>
                  <a:gd name="T3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5" name="Freeform 321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9452906" y="4228364"/>
                <a:ext cx="48561" cy="58751"/>
              </a:xfrm>
              <a:custGeom>
                <a:avLst/>
                <a:gdLst>
                  <a:gd name="T0" fmla="*/ 0 w 86"/>
                  <a:gd name="T1" fmla="*/ 21 h 46"/>
                  <a:gd name="T2" fmla="*/ 14 w 86"/>
                  <a:gd name="T3" fmla="*/ 26 h 46"/>
                  <a:gd name="T4" fmla="*/ 25 w 86"/>
                  <a:gd name="T5" fmla="*/ 29 h 46"/>
                  <a:gd name="T6" fmla="*/ 30 w 86"/>
                  <a:gd name="T7" fmla="*/ 30 h 46"/>
                  <a:gd name="T8" fmla="*/ 36 w 86"/>
                  <a:gd name="T9" fmla="*/ 30 h 46"/>
                  <a:gd name="T10" fmla="*/ 41 w 86"/>
                  <a:gd name="T11" fmla="*/ 29 h 46"/>
                  <a:gd name="T12" fmla="*/ 46 w 86"/>
                  <a:gd name="T13" fmla="*/ 27 h 46"/>
                  <a:gd name="T14" fmla="*/ 46 w 86"/>
                  <a:gd name="T15" fmla="*/ 36 h 46"/>
                  <a:gd name="T16" fmla="*/ 46 w 86"/>
                  <a:gd name="T17" fmla="*/ 46 h 46"/>
                  <a:gd name="T18" fmla="*/ 56 w 86"/>
                  <a:gd name="T19" fmla="*/ 45 h 46"/>
                  <a:gd name="T20" fmla="*/ 67 w 86"/>
                  <a:gd name="T21" fmla="*/ 43 h 46"/>
                  <a:gd name="T22" fmla="*/ 77 w 86"/>
                  <a:gd name="T23" fmla="*/ 40 h 46"/>
                  <a:gd name="T24" fmla="*/ 86 w 86"/>
                  <a:gd name="T25" fmla="*/ 40 h 46"/>
                  <a:gd name="T26" fmla="*/ 83 w 86"/>
                  <a:gd name="T27" fmla="*/ 32 h 46"/>
                  <a:gd name="T28" fmla="*/ 80 w 86"/>
                  <a:gd name="T29" fmla="*/ 25 h 46"/>
                  <a:gd name="T30" fmla="*/ 74 w 86"/>
                  <a:gd name="T31" fmla="*/ 19 h 46"/>
                  <a:gd name="T32" fmla="*/ 70 w 86"/>
                  <a:gd name="T33" fmla="*/ 14 h 46"/>
                  <a:gd name="T34" fmla="*/ 64 w 86"/>
                  <a:gd name="T35" fmla="*/ 9 h 46"/>
                  <a:gd name="T36" fmla="*/ 58 w 86"/>
                  <a:gd name="T37" fmla="*/ 6 h 46"/>
                  <a:gd name="T38" fmla="*/ 51 w 86"/>
                  <a:gd name="T39" fmla="*/ 3 h 46"/>
                  <a:gd name="T40" fmla="*/ 46 w 86"/>
                  <a:gd name="T41" fmla="*/ 1 h 46"/>
                  <a:gd name="T42" fmla="*/ 39 w 86"/>
                  <a:gd name="T43" fmla="*/ 0 h 46"/>
                  <a:gd name="T44" fmla="*/ 33 w 86"/>
                  <a:gd name="T45" fmla="*/ 0 h 46"/>
                  <a:gd name="T46" fmla="*/ 26 w 86"/>
                  <a:gd name="T47" fmla="*/ 1 h 46"/>
                  <a:gd name="T48" fmla="*/ 19 w 86"/>
                  <a:gd name="T49" fmla="*/ 3 h 46"/>
                  <a:gd name="T50" fmla="*/ 14 w 86"/>
                  <a:gd name="T51" fmla="*/ 6 h 46"/>
                  <a:gd name="T52" fmla="*/ 8 w 86"/>
                  <a:gd name="T53" fmla="*/ 10 h 46"/>
                  <a:gd name="T54" fmla="*/ 4 w 86"/>
                  <a:gd name="T55" fmla="*/ 15 h 46"/>
                  <a:gd name="T56" fmla="*/ 0 w 86"/>
                  <a:gd name="T57" fmla="*/ 2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6" name="Freeform 322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9522584" y="4233126"/>
                <a:ext cx="33783" cy="55576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18 h 18"/>
                  <a:gd name="T4" fmla="*/ 39 w 59"/>
                  <a:gd name="T5" fmla="*/ 18 h 18"/>
                  <a:gd name="T6" fmla="*/ 59 w 59"/>
                  <a:gd name="T7" fmla="*/ 6 h 18"/>
                  <a:gd name="T8" fmla="*/ 51 w 59"/>
                  <a:gd name="T9" fmla="*/ 5 h 18"/>
                  <a:gd name="T10" fmla="*/ 45 w 59"/>
                  <a:gd name="T11" fmla="*/ 4 h 18"/>
                  <a:gd name="T12" fmla="*/ 37 w 59"/>
                  <a:gd name="T13" fmla="*/ 5 h 18"/>
                  <a:gd name="T14" fmla="*/ 29 w 59"/>
                  <a:gd name="T15" fmla="*/ 6 h 18"/>
                  <a:gd name="T16" fmla="*/ 22 w 59"/>
                  <a:gd name="T17" fmla="*/ 6 h 18"/>
                  <a:gd name="T18" fmla="*/ 14 w 59"/>
                  <a:gd name="T19" fmla="*/ 5 h 18"/>
                  <a:gd name="T20" fmla="*/ 7 w 59"/>
                  <a:gd name="T21" fmla="*/ 4 h 18"/>
                  <a:gd name="T22" fmla="*/ 0 w 59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7" name="Freeform 323"/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9619709" y="4225188"/>
                <a:ext cx="2112" cy="55575"/>
              </a:xfrm>
              <a:custGeom>
                <a:avLst/>
                <a:gdLst>
                  <a:gd name="T0" fmla="*/ 4 w 4"/>
                  <a:gd name="T1" fmla="*/ 19 h 19"/>
                  <a:gd name="T2" fmla="*/ 4 w 4"/>
                  <a:gd name="T3" fmla="*/ 0 h 19"/>
                  <a:gd name="T4" fmla="*/ 2 w 4"/>
                  <a:gd name="T5" fmla="*/ 1 h 19"/>
                  <a:gd name="T6" fmla="*/ 1 w 4"/>
                  <a:gd name="T7" fmla="*/ 3 h 19"/>
                  <a:gd name="T8" fmla="*/ 0 w 4"/>
                  <a:gd name="T9" fmla="*/ 6 h 19"/>
                  <a:gd name="T10" fmla="*/ 0 w 4"/>
                  <a:gd name="T11" fmla="*/ 10 h 19"/>
                  <a:gd name="T12" fmla="*/ 0 w 4"/>
                  <a:gd name="T13" fmla="*/ 14 h 19"/>
                  <a:gd name="T14" fmla="*/ 1 w 4"/>
                  <a:gd name="T15" fmla="*/ 16 h 19"/>
                  <a:gd name="T16" fmla="*/ 2 w 4"/>
                  <a:gd name="T17" fmla="*/ 19 h 19"/>
                  <a:gd name="T18" fmla="*/ 4 w 4"/>
                  <a:gd name="T1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8" name="Freeform 324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9053845" y="4039407"/>
                <a:ext cx="27450" cy="58752"/>
              </a:xfrm>
              <a:custGeom>
                <a:avLst/>
                <a:gdLst>
                  <a:gd name="T0" fmla="*/ 0 w 46"/>
                  <a:gd name="T1" fmla="*/ 50 h 50"/>
                  <a:gd name="T2" fmla="*/ 7 w 46"/>
                  <a:gd name="T3" fmla="*/ 0 h 50"/>
                  <a:gd name="T4" fmla="*/ 23 w 46"/>
                  <a:gd name="T5" fmla="*/ 8 h 50"/>
                  <a:gd name="T6" fmla="*/ 34 w 46"/>
                  <a:gd name="T7" fmla="*/ 14 h 50"/>
                  <a:gd name="T8" fmla="*/ 37 w 46"/>
                  <a:gd name="T9" fmla="*/ 18 h 50"/>
                  <a:gd name="T10" fmla="*/ 41 w 46"/>
                  <a:gd name="T11" fmla="*/ 22 h 50"/>
                  <a:gd name="T12" fmla="*/ 44 w 46"/>
                  <a:gd name="T13" fmla="*/ 30 h 50"/>
                  <a:gd name="T14" fmla="*/ 46 w 46"/>
                  <a:gd name="T15" fmla="*/ 38 h 50"/>
                  <a:gd name="T16" fmla="*/ 34 w 46"/>
                  <a:gd name="T17" fmla="*/ 42 h 50"/>
                  <a:gd name="T18" fmla="*/ 21 w 46"/>
                  <a:gd name="T19" fmla="*/ 46 h 50"/>
                  <a:gd name="T20" fmla="*/ 8 w 46"/>
                  <a:gd name="T21" fmla="*/ 49 h 50"/>
                  <a:gd name="T22" fmla="*/ 0 w 46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9" name="Freeform 325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8982058" y="4012414"/>
                <a:ext cx="40118" cy="58751"/>
              </a:xfrm>
              <a:custGeom>
                <a:avLst/>
                <a:gdLst>
                  <a:gd name="T0" fmla="*/ 0 w 66"/>
                  <a:gd name="T1" fmla="*/ 0 h 80"/>
                  <a:gd name="T2" fmla="*/ 10 w 66"/>
                  <a:gd name="T3" fmla="*/ 0 h 80"/>
                  <a:gd name="T4" fmla="*/ 18 w 66"/>
                  <a:gd name="T5" fmla="*/ 0 h 80"/>
                  <a:gd name="T6" fmla="*/ 26 w 66"/>
                  <a:gd name="T7" fmla="*/ 0 h 80"/>
                  <a:gd name="T8" fmla="*/ 33 w 66"/>
                  <a:gd name="T9" fmla="*/ 0 h 80"/>
                  <a:gd name="T10" fmla="*/ 33 w 66"/>
                  <a:gd name="T11" fmla="*/ 7 h 80"/>
                  <a:gd name="T12" fmla="*/ 34 w 66"/>
                  <a:gd name="T13" fmla="*/ 14 h 80"/>
                  <a:gd name="T14" fmla="*/ 36 w 66"/>
                  <a:gd name="T15" fmla="*/ 21 h 80"/>
                  <a:gd name="T16" fmla="*/ 38 w 66"/>
                  <a:gd name="T17" fmla="*/ 27 h 80"/>
                  <a:gd name="T18" fmla="*/ 44 w 66"/>
                  <a:gd name="T19" fmla="*/ 36 h 80"/>
                  <a:gd name="T20" fmla="*/ 49 w 66"/>
                  <a:gd name="T21" fmla="*/ 45 h 80"/>
                  <a:gd name="T22" fmla="*/ 56 w 66"/>
                  <a:gd name="T23" fmla="*/ 52 h 80"/>
                  <a:gd name="T24" fmla="*/ 61 w 66"/>
                  <a:gd name="T25" fmla="*/ 60 h 80"/>
                  <a:gd name="T26" fmla="*/ 62 w 66"/>
                  <a:gd name="T27" fmla="*/ 65 h 80"/>
                  <a:gd name="T28" fmla="*/ 65 w 66"/>
                  <a:gd name="T29" fmla="*/ 69 h 80"/>
                  <a:gd name="T30" fmla="*/ 66 w 66"/>
                  <a:gd name="T31" fmla="*/ 75 h 80"/>
                  <a:gd name="T32" fmla="*/ 66 w 66"/>
                  <a:gd name="T33" fmla="*/ 80 h 80"/>
                  <a:gd name="T34" fmla="*/ 0 w 66"/>
                  <a:gd name="T35" fmla="*/ 18 h 80"/>
                  <a:gd name="T36" fmla="*/ 0 w 66"/>
                  <a:gd name="T3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0" name="Freeform 326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8762468" y="3996534"/>
                <a:ext cx="10558" cy="57162"/>
              </a:xfrm>
              <a:custGeom>
                <a:avLst/>
                <a:gdLst>
                  <a:gd name="T0" fmla="*/ 20 w 20"/>
                  <a:gd name="T1" fmla="*/ 48 h 48"/>
                  <a:gd name="T2" fmla="*/ 20 w 20"/>
                  <a:gd name="T3" fmla="*/ 39 h 48"/>
                  <a:gd name="T4" fmla="*/ 19 w 20"/>
                  <a:gd name="T5" fmla="*/ 32 h 48"/>
                  <a:gd name="T6" fmla="*/ 16 w 20"/>
                  <a:gd name="T7" fmla="*/ 25 h 48"/>
                  <a:gd name="T8" fmla="*/ 14 w 20"/>
                  <a:gd name="T9" fmla="*/ 19 h 48"/>
                  <a:gd name="T10" fmla="*/ 12 w 20"/>
                  <a:gd name="T11" fmla="*/ 14 h 48"/>
                  <a:gd name="T12" fmla="*/ 9 w 20"/>
                  <a:gd name="T13" fmla="*/ 9 h 48"/>
                  <a:gd name="T14" fmla="*/ 4 w 20"/>
                  <a:gd name="T15" fmla="*/ 4 h 48"/>
                  <a:gd name="T16" fmla="*/ 0 w 20"/>
                  <a:gd name="T17" fmla="*/ 0 h 48"/>
                  <a:gd name="T18" fmla="*/ 0 w 20"/>
                  <a:gd name="T19" fmla="*/ 8 h 48"/>
                  <a:gd name="T20" fmla="*/ 2 w 20"/>
                  <a:gd name="T21" fmla="*/ 17 h 48"/>
                  <a:gd name="T22" fmla="*/ 4 w 20"/>
                  <a:gd name="T23" fmla="*/ 24 h 48"/>
                  <a:gd name="T24" fmla="*/ 8 w 20"/>
                  <a:gd name="T25" fmla="*/ 31 h 48"/>
                  <a:gd name="T26" fmla="*/ 14 w 20"/>
                  <a:gd name="T27" fmla="*/ 41 h 48"/>
                  <a:gd name="T28" fmla="*/ 20 w 20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1" name="Line 327" descr="Horizontal dunkel"/>
              <p:cNvSpPr>
                <a:spLocks noChangeShapeType="1"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8796251" y="4033055"/>
                <a:ext cx="6335" cy="6351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2" name="Freeform 328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8792028" y="4033055"/>
                <a:ext cx="10558" cy="57162"/>
              </a:xfrm>
              <a:custGeom>
                <a:avLst/>
                <a:gdLst>
                  <a:gd name="T0" fmla="*/ 20 w 20"/>
                  <a:gd name="T1" fmla="*/ 12 h 12"/>
                  <a:gd name="T2" fmla="*/ 20 w 20"/>
                  <a:gd name="T3" fmla="*/ 8 h 12"/>
                  <a:gd name="T4" fmla="*/ 18 w 20"/>
                  <a:gd name="T5" fmla="*/ 5 h 12"/>
                  <a:gd name="T6" fmla="*/ 15 w 20"/>
                  <a:gd name="T7" fmla="*/ 3 h 12"/>
                  <a:gd name="T8" fmla="*/ 13 w 20"/>
                  <a:gd name="T9" fmla="*/ 2 h 12"/>
                  <a:gd name="T10" fmla="*/ 7 w 20"/>
                  <a:gd name="T11" fmla="*/ 0 h 12"/>
                  <a:gd name="T12" fmla="*/ 0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3" name="Freeform 329"/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8661119" y="3877445"/>
                <a:ext cx="29560" cy="57162"/>
              </a:xfrm>
              <a:custGeom>
                <a:avLst/>
                <a:gdLst>
                  <a:gd name="T0" fmla="*/ 7 w 53"/>
                  <a:gd name="T1" fmla="*/ 0 h 30"/>
                  <a:gd name="T2" fmla="*/ 11 w 53"/>
                  <a:gd name="T3" fmla="*/ 4 h 30"/>
                  <a:gd name="T4" fmla="*/ 23 w 53"/>
                  <a:gd name="T5" fmla="*/ 13 h 30"/>
                  <a:gd name="T6" fmla="*/ 37 w 53"/>
                  <a:gd name="T7" fmla="*/ 23 h 30"/>
                  <a:gd name="T8" fmla="*/ 46 w 53"/>
                  <a:gd name="T9" fmla="*/ 30 h 30"/>
                  <a:gd name="T10" fmla="*/ 49 w 53"/>
                  <a:gd name="T11" fmla="*/ 18 h 30"/>
                  <a:gd name="T12" fmla="*/ 53 w 53"/>
                  <a:gd name="T13" fmla="*/ 6 h 30"/>
                  <a:gd name="T14" fmla="*/ 37 w 53"/>
                  <a:gd name="T15" fmla="*/ 5 h 30"/>
                  <a:gd name="T16" fmla="*/ 26 w 53"/>
                  <a:gd name="T17" fmla="*/ 3 h 30"/>
                  <a:gd name="T18" fmla="*/ 21 w 53"/>
                  <a:gd name="T19" fmla="*/ 3 h 30"/>
                  <a:gd name="T20" fmla="*/ 15 w 53"/>
                  <a:gd name="T21" fmla="*/ 3 h 30"/>
                  <a:gd name="T22" fmla="*/ 9 w 53"/>
                  <a:gd name="T23" fmla="*/ 4 h 30"/>
                  <a:gd name="T24" fmla="*/ 0 w 53"/>
                  <a:gd name="T25" fmla="*/ 6 h 30"/>
                  <a:gd name="T26" fmla="*/ 7 w 53"/>
                  <a:gd name="T2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4" name="Freeform 330"/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9364227" y="4241067"/>
                <a:ext cx="14779" cy="57162"/>
              </a:xfrm>
              <a:custGeom>
                <a:avLst/>
                <a:gdLst>
                  <a:gd name="T0" fmla="*/ 0 w 33"/>
                  <a:gd name="T1" fmla="*/ 6 h 31"/>
                  <a:gd name="T2" fmla="*/ 4 w 33"/>
                  <a:gd name="T3" fmla="*/ 21 h 31"/>
                  <a:gd name="T4" fmla="*/ 7 w 33"/>
                  <a:gd name="T5" fmla="*/ 31 h 31"/>
                  <a:gd name="T6" fmla="*/ 22 w 33"/>
                  <a:gd name="T7" fmla="*/ 31 h 31"/>
                  <a:gd name="T8" fmla="*/ 33 w 33"/>
                  <a:gd name="T9" fmla="*/ 31 h 31"/>
                  <a:gd name="T10" fmla="*/ 33 w 33"/>
                  <a:gd name="T11" fmla="*/ 0 h 31"/>
                  <a:gd name="T12" fmla="*/ 27 w 33"/>
                  <a:gd name="T13" fmla="*/ 0 h 31"/>
                  <a:gd name="T14" fmla="*/ 19 w 33"/>
                  <a:gd name="T15" fmla="*/ 0 h 31"/>
                  <a:gd name="T16" fmla="*/ 10 w 33"/>
                  <a:gd name="T17" fmla="*/ 0 h 31"/>
                  <a:gd name="T18" fmla="*/ 0 w 33"/>
                  <a:gd name="T19" fmla="*/ 0 h 31"/>
                  <a:gd name="T20" fmla="*/ 0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5" name="Freeform 331"/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10050441" y="4198194"/>
                <a:ext cx="38005" cy="55576"/>
              </a:xfrm>
              <a:custGeom>
                <a:avLst/>
                <a:gdLst>
                  <a:gd name="T0" fmla="*/ 19 w 65"/>
                  <a:gd name="T1" fmla="*/ 68 h 68"/>
                  <a:gd name="T2" fmla="*/ 16 w 65"/>
                  <a:gd name="T3" fmla="*/ 68 h 68"/>
                  <a:gd name="T4" fmla="*/ 14 w 65"/>
                  <a:gd name="T5" fmla="*/ 66 h 68"/>
                  <a:gd name="T6" fmla="*/ 11 w 65"/>
                  <a:gd name="T7" fmla="*/ 64 h 68"/>
                  <a:gd name="T8" fmla="*/ 7 w 65"/>
                  <a:gd name="T9" fmla="*/ 61 h 68"/>
                  <a:gd name="T10" fmla="*/ 4 w 65"/>
                  <a:gd name="T11" fmla="*/ 59 h 68"/>
                  <a:gd name="T12" fmla="*/ 2 w 65"/>
                  <a:gd name="T13" fmla="*/ 55 h 68"/>
                  <a:gd name="T14" fmla="*/ 0 w 65"/>
                  <a:gd name="T15" fmla="*/ 52 h 68"/>
                  <a:gd name="T16" fmla="*/ 0 w 65"/>
                  <a:gd name="T17" fmla="*/ 49 h 68"/>
                  <a:gd name="T18" fmla="*/ 0 w 65"/>
                  <a:gd name="T19" fmla="*/ 38 h 68"/>
                  <a:gd name="T20" fmla="*/ 2 w 65"/>
                  <a:gd name="T21" fmla="*/ 29 h 68"/>
                  <a:gd name="T22" fmla="*/ 5 w 65"/>
                  <a:gd name="T23" fmla="*/ 21 h 68"/>
                  <a:gd name="T24" fmla="*/ 9 w 65"/>
                  <a:gd name="T25" fmla="*/ 14 h 68"/>
                  <a:gd name="T26" fmla="*/ 15 w 65"/>
                  <a:gd name="T27" fmla="*/ 8 h 68"/>
                  <a:gd name="T28" fmla="*/ 22 w 65"/>
                  <a:gd name="T29" fmla="*/ 4 h 68"/>
                  <a:gd name="T30" fmla="*/ 30 w 65"/>
                  <a:gd name="T31" fmla="*/ 2 h 68"/>
                  <a:gd name="T32" fmla="*/ 39 w 65"/>
                  <a:gd name="T33" fmla="*/ 0 h 68"/>
                  <a:gd name="T34" fmla="*/ 52 w 65"/>
                  <a:gd name="T35" fmla="*/ 0 h 68"/>
                  <a:gd name="T36" fmla="*/ 65 w 65"/>
                  <a:gd name="T37" fmla="*/ 0 h 68"/>
                  <a:gd name="T38" fmla="*/ 65 w 65"/>
                  <a:gd name="T39" fmla="*/ 43 h 68"/>
                  <a:gd name="T40" fmla="*/ 56 w 65"/>
                  <a:gd name="T41" fmla="*/ 52 h 68"/>
                  <a:gd name="T42" fmla="*/ 45 w 65"/>
                  <a:gd name="T43" fmla="*/ 61 h 68"/>
                  <a:gd name="T44" fmla="*/ 39 w 65"/>
                  <a:gd name="T45" fmla="*/ 64 h 68"/>
                  <a:gd name="T46" fmla="*/ 34 w 65"/>
                  <a:gd name="T47" fmla="*/ 66 h 68"/>
                  <a:gd name="T48" fmla="*/ 27 w 65"/>
                  <a:gd name="T49" fmla="*/ 68 h 68"/>
                  <a:gd name="T50" fmla="*/ 19 w 65"/>
                  <a:gd name="T51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6" name="Freeform 332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8637894" y="3780585"/>
                <a:ext cx="365277" cy="368385"/>
              </a:xfrm>
              <a:custGeom>
                <a:avLst/>
                <a:gdLst>
                  <a:gd name="T0" fmla="*/ 502 w 625"/>
                  <a:gd name="T1" fmla="*/ 337 h 694"/>
                  <a:gd name="T2" fmla="*/ 484 w 625"/>
                  <a:gd name="T3" fmla="*/ 341 h 694"/>
                  <a:gd name="T4" fmla="*/ 479 w 625"/>
                  <a:gd name="T5" fmla="*/ 382 h 694"/>
                  <a:gd name="T6" fmla="*/ 515 w 625"/>
                  <a:gd name="T7" fmla="*/ 404 h 694"/>
                  <a:gd name="T8" fmla="*/ 534 w 625"/>
                  <a:gd name="T9" fmla="*/ 405 h 694"/>
                  <a:gd name="T10" fmla="*/ 550 w 625"/>
                  <a:gd name="T11" fmla="*/ 424 h 694"/>
                  <a:gd name="T12" fmla="*/ 560 w 625"/>
                  <a:gd name="T13" fmla="*/ 459 h 694"/>
                  <a:gd name="T14" fmla="*/ 572 w 625"/>
                  <a:gd name="T15" fmla="*/ 474 h 694"/>
                  <a:gd name="T16" fmla="*/ 588 w 625"/>
                  <a:gd name="T17" fmla="*/ 483 h 694"/>
                  <a:gd name="T18" fmla="*/ 614 w 625"/>
                  <a:gd name="T19" fmla="*/ 487 h 694"/>
                  <a:gd name="T20" fmla="*/ 625 w 625"/>
                  <a:gd name="T21" fmla="*/ 505 h 694"/>
                  <a:gd name="T22" fmla="*/ 625 w 625"/>
                  <a:gd name="T23" fmla="*/ 539 h 694"/>
                  <a:gd name="T24" fmla="*/ 618 w 625"/>
                  <a:gd name="T25" fmla="*/ 603 h 694"/>
                  <a:gd name="T26" fmla="*/ 611 w 625"/>
                  <a:gd name="T27" fmla="*/ 672 h 694"/>
                  <a:gd name="T28" fmla="*/ 562 w 625"/>
                  <a:gd name="T29" fmla="*/ 693 h 694"/>
                  <a:gd name="T30" fmla="*/ 539 w 625"/>
                  <a:gd name="T31" fmla="*/ 693 h 694"/>
                  <a:gd name="T32" fmla="*/ 394 w 625"/>
                  <a:gd name="T33" fmla="*/ 564 h 694"/>
                  <a:gd name="T34" fmla="*/ 397 w 625"/>
                  <a:gd name="T35" fmla="*/ 552 h 694"/>
                  <a:gd name="T36" fmla="*/ 394 w 625"/>
                  <a:gd name="T37" fmla="*/ 539 h 694"/>
                  <a:gd name="T38" fmla="*/ 338 w 625"/>
                  <a:gd name="T39" fmla="*/ 488 h 694"/>
                  <a:gd name="T40" fmla="*/ 305 w 625"/>
                  <a:gd name="T41" fmla="*/ 453 h 694"/>
                  <a:gd name="T42" fmla="*/ 293 w 625"/>
                  <a:gd name="T43" fmla="*/ 419 h 694"/>
                  <a:gd name="T44" fmla="*/ 291 w 625"/>
                  <a:gd name="T45" fmla="*/ 381 h 694"/>
                  <a:gd name="T46" fmla="*/ 285 w 625"/>
                  <a:gd name="T47" fmla="*/ 360 h 694"/>
                  <a:gd name="T48" fmla="*/ 268 w 625"/>
                  <a:gd name="T49" fmla="*/ 342 h 694"/>
                  <a:gd name="T50" fmla="*/ 241 w 625"/>
                  <a:gd name="T51" fmla="*/ 310 h 694"/>
                  <a:gd name="T52" fmla="*/ 224 w 625"/>
                  <a:gd name="T53" fmla="*/ 269 h 694"/>
                  <a:gd name="T54" fmla="*/ 213 w 625"/>
                  <a:gd name="T55" fmla="*/ 238 h 694"/>
                  <a:gd name="T56" fmla="*/ 190 w 625"/>
                  <a:gd name="T57" fmla="*/ 212 h 694"/>
                  <a:gd name="T58" fmla="*/ 150 w 625"/>
                  <a:gd name="T59" fmla="*/ 171 h 694"/>
                  <a:gd name="T60" fmla="*/ 136 w 625"/>
                  <a:gd name="T61" fmla="*/ 146 h 694"/>
                  <a:gd name="T62" fmla="*/ 112 w 625"/>
                  <a:gd name="T63" fmla="*/ 132 h 694"/>
                  <a:gd name="T64" fmla="*/ 80 w 625"/>
                  <a:gd name="T65" fmla="*/ 113 h 694"/>
                  <a:gd name="T66" fmla="*/ 49 w 625"/>
                  <a:gd name="T67" fmla="*/ 85 h 694"/>
                  <a:gd name="T68" fmla="*/ 23 w 625"/>
                  <a:gd name="T69" fmla="*/ 51 h 694"/>
                  <a:gd name="T70" fmla="*/ 5 w 625"/>
                  <a:gd name="T71" fmla="*/ 19 h 694"/>
                  <a:gd name="T72" fmla="*/ 10 w 625"/>
                  <a:gd name="T73" fmla="*/ 4 h 694"/>
                  <a:gd name="T74" fmla="*/ 37 w 625"/>
                  <a:gd name="T75" fmla="*/ 13 h 694"/>
                  <a:gd name="T76" fmla="*/ 84 w 625"/>
                  <a:gd name="T77" fmla="*/ 16 h 694"/>
                  <a:gd name="T78" fmla="*/ 116 w 625"/>
                  <a:gd name="T79" fmla="*/ 20 h 694"/>
                  <a:gd name="T80" fmla="*/ 138 w 625"/>
                  <a:gd name="T81" fmla="*/ 27 h 694"/>
                  <a:gd name="T82" fmla="*/ 156 w 625"/>
                  <a:gd name="T83" fmla="*/ 42 h 694"/>
                  <a:gd name="T84" fmla="*/ 204 w 625"/>
                  <a:gd name="T85" fmla="*/ 109 h 694"/>
                  <a:gd name="T86" fmla="*/ 254 w 625"/>
                  <a:gd name="T87" fmla="*/ 163 h 694"/>
                  <a:gd name="T88" fmla="*/ 299 w 625"/>
                  <a:gd name="T89" fmla="*/ 202 h 694"/>
                  <a:gd name="T90" fmla="*/ 329 w 625"/>
                  <a:gd name="T91" fmla="*/ 219 h 694"/>
                  <a:gd name="T92" fmla="*/ 366 w 625"/>
                  <a:gd name="T93" fmla="*/ 227 h 694"/>
                  <a:gd name="T94" fmla="*/ 388 w 625"/>
                  <a:gd name="T95" fmla="*/ 230 h 694"/>
                  <a:gd name="T96" fmla="*/ 401 w 625"/>
                  <a:gd name="T97" fmla="*/ 241 h 694"/>
                  <a:gd name="T98" fmla="*/ 416 w 625"/>
                  <a:gd name="T99" fmla="*/ 260 h 694"/>
                  <a:gd name="T100" fmla="*/ 427 w 625"/>
                  <a:gd name="T101" fmla="*/ 265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7" name="Freeform 333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9091851" y="3829809"/>
                <a:ext cx="337830" cy="257234"/>
              </a:xfrm>
              <a:custGeom>
                <a:avLst/>
                <a:gdLst>
                  <a:gd name="T0" fmla="*/ 516 w 585"/>
                  <a:gd name="T1" fmla="*/ 28 h 493"/>
                  <a:gd name="T2" fmla="*/ 495 w 585"/>
                  <a:gd name="T3" fmla="*/ 55 h 493"/>
                  <a:gd name="T4" fmla="*/ 512 w 585"/>
                  <a:gd name="T5" fmla="*/ 93 h 493"/>
                  <a:gd name="T6" fmla="*/ 534 w 585"/>
                  <a:gd name="T7" fmla="*/ 130 h 493"/>
                  <a:gd name="T8" fmla="*/ 573 w 585"/>
                  <a:gd name="T9" fmla="*/ 177 h 493"/>
                  <a:gd name="T10" fmla="*/ 580 w 585"/>
                  <a:gd name="T11" fmla="*/ 205 h 493"/>
                  <a:gd name="T12" fmla="*/ 547 w 585"/>
                  <a:gd name="T13" fmla="*/ 204 h 493"/>
                  <a:gd name="T14" fmla="*/ 516 w 585"/>
                  <a:gd name="T15" fmla="*/ 233 h 493"/>
                  <a:gd name="T16" fmla="*/ 506 w 585"/>
                  <a:gd name="T17" fmla="*/ 246 h 493"/>
                  <a:gd name="T18" fmla="*/ 518 w 585"/>
                  <a:gd name="T19" fmla="*/ 271 h 493"/>
                  <a:gd name="T20" fmla="*/ 525 w 585"/>
                  <a:gd name="T21" fmla="*/ 294 h 493"/>
                  <a:gd name="T22" fmla="*/ 505 w 585"/>
                  <a:gd name="T23" fmla="*/ 308 h 493"/>
                  <a:gd name="T24" fmla="*/ 459 w 585"/>
                  <a:gd name="T25" fmla="*/ 323 h 493"/>
                  <a:gd name="T26" fmla="*/ 443 w 585"/>
                  <a:gd name="T27" fmla="*/ 354 h 493"/>
                  <a:gd name="T28" fmla="*/ 445 w 585"/>
                  <a:gd name="T29" fmla="*/ 415 h 493"/>
                  <a:gd name="T30" fmla="*/ 430 w 585"/>
                  <a:gd name="T31" fmla="*/ 454 h 493"/>
                  <a:gd name="T32" fmla="*/ 400 w 585"/>
                  <a:gd name="T33" fmla="*/ 472 h 493"/>
                  <a:gd name="T34" fmla="*/ 370 w 585"/>
                  <a:gd name="T35" fmla="*/ 488 h 493"/>
                  <a:gd name="T36" fmla="*/ 341 w 585"/>
                  <a:gd name="T37" fmla="*/ 493 h 493"/>
                  <a:gd name="T38" fmla="*/ 329 w 585"/>
                  <a:gd name="T39" fmla="*/ 487 h 493"/>
                  <a:gd name="T40" fmla="*/ 327 w 585"/>
                  <a:gd name="T41" fmla="*/ 471 h 493"/>
                  <a:gd name="T42" fmla="*/ 304 w 585"/>
                  <a:gd name="T43" fmla="*/ 451 h 493"/>
                  <a:gd name="T44" fmla="*/ 251 w 585"/>
                  <a:gd name="T45" fmla="*/ 454 h 493"/>
                  <a:gd name="T46" fmla="*/ 219 w 585"/>
                  <a:gd name="T47" fmla="*/ 462 h 493"/>
                  <a:gd name="T48" fmla="*/ 176 w 585"/>
                  <a:gd name="T49" fmla="*/ 440 h 493"/>
                  <a:gd name="T50" fmla="*/ 122 w 585"/>
                  <a:gd name="T51" fmla="*/ 436 h 493"/>
                  <a:gd name="T52" fmla="*/ 95 w 585"/>
                  <a:gd name="T53" fmla="*/ 429 h 493"/>
                  <a:gd name="T54" fmla="*/ 81 w 585"/>
                  <a:gd name="T55" fmla="*/ 366 h 493"/>
                  <a:gd name="T56" fmla="*/ 58 w 585"/>
                  <a:gd name="T57" fmla="*/ 310 h 493"/>
                  <a:gd name="T58" fmla="*/ 35 w 585"/>
                  <a:gd name="T59" fmla="*/ 292 h 493"/>
                  <a:gd name="T60" fmla="*/ 12 w 585"/>
                  <a:gd name="T61" fmla="*/ 260 h 493"/>
                  <a:gd name="T62" fmla="*/ 5 w 585"/>
                  <a:gd name="T63" fmla="*/ 204 h 493"/>
                  <a:gd name="T64" fmla="*/ 31 w 585"/>
                  <a:gd name="T65" fmla="*/ 153 h 493"/>
                  <a:gd name="T66" fmla="*/ 54 w 585"/>
                  <a:gd name="T67" fmla="*/ 141 h 493"/>
                  <a:gd name="T68" fmla="*/ 75 w 585"/>
                  <a:gd name="T69" fmla="*/ 152 h 493"/>
                  <a:gd name="T70" fmla="*/ 97 w 585"/>
                  <a:gd name="T71" fmla="*/ 187 h 493"/>
                  <a:gd name="T72" fmla="*/ 129 w 585"/>
                  <a:gd name="T73" fmla="*/ 214 h 493"/>
                  <a:gd name="T74" fmla="*/ 170 w 585"/>
                  <a:gd name="T75" fmla="*/ 213 h 493"/>
                  <a:gd name="T76" fmla="*/ 221 w 585"/>
                  <a:gd name="T77" fmla="*/ 189 h 493"/>
                  <a:gd name="T78" fmla="*/ 233 w 585"/>
                  <a:gd name="T79" fmla="*/ 172 h 493"/>
                  <a:gd name="T80" fmla="*/ 288 w 585"/>
                  <a:gd name="T81" fmla="*/ 178 h 493"/>
                  <a:gd name="T82" fmla="*/ 326 w 585"/>
                  <a:gd name="T83" fmla="*/ 181 h 493"/>
                  <a:gd name="T84" fmla="*/ 337 w 585"/>
                  <a:gd name="T85" fmla="*/ 170 h 493"/>
                  <a:gd name="T86" fmla="*/ 362 w 585"/>
                  <a:gd name="T87" fmla="*/ 158 h 493"/>
                  <a:gd name="T88" fmla="*/ 383 w 585"/>
                  <a:gd name="T89" fmla="*/ 136 h 493"/>
                  <a:gd name="T90" fmla="*/ 415 w 585"/>
                  <a:gd name="T91" fmla="*/ 79 h 493"/>
                  <a:gd name="T92" fmla="*/ 427 w 585"/>
                  <a:gd name="T93" fmla="*/ 25 h 493"/>
                  <a:gd name="T94" fmla="*/ 447 w 585"/>
                  <a:gd name="T95" fmla="*/ 6 h 493"/>
                  <a:gd name="T96" fmla="*/ 479 w 585"/>
                  <a:gd name="T97" fmla="*/ 2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8" name="Freeform 334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9564811" y="4236303"/>
                <a:ext cx="122463" cy="57162"/>
              </a:xfrm>
              <a:custGeom>
                <a:avLst/>
                <a:gdLst>
                  <a:gd name="T0" fmla="*/ 0 w 212"/>
                  <a:gd name="T1" fmla="*/ 105 h 105"/>
                  <a:gd name="T2" fmla="*/ 16 w 212"/>
                  <a:gd name="T3" fmla="*/ 85 h 105"/>
                  <a:gd name="T4" fmla="*/ 35 w 212"/>
                  <a:gd name="T5" fmla="*/ 68 h 105"/>
                  <a:gd name="T6" fmla="*/ 44 w 212"/>
                  <a:gd name="T7" fmla="*/ 60 h 105"/>
                  <a:gd name="T8" fmla="*/ 54 w 212"/>
                  <a:gd name="T9" fmla="*/ 53 h 105"/>
                  <a:gd name="T10" fmla="*/ 64 w 212"/>
                  <a:gd name="T11" fmla="*/ 46 h 105"/>
                  <a:gd name="T12" fmla="*/ 73 w 212"/>
                  <a:gd name="T13" fmla="*/ 38 h 105"/>
                  <a:gd name="T14" fmla="*/ 83 w 212"/>
                  <a:gd name="T15" fmla="*/ 32 h 105"/>
                  <a:gd name="T16" fmla="*/ 94 w 212"/>
                  <a:gd name="T17" fmla="*/ 27 h 105"/>
                  <a:gd name="T18" fmla="*/ 106 w 212"/>
                  <a:gd name="T19" fmla="*/ 21 h 105"/>
                  <a:gd name="T20" fmla="*/ 118 w 212"/>
                  <a:gd name="T21" fmla="*/ 16 h 105"/>
                  <a:gd name="T22" fmla="*/ 144 w 212"/>
                  <a:gd name="T23" fmla="*/ 8 h 105"/>
                  <a:gd name="T24" fmla="*/ 172 w 212"/>
                  <a:gd name="T25" fmla="*/ 0 h 105"/>
                  <a:gd name="T26" fmla="*/ 212 w 212"/>
                  <a:gd name="T27" fmla="*/ 0 h 105"/>
                  <a:gd name="T28" fmla="*/ 202 w 212"/>
                  <a:gd name="T29" fmla="*/ 9 h 105"/>
                  <a:gd name="T30" fmla="*/ 190 w 212"/>
                  <a:gd name="T31" fmla="*/ 18 h 105"/>
                  <a:gd name="T32" fmla="*/ 178 w 212"/>
                  <a:gd name="T33" fmla="*/ 27 h 105"/>
                  <a:gd name="T34" fmla="*/ 165 w 212"/>
                  <a:gd name="T35" fmla="*/ 35 h 105"/>
                  <a:gd name="T36" fmla="*/ 137 w 212"/>
                  <a:gd name="T37" fmla="*/ 52 h 105"/>
                  <a:gd name="T38" fmla="*/ 109 w 212"/>
                  <a:gd name="T39" fmla="*/ 66 h 105"/>
                  <a:gd name="T40" fmla="*/ 79 w 212"/>
                  <a:gd name="T41" fmla="*/ 79 h 105"/>
                  <a:gd name="T42" fmla="*/ 50 w 212"/>
                  <a:gd name="T43" fmla="*/ 90 h 105"/>
                  <a:gd name="T44" fmla="*/ 23 w 212"/>
                  <a:gd name="T45" fmla="*/ 99 h 105"/>
                  <a:gd name="T46" fmla="*/ 0 w 212"/>
                  <a:gd name="T4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9" name="Freeform 335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9718946" y="3902851"/>
                <a:ext cx="57008" cy="88921"/>
              </a:xfrm>
              <a:custGeom>
                <a:avLst/>
                <a:gdLst>
                  <a:gd name="T0" fmla="*/ 0 w 92"/>
                  <a:gd name="T1" fmla="*/ 81 h 166"/>
                  <a:gd name="T2" fmla="*/ 0 w 92"/>
                  <a:gd name="T3" fmla="*/ 148 h 166"/>
                  <a:gd name="T4" fmla="*/ 5 w 92"/>
                  <a:gd name="T5" fmla="*/ 144 h 166"/>
                  <a:gd name="T6" fmla="*/ 12 w 92"/>
                  <a:gd name="T7" fmla="*/ 139 h 166"/>
                  <a:gd name="T8" fmla="*/ 14 w 92"/>
                  <a:gd name="T9" fmla="*/ 137 h 166"/>
                  <a:gd name="T10" fmla="*/ 17 w 92"/>
                  <a:gd name="T11" fmla="*/ 135 h 166"/>
                  <a:gd name="T12" fmla="*/ 18 w 92"/>
                  <a:gd name="T13" fmla="*/ 132 h 166"/>
                  <a:gd name="T14" fmla="*/ 19 w 92"/>
                  <a:gd name="T15" fmla="*/ 130 h 166"/>
                  <a:gd name="T16" fmla="*/ 20 w 92"/>
                  <a:gd name="T17" fmla="*/ 138 h 166"/>
                  <a:gd name="T18" fmla="*/ 24 w 92"/>
                  <a:gd name="T19" fmla="*/ 148 h 166"/>
                  <a:gd name="T20" fmla="*/ 27 w 92"/>
                  <a:gd name="T21" fmla="*/ 154 h 166"/>
                  <a:gd name="T22" fmla="*/ 30 w 92"/>
                  <a:gd name="T23" fmla="*/ 159 h 166"/>
                  <a:gd name="T24" fmla="*/ 35 w 92"/>
                  <a:gd name="T25" fmla="*/ 163 h 166"/>
                  <a:gd name="T26" fmla="*/ 39 w 92"/>
                  <a:gd name="T27" fmla="*/ 166 h 166"/>
                  <a:gd name="T28" fmla="*/ 41 w 92"/>
                  <a:gd name="T29" fmla="*/ 158 h 166"/>
                  <a:gd name="T30" fmla="*/ 41 w 92"/>
                  <a:gd name="T31" fmla="*/ 148 h 166"/>
                  <a:gd name="T32" fmla="*/ 41 w 92"/>
                  <a:gd name="T33" fmla="*/ 137 h 166"/>
                  <a:gd name="T34" fmla="*/ 41 w 92"/>
                  <a:gd name="T35" fmla="*/ 126 h 166"/>
                  <a:gd name="T36" fmla="*/ 40 w 92"/>
                  <a:gd name="T37" fmla="*/ 107 h 166"/>
                  <a:gd name="T38" fmla="*/ 39 w 92"/>
                  <a:gd name="T39" fmla="*/ 99 h 166"/>
                  <a:gd name="T40" fmla="*/ 48 w 92"/>
                  <a:gd name="T41" fmla="*/ 100 h 166"/>
                  <a:gd name="T42" fmla="*/ 57 w 92"/>
                  <a:gd name="T43" fmla="*/ 102 h 166"/>
                  <a:gd name="T44" fmla="*/ 64 w 92"/>
                  <a:gd name="T45" fmla="*/ 105 h 166"/>
                  <a:gd name="T46" fmla="*/ 71 w 92"/>
                  <a:gd name="T47" fmla="*/ 108 h 166"/>
                  <a:gd name="T48" fmla="*/ 76 w 92"/>
                  <a:gd name="T49" fmla="*/ 111 h 166"/>
                  <a:gd name="T50" fmla="*/ 82 w 92"/>
                  <a:gd name="T51" fmla="*/ 114 h 166"/>
                  <a:gd name="T52" fmla="*/ 87 w 92"/>
                  <a:gd name="T53" fmla="*/ 116 h 166"/>
                  <a:gd name="T54" fmla="*/ 92 w 92"/>
                  <a:gd name="T55" fmla="*/ 118 h 166"/>
                  <a:gd name="T56" fmla="*/ 85 w 92"/>
                  <a:gd name="T57" fmla="*/ 103 h 166"/>
                  <a:gd name="T58" fmla="*/ 81 w 92"/>
                  <a:gd name="T59" fmla="*/ 89 h 166"/>
                  <a:gd name="T60" fmla="*/ 76 w 92"/>
                  <a:gd name="T61" fmla="*/ 75 h 166"/>
                  <a:gd name="T62" fmla="*/ 73 w 92"/>
                  <a:gd name="T63" fmla="*/ 60 h 166"/>
                  <a:gd name="T64" fmla="*/ 70 w 92"/>
                  <a:gd name="T65" fmla="*/ 47 h 166"/>
                  <a:gd name="T66" fmla="*/ 67 w 92"/>
                  <a:gd name="T67" fmla="*/ 34 h 166"/>
                  <a:gd name="T68" fmla="*/ 63 w 92"/>
                  <a:gd name="T69" fmla="*/ 23 h 166"/>
                  <a:gd name="T70" fmla="*/ 59 w 92"/>
                  <a:gd name="T71" fmla="*/ 13 h 166"/>
                  <a:gd name="T72" fmla="*/ 59 w 92"/>
                  <a:gd name="T73" fmla="*/ 19 h 166"/>
                  <a:gd name="T74" fmla="*/ 59 w 92"/>
                  <a:gd name="T75" fmla="*/ 25 h 166"/>
                  <a:gd name="T76" fmla="*/ 50 w 92"/>
                  <a:gd name="T77" fmla="*/ 23 h 166"/>
                  <a:gd name="T78" fmla="*/ 42 w 92"/>
                  <a:gd name="T79" fmla="*/ 19 h 166"/>
                  <a:gd name="T80" fmla="*/ 35 w 92"/>
                  <a:gd name="T81" fmla="*/ 15 h 166"/>
                  <a:gd name="T82" fmla="*/ 29 w 92"/>
                  <a:gd name="T83" fmla="*/ 11 h 166"/>
                  <a:gd name="T84" fmla="*/ 23 w 92"/>
                  <a:gd name="T85" fmla="*/ 7 h 166"/>
                  <a:gd name="T86" fmla="*/ 16 w 92"/>
                  <a:gd name="T87" fmla="*/ 3 h 166"/>
                  <a:gd name="T88" fmla="*/ 8 w 92"/>
                  <a:gd name="T89" fmla="*/ 1 h 166"/>
                  <a:gd name="T90" fmla="*/ 0 w 92"/>
                  <a:gd name="T91" fmla="*/ 0 h 166"/>
                  <a:gd name="T92" fmla="*/ 0 w 92"/>
                  <a:gd name="T93" fmla="*/ 10 h 166"/>
                  <a:gd name="T94" fmla="*/ 0 w 92"/>
                  <a:gd name="T95" fmla="*/ 19 h 166"/>
                  <a:gd name="T96" fmla="*/ 0 w 92"/>
                  <a:gd name="T97" fmla="*/ 33 h 166"/>
                  <a:gd name="T98" fmla="*/ 0 w 92"/>
                  <a:gd name="T99" fmla="*/ 52 h 166"/>
                  <a:gd name="T100" fmla="*/ 0 w 92"/>
                  <a:gd name="T101" fmla="*/ 70 h 166"/>
                  <a:gd name="T102" fmla="*/ 0 w 92"/>
                  <a:gd name="T103" fmla="*/ 8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0" name="Freeform 336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9735838" y="4047347"/>
                <a:ext cx="95014" cy="55575"/>
              </a:xfrm>
              <a:custGeom>
                <a:avLst/>
                <a:gdLst>
                  <a:gd name="T0" fmla="*/ 7 w 166"/>
                  <a:gd name="T1" fmla="*/ 0 h 62"/>
                  <a:gd name="T2" fmla="*/ 14 w 166"/>
                  <a:gd name="T3" fmla="*/ 3 h 62"/>
                  <a:gd name="T4" fmla="*/ 22 w 166"/>
                  <a:gd name="T5" fmla="*/ 6 h 62"/>
                  <a:gd name="T6" fmla="*/ 30 w 166"/>
                  <a:gd name="T7" fmla="*/ 7 h 62"/>
                  <a:gd name="T8" fmla="*/ 36 w 166"/>
                  <a:gd name="T9" fmla="*/ 8 h 62"/>
                  <a:gd name="T10" fmla="*/ 48 w 166"/>
                  <a:gd name="T11" fmla="*/ 8 h 62"/>
                  <a:gd name="T12" fmla="*/ 58 w 166"/>
                  <a:gd name="T13" fmla="*/ 7 h 62"/>
                  <a:gd name="T14" fmla="*/ 69 w 166"/>
                  <a:gd name="T15" fmla="*/ 5 h 62"/>
                  <a:gd name="T16" fmla="*/ 80 w 166"/>
                  <a:gd name="T17" fmla="*/ 3 h 62"/>
                  <a:gd name="T18" fmla="*/ 92 w 166"/>
                  <a:gd name="T19" fmla="*/ 1 h 62"/>
                  <a:gd name="T20" fmla="*/ 106 w 166"/>
                  <a:gd name="T21" fmla="*/ 0 h 62"/>
                  <a:gd name="T22" fmla="*/ 111 w 166"/>
                  <a:gd name="T23" fmla="*/ 1 h 62"/>
                  <a:gd name="T24" fmla="*/ 115 w 166"/>
                  <a:gd name="T25" fmla="*/ 2 h 62"/>
                  <a:gd name="T26" fmla="*/ 120 w 166"/>
                  <a:gd name="T27" fmla="*/ 5 h 62"/>
                  <a:gd name="T28" fmla="*/ 124 w 166"/>
                  <a:gd name="T29" fmla="*/ 8 h 62"/>
                  <a:gd name="T30" fmla="*/ 132 w 166"/>
                  <a:gd name="T31" fmla="*/ 17 h 62"/>
                  <a:gd name="T32" fmla="*/ 138 w 166"/>
                  <a:gd name="T33" fmla="*/ 26 h 62"/>
                  <a:gd name="T34" fmla="*/ 145 w 166"/>
                  <a:gd name="T35" fmla="*/ 36 h 62"/>
                  <a:gd name="T36" fmla="*/ 151 w 166"/>
                  <a:gd name="T37" fmla="*/ 45 h 62"/>
                  <a:gd name="T38" fmla="*/ 155 w 166"/>
                  <a:gd name="T39" fmla="*/ 49 h 62"/>
                  <a:gd name="T40" fmla="*/ 158 w 166"/>
                  <a:gd name="T41" fmla="*/ 52 h 62"/>
                  <a:gd name="T42" fmla="*/ 162 w 166"/>
                  <a:gd name="T43" fmla="*/ 54 h 62"/>
                  <a:gd name="T44" fmla="*/ 166 w 166"/>
                  <a:gd name="T45" fmla="*/ 56 h 62"/>
                  <a:gd name="T46" fmla="*/ 159 w 166"/>
                  <a:gd name="T47" fmla="*/ 57 h 62"/>
                  <a:gd name="T48" fmla="*/ 151 w 166"/>
                  <a:gd name="T49" fmla="*/ 59 h 62"/>
                  <a:gd name="T50" fmla="*/ 143 w 166"/>
                  <a:gd name="T51" fmla="*/ 61 h 62"/>
                  <a:gd name="T52" fmla="*/ 133 w 166"/>
                  <a:gd name="T53" fmla="*/ 62 h 62"/>
                  <a:gd name="T54" fmla="*/ 125 w 166"/>
                  <a:gd name="T55" fmla="*/ 61 h 62"/>
                  <a:gd name="T56" fmla="*/ 119 w 166"/>
                  <a:gd name="T57" fmla="*/ 58 h 62"/>
                  <a:gd name="T58" fmla="*/ 112 w 166"/>
                  <a:gd name="T59" fmla="*/ 54 h 62"/>
                  <a:gd name="T60" fmla="*/ 106 w 166"/>
                  <a:gd name="T61" fmla="*/ 50 h 62"/>
                  <a:gd name="T62" fmla="*/ 100 w 166"/>
                  <a:gd name="T63" fmla="*/ 45 h 62"/>
                  <a:gd name="T64" fmla="*/ 93 w 166"/>
                  <a:gd name="T65" fmla="*/ 41 h 62"/>
                  <a:gd name="T66" fmla="*/ 87 w 166"/>
                  <a:gd name="T67" fmla="*/ 39 h 62"/>
                  <a:gd name="T68" fmla="*/ 79 w 166"/>
                  <a:gd name="T69" fmla="*/ 38 h 62"/>
                  <a:gd name="T70" fmla="*/ 56 w 166"/>
                  <a:gd name="T71" fmla="*/ 38 h 62"/>
                  <a:gd name="T72" fmla="*/ 35 w 166"/>
                  <a:gd name="T73" fmla="*/ 39 h 62"/>
                  <a:gd name="T74" fmla="*/ 26 w 166"/>
                  <a:gd name="T75" fmla="*/ 41 h 62"/>
                  <a:gd name="T76" fmla="*/ 19 w 166"/>
                  <a:gd name="T77" fmla="*/ 43 h 62"/>
                  <a:gd name="T78" fmla="*/ 12 w 166"/>
                  <a:gd name="T79" fmla="*/ 46 h 62"/>
                  <a:gd name="T80" fmla="*/ 7 w 166"/>
                  <a:gd name="T81" fmla="*/ 50 h 62"/>
                  <a:gd name="T82" fmla="*/ 2 w 166"/>
                  <a:gd name="T83" fmla="*/ 45 h 62"/>
                  <a:gd name="T84" fmla="*/ 1 w 166"/>
                  <a:gd name="T85" fmla="*/ 40 h 62"/>
                  <a:gd name="T86" fmla="*/ 0 w 166"/>
                  <a:gd name="T87" fmla="*/ 34 h 62"/>
                  <a:gd name="T88" fmla="*/ 1 w 166"/>
                  <a:gd name="T89" fmla="*/ 28 h 62"/>
                  <a:gd name="T90" fmla="*/ 4 w 166"/>
                  <a:gd name="T91" fmla="*/ 15 h 62"/>
                  <a:gd name="T92" fmla="*/ 7 w 166"/>
                  <a:gd name="T9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1" name="Freeform 337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9837187" y="3971130"/>
                <a:ext cx="114018" cy="63514"/>
              </a:xfrm>
              <a:custGeom>
                <a:avLst/>
                <a:gdLst>
                  <a:gd name="T0" fmla="*/ 33 w 193"/>
                  <a:gd name="T1" fmla="*/ 35 h 121"/>
                  <a:gd name="T2" fmla="*/ 48 w 193"/>
                  <a:gd name="T3" fmla="*/ 25 h 121"/>
                  <a:gd name="T4" fmla="*/ 68 w 193"/>
                  <a:gd name="T5" fmla="*/ 12 h 121"/>
                  <a:gd name="T6" fmla="*/ 84 w 193"/>
                  <a:gd name="T7" fmla="*/ 4 h 121"/>
                  <a:gd name="T8" fmla="*/ 94 w 193"/>
                  <a:gd name="T9" fmla="*/ 1 h 121"/>
                  <a:gd name="T10" fmla="*/ 105 w 193"/>
                  <a:gd name="T11" fmla="*/ 1 h 121"/>
                  <a:gd name="T12" fmla="*/ 116 w 193"/>
                  <a:gd name="T13" fmla="*/ 3 h 121"/>
                  <a:gd name="T14" fmla="*/ 131 w 193"/>
                  <a:gd name="T15" fmla="*/ 10 h 121"/>
                  <a:gd name="T16" fmla="*/ 148 w 193"/>
                  <a:gd name="T17" fmla="*/ 21 h 121"/>
                  <a:gd name="T18" fmla="*/ 162 w 193"/>
                  <a:gd name="T19" fmla="*/ 28 h 121"/>
                  <a:gd name="T20" fmla="*/ 173 w 193"/>
                  <a:gd name="T21" fmla="*/ 30 h 121"/>
                  <a:gd name="T22" fmla="*/ 179 w 193"/>
                  <a:gd name="T23" fmla="*/ 48 h 121"/>
                  <a:gd name="T24" fmla="*/ 178 w 193"/>
                  <a:gd name="T25" fmla="*/ 66 h 121"/>
                  <a:gd name="T26" fmla="*/ 182 w 193"/>
                  <a:gd name="T27" fmla="*/ 75 h 121"/>
                  <a:gd name="T28" fmla="*/ 187 w 193"/>
                  <a:gd name="T29" fmla="*/ 89 h 121"/>
                  <a:gd name="T30" fmla="*/ 188 w 193"/>
                  <a:gd name="T31" fmla="*/ 102 h 121"/>
                  <a:gd name="T32" fmla="*/ 191 w 193"/>
                  <a:gd name="T33" fmla="*/ 109 h 121"/>
                  <a:gd name="T34" fmla="*/ 188 w 193"/>
                  <a:gd name="T35" fmla="*/ 114 h 121"/>
                  <a:gd name="T36" fmla="*/ 177 w 193"/>
                  <a:gd name="T37" fmla="*/ 118 h 121"/>
                  <a:gd name="T38" fmla="*/ 159 w 193"/>
                  <a:gd name="T39" fmla="*/ 121 h 121"/>
                  <a:gd name="T40" fmla="*/ 116 w 193"/>
                  <a:gd name="T41" fmla="*/ 119 h 121"/>
                  <a:gd name="T42" fmla="*/ 72 w 193"/>
                  <a:gd name="T43" fmla="*/ 116 h 121"/>
                  <a:gd name="T44" fmla="*/ 63 w 193"/>
                  <a:gd name="T45" fmla="*/ 110 h 121"/>
                  <a:gd name="T46" fmla="*/ 56 w 193"/>
                  <a:gd name="T47" fmla="*/ 100 h 121"/>
                  <a:gd name="T48" fmla="*/ 54 w 193"/>
                  <a:gd name="T49" fmla="*/ 87 h 121"/>
                  <a:gd name="T50" fmla="*/ 47 w 193"/>
                  <a:gd name="T51" fmla="*/ 79 h 121"/>
                  <a:gd name="T52" fmla="*/ 31 w 193"/>
                  <a:gd name="T53" fmla="*/ 75 h 121"/>
                  <a:gd name="T54" fmla="*/ 13 w 193"/>
                  <a:gd name="T55" fmla="*/ 69 h 121"/>
                  <a:gd name="T56" fmla="*/ 3 w 193"/>
                  <a:gd name="T57" fmla="*/ 62 h 121"/>
                  <a:gd name="T58" fmla="*/ 0 w 193"/>
                  <a:gd name="T59" fmla="*/ 58 h 121"/>
                  <a:gd name="T60" fmla="*/ 1 w 193"/>
                  <a:gd name="T61" fmla="*/ 51 h 121"/>
                  <a:gd name="T62" fmla="*/ 7 w 193"/>
                  <a:gd name="T63" fmla="*/ 45 h 121"/>
                  <a:gd name="T64" fmla="*/ 20 w 193"/>
                  <a:gd name="T65" fmla="*/ 38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2" name="Freeform 338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9423346" y="3909202"/>
                <a:ext cx="221699" cy="230241"/>
              </a:xfrm>
              <a:custGeom>
                <a:avLst/>
                <a:gdLst>
                  <a:gd name="T0" fmla="*/ 37 w 379"/>
                  <a:gd name="T1" fmla="*/ 419 h 437"/>
                  <a:gd name="T2" fmla="*/ 46 w 379"/>
                  <a:gd name="T3" fmla="*/ 407 h 437"/>
                  <a:gd name="T4" fmla="*/ 24 w 379"/>
                  <a:gd name="T5" fmla="*/ 311 h 437"/>
                  <a:gd name="T6" fmla="*/ 2 w 379"/>
                  <a:gd name="T7" fmla="*/ 294 h 437"/>
                  <a:gd name="T8" fmla="*/ 15 w 379"/>
                  <a:gd name="T9" fmla="*/ 270 h 437"/>
                  <a:gd name="T10" fmla="*/ 31 w 379"/>
                  <a:gd name="T11" fmla="*/ 221 h 437"/>
                  <a:gd name="T12" fmla="*/ 39 w 379"/>
                  <a:gd name="T13" fmla="*/ 172 h 437"/>
                  <a:gd name="T14" fmla="*/ 57 w 379"/>
                  <a:gd name="T15" fmla="*/ 159 h 437"/>
                  <a:gd name="T16" fmla="*/ 65 w 379"/>
                  <a:gd name="T17" fmla="*/ 130 h 437"/>
                  <a:gd name="T18" fmla="*/ 76 w 379"/>
                  <a:gd name="T19" fmla="*/ 78 h 437"/>
                  <a:gd name="T20" fmla="*/ 90 w 379"/>
                  <a:gd name="T21" fmla="*/ 51 h 437"/>
                  <a:gd name="T22" fmla="*/ 115 w 379"/>
                  <a:gd name="T23" fmla="*/ 31 h 437"/>
                  <a:gd name="T24" fmla="*/ 153 w 379"/>
                  <a:gd name="T25" fmla="*/ 25 h 437"/>
                  <a:gd name="T26" fmla="*/ 217 w 379"/>
                  <a:gd name="T27" fmla="*/ 38 h 437"/>
                  <a:gd name="T28" fmla="*/ 262 w 379"/>
                  <a:gd name="T29" fmla="*/ 48 h 437"/>
                  <a:gd name="T30" fmla="*/ 303 w 379"/>
                  <a:gd name="T31" fmla="*/ 45 h 437"/>
                  <a:gd name="T32" fmla="*/ 329 w 379"/>
                  <a:gd name="T33" fmla="*/ 31 h 437"/>
                  <a:gd name="T34" fmla="*/ 356 w 379"/>
                  <a:gd name="T35" fmla="*/ 7 h 437"/>
                  <a:gd name="T36" fmla="*/ 374 w 379"/>
                  <a:gd name="T37" fmla="*/ 9 h 437"/>
                  <a:gd name="T38" fmla="*/ 372 w 379"/>
                  <a:gd name="T39" fmla="*/ 35 h 437"/>
                  <a:gd name="T40" fmla="*/ 329 w 379"/>
                  <a:gd name="T41" fmla="*/ 80 h 437"/>
                  <a:gd name="T42" fmla="*/ 292 w 379"/>
                  <a:gd name="T43" fmla="*/ 97 h 437"/>
                  <a:gd name="T44" fmla="*/ 271 w 379"/>
                  <a:gd name="T45" fmla="*/ 94 h 437"/>
                  <a:gd name="T46" fmla="*/ 238 w 379"/>
                  <a:gd name="T47" fmla="*/ 69 h 437"/>
                  <a:gd name="T48" fmla="*/ 212 w 379"/>
                  <a:gd name="T49" fmla="*/ 56 h 437"/>
                  <a:gd name="T50" fmla="*/ 177 w 379"/>
                  <a:gd name="T51" fmla="*/ 56 h 437"/>
                  <a:gd name="T52" fmla="*/ 138 w 379"/>
                  <a:gd name="T53" fmla="*/ 61 h 437"/>
                  <a:gd name="T54" fmla="*/ 114 w 379"/>
                  <a:gd name="T55" fmla="*/ 79 h 437"/>
                  <a:gd name="T56" fmla="*/ 79 w 379"/>
                  <a:gd name="T57" fmla="*/ 161 h 437"/>
                  <a:gd name="T58" fmla="*/ 119 w 379"/>
                  <a:gd name="T59" fmla="*/ 169 h 437"/>
                  <a:gd name="T60" fmla="*/ 133 w 379"/>
                  <a:gd name="T61" fmla="*/ 191 h 437"/>
                  <a:gd name="T62" fmla="*/ 155 w 379"/>
                  <a:gd name="T63" fmla="*/ 168 h 437"/>
                  <a:gd name="T64" fmla="*/ 172 w 379"/>
                  <a:gd name="T65" fmla="*/ 153 h 437"/>
                  <a:gd name="T66" fmla="*/ 221 w 379"/>
                  <a:gd name="T67" fmla="*/ 150 h 437"/>
                  <a:gd name="T68" fmla="*/ 250 w 379"/>
                  <a:gd name="T69" fmla="*/ 147 h 437"/>
                  <a:gd name="T70" fmla="*/ 273 w 379"/>
                  <a:gd name="T71" fmla="*/ 173 h 437"/>
                  <a:gd name="T72" fmla="*/ 279 w 379"/>
                  <a:gd name="T73" fmla="*/ 203 h 437"/>
                  <a:gd name="T74" fmla="*/ 246 w 379"/>
                  <a:gd name="T75" fmla="*/ 192 h 437"/>
                  <a:gd name="T76" fmla="*/ 218 w 379"/>
                  <a:gd name="T77" fmla="*/ 185 h 437"/>
                  <a:gd name="T78" fmla="*/ 192 w 379"/>
                  <a:gd name="T79" fmla="*/ 195 h 437"/>
                  <a:gd name="T80" fmla="*/ 186 w 379"/>
                  <a:gd name="T81" fmla="*/ 209 h 437"/>
                  <a:gd name="T82" fmla="*/ 192 w 379"/>
                  <a:gd name="T83" fmla="*/ 233 h 437"/>
                  <a:gd name="T84" fmla="*/ 220 w 379"/>
                  <a:gd name="T85" fmla="*/ 272 h 437"/>
                  <a:gd name="T86" fmla="*/ 225 w 379"/>
                  <a:gd name="T87" fmla="*/ 296 h 437"/>
                  <a:gd name="T88" fmla="*/ 215 w 379"/>
                  <a:gd name="T89" fmla="*/ 322 h 437"/>
                  <a:gd name="T90" fmla="*/ 205 w 379"/>
                  <a:gd name="T91" fmla="*/ 345 h 437"/>
                  <a:gd name="T92" fmla="*/ 210 w 379"/>
                  <a:gd name="T93" fmla="*/ 356 h 437"/>
                  <a:gd name="T94" fmla="*/ 236 w 379"/>
                  <a:gd name="T95" fmla="*/ 368 h 437"/>
                  <a:gd name="T96" fmla="*/ 252 w 379"/>
                  <a:gd name="T97" fmla="*/ 400 h 437"/>
                  <a:gd name="T98" fmla="*/ 239 w 379"/>
                  <a:gd name="T99" fmla="*/ 429 h 437"/>
                  <a:gd name="T100" fmla="*/ 221 w 379"/>
                  <a:gd name="T101" fmla="*/ 421 h 437"/>
                  <a:gd name="T102" fmla="*/ 202 w 379"/>
                  <a:gd name="T103" fmla="*/ 417 h 437"/>
                  <a:gd name="T104" fmla="*/ 177 w 379"/>
                  <a:gd name="T105" fmla="*/ 400 h 437"/>
                  <a:gd name="T106" fmla="*/ 153 w 379"/>
                  <a:gd name="T107" fmla="*/ 356 h 437"/>
                  <a:gd name="T108" fmla="*/ 137 w 379"/>
                  <a:gd name="T109" fmla="*/ 304 h 437"/>
                  <a:gd name="T110" fmla="*/ 114 w 379"/>
                  <a:gd name="T111" fmla="*/ 263 h 437"/>
                  <a:gd name="T112" fmla="*/ 97 w 379"/>
                  <a:gd name="T113" fmla="*/ 259 h 437"/>
                  <a:gd name="T114" fmla="*/ 105 w 379"/>
                  <a:gd name="T115" fmla="*/ 381 h 437"/>
                  <a:gd name="T116" fmla="*/ 93 w 379"/>
                  <a:gd name="T117" fmla="*/ 404 h 437"/>
                  <a:gd name="T118" fmla="*/ 57 w 379"/>
                  <a:gd name="T119" fmla="*/ 426 h 437"/>
                  <a:gd name="T120" fmla="*/ 59 w 379"/>
                  <a:gd name="T121" fmla="*/ 437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3" name="Freeform 339"/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8977834" y="4150558"/>
                <a:ext cx="333606" cy="95272"/>
              </a:xfrm>
              <a:custGeom>
                <a:avLst/>
                <a:gdLst>
                  <a:gd name="T0" fmla="*/ 11 w 578"/>
                  <a:gd name="T1" fmla="*/ 50 h 184"/>
                  <a:gd name="T2" fmla="*/ 24 w 578"/>
                  <a:gd name="T3" fmla="*/ 32 h 184"/>
                  <a:gd name="T4" fmla="*/ 41 w 578"/>
                  <a:gd name="T5" fmla="*/ 7 h 184"/>
                  <a:gd name="T6" fmla="*/ 54 w 578"/>
                  <a:gd name="T7" fmla="*/ 0 h 184"/>
                  <a:gd name="T8" fmla="*/ 79 w 578"/>
                  <a:gd name="T9" fmla="*/ 2 h 184"/>
                  <a:gd name="T10" fmla="*/ 95 w 578"/>
                  <a:gd name="T11" fmla="*/ 2 h 184"/>
                  <a:gd name="T12" fmla="*/ 101 w 578"/>
                  <a:gd name="T13" fmla="*/ 5 h 184"/>
                  <a:gd name="T14" fmla="*/ 115 w 578"/>
                  <a:gd name="T15" fmla="*/ 15 h 184"/>
                  <a:gd name="T16" fmla="*/ 147 w 578"/>
                  <a:gd name="T17" fmla="*/ 27 h 184"/>
                  <a:gd name="T18" fmla="*/ 168 w 578"/>
                  <a:gd name="T19" fmla="*/ 37 h 184"/>
                  <a:gd name="T20" fmla="*/ 178 w 578"/>
                  <a:gd name="T21" fmla="*/ 53 h 184"/>
                  <a:gd name="T22" fmla="*/ 192 w 578"/>
                  <a:gd name="T23" fmla="*/ 61 h 184"/>
                  <a:gd name="T24" fmla="*/ 231 w 578"/>
                  <a:gd name="T25" fmla="*/ 60 h 184"/>
                  <a:gd name="T26" fmla="*/ 277 w 578"/>
                  <a:gd name="T27" fmla="*/ 51 h 184"/>
                  <a:gd name="T28" fmla="*/ 299 w 578"/>
                  <a:gd name="T29" fmla="*/ 39 h 184"/>
                  <a:gd name="T30" fmla="*/ 314 w 578"/>
                  <a:gd name="T31" fmla="*/ 34 h 184"/>
                  <a:gd name="T32" fmla="*/ 327 w 578"/>
                  <a:gd name="T33" fmla="*/ 35 h 184"/>
                  <a:gd name="T34" fmla="*/ 339 w 578"/>
                  <a:gd name="T35" fmla="*/ 31 h 184"/>
                  <a:gd name="T36" fmla="*/ 366 w 578"/>
                  <a:gd name="T37" fmla="*/ 34 h 184"/>
                  <a:gd name="T38" fmla="*/ 399 w 578"/>
                  <a:gd name="T39" fmla="*/ 59 h 184"/>
                  <a:gd name="T40" fmla="*/ 428 w 578"/>
                  <a:gd name="T41" fmla="*/ 89 h 184"/>
                  <a:gd name="T42" fmla="*/ 456 w 578"/>
                  <a:gd name="T43" fmla="*/ 105 h 184"/>
                  <a:gd name="T44" fmla="*/ 479 w 578"/>
                  <a:gd name="T45" fmla="*/ 107 h 184"/>
                  <a:gd name="T46" fmla="*/ 493 w 578"/>
                  <a:gd name="T47" fmla="*/ 108 h 184"/>
                  <a:gd name="T48" fmla="*/ 505 w 578"/>
                  <a:gd name="T49" fmla="*/ 125 h 184"/>
                  <a:gd name="T50" fmla="*/ 522 w 578"/>
                  <a:gd name="T51" fmla="*/ 140 h 184"/>
                  <a:gd name="T52" fmla="*/ 534 w 578"/>
                  <a:gd name="T53" fmla="*/ 139 h 184"/>
                  <a:gd name="T54" fmla="*/ 546 w 578"/>
                  <a:gd name="T55" fmla="*/ 128 h 184"/>
                  <a:gd name="T56" fmla="*/ 558 w 578"/>
                  <a:gd name="T57" fmla="*/ 134 h 184"/>
                  <a:gd name="T58" fmla="*/ 571 w 578"/>
                  <a:gd name="T59" fmla="*/ 145 h 184"/>
                  <a:gd name="T60" fmla="*/ 578 w 578"/>
                  <a:gd name="T61" fmla="*/ 160 h 184"/>
                  <a:gd name="T62" fmla="*/ 575 w 578"/>
                  <a:gd name="T63" fmla="*/ 173 h 184"/>
                  <a:gd name="T64" fmla="*/ 567 w 578"/>
                  <a:gd name="T65" fmla="*/ 182 h 184"/>
                  <a:gd name="T66" fmla="*/ 551 w 578"/>
                  <a:gd name="T67" fmla="*/ 178 h 184"/>
                  <a:gd name="T68" fmla="*/ 526 w 578"/>
                  <a:gd name="T69" fmla="*/ 170 h 184"/>
                  <a:gd name="T70" fmla="*/ 491 w 578"/>
                  <a:gd name="T71" fmla="*/ 172 h 184"/>
                  <a:gd name="T72" fmla="*/ 462 w 578"/>
                  <a:gd name="T73" fmla="*/ 170 h 184"/>
                  <a:gd name="T74" fmla="*/ 451 w 578"/>
                  <a:gd name="T75" fmla="*/ 160 h 184"/>
                  <a:gd name="T76" fmla="*/ 438 w 578"/>
                  <a:gd name="T77" fmla="*/ 154 h 184"/>
                  <a:gd name="T78" fmla="*/ 426 w 578"/>
                  <a:gd name="T79" fmla="*/ 160 h 184"/>
                  <a:gd name="T80" fmla="*/ 416 w 578"/>
                  <a:gd name="T81" fmla="*/ 170 h 184"/>
                  <a:gd name="T82" fmla="*/ 398 w 578"/>
                  <a:gd name="T83" fmla="*/ 171 h 184"/>
                  <a:gd name="T84" fmla="*/ 328 w 578"/>
                  <a:gd name="T85" fmla="*/ 153 h 184"/>
                  <a:gd name="T86" fmla="*/ 277 w 578"/>
                  <a:gd name="T87" fmla="*/ 132 h 184"/>
                  <a:gd name="T88" fmla="*/ 266 w 578"/>
                  <a:gd name="T89" fmla="*/ 123 h 184"/>
                  <a:gd name="T90" fmla="*/ 230 w 578"/>
                  <a:gd name="T91" fmla="*/ 119 h 184"/>
                  <a:gd name="T92" fmla="*/ 201 w 578"/>
                  <a:gd name="T93" fmla="*/ 113 h 184"/>
                  <a:gd name="T94" fmla="*/ 168 w 578"/>
                  <a:gd name="T95" fmla="*/ 111 h 184"/>
                  <a:gd name="T96" fmla="*/ 146 w 578"/>
                  <a:gd name="T97" fmla="*/ 111 h 184"/>
                  <a:gd name="T98" fmla="*/ 124 w 578"/>
                  <a:gd name="T99" fmla="*/ 105 h 184"/>
                  <a:gd name="T100" fmla="*/ 120 w 578"/>
                  <a:gd name="T101" fmla="*/ 99 h 184"/>
                  <a:gd name="T102" fmla="*/ 69 w 578"/>
                  <a:gd name="T103" fmla="*/ 97 h 184"/>
                  <a:gd name="T104" fmla="*/ 46 w 578"/>
                  <a:gd name="T105" fmla="*/ 88 h 184"/>
                  <a:gd name="T106" fmla="*/ 0 w 578"/>
                  <a:gd name="T107" fmla="*/ 55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4" name="Freeform 340"/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9883638" y="4007650"/>
                <a:ext cx="285042" cy="252471"/>
              </a:xfrm>
              <a:custGeom>
                <a:avLst/>
                <a:gdLst>
                  <a:gd name="T0" fmla="*/ 482 w 491"/>
                  <a:gd name="T1" fmla="*/ 479 h 481"/>
                  <a:gd name="T2" fmla="*/ 457 w 491"/>
                  <a:gd name="T3" fmla="*/ 465 h 481"/>
                  <a:gd name="T4" fmla="*/ 422 w 491"/>
                  <a:gd name="T5" fmla="*/ 434 h 481"/>
                  <a:gd name="T6" fmla="*/ 412 w 491"/>
                  <a:gd name="T7" fmla="*/ 417 h 481"/>
                  <a:gd name="T8" fmla="*/ 376 w 491"/>
                  <a:gd name="T9" fmla="*/ 410 h 481"/>
                  <a:gd name="T10" fmla="*/ 360 w 491"/>
                  <a:gd name="T11" fmla="*/ 406 h 481"/>
                  <a:gd name="T12" fmla="*/ 350 w 491"/>
                  <a:gd name="T13" fmla="*/ 396 h 481"/>
                  <a:gd name="T14" fmla="*/ 346 w 491"/>
                  <a:gd name="T15" fmla="*/ 374 h 481"/>
                  <a:gd name="T16" fmla="*/ 342 w 491"/>
                  <a:gd name="T17" fmla="*/ 332 h 481"/>
                  <a:gd name="T18" fmla="*/ 327 w 491"/>
                  <a:gd name="T19" fmla="*/ 303 h 481"/>
                  <a:gd name="T20" fmla="*/ 319 w 491"/>
                  <a:gd name="T21" fmla="*/ 277 h 481"/>
                  <a:gd name="T22" fmla="*/ 314 w 491"/>
                  <a:gd name="T23" fmla="*/ 244 h 481"/>
                  <a:gd name="T24" fmla="*/ 292 w 491"/>
                  <a:gd name="T25" fmla="*/ 223 h 481"/>
                  <a:gd name="T26" fmla="*/ 260 w 491"/>
                  <a:gd name="T27" fmla="*/ 205 h 481"/>
                  <a:gd name="T28" fmla="*/ 221 w 491"/>
                  <a:gd name="T29" fmla="*/ 190 h 481"/>
                  <a:gd name="T30" fmla="*/ 178 w 491"/>
                  <a:gd name="T31" fmla="*/ 181 h 481"/>
                  <a:gd name="T32" fmla="*/ 133 w 491"/>
                  <a:gd name="T33" fmla="*/ 178 h 481"/>
                  <a:gd name="T34" fmla="*/ 133 w 491"/>
                  <a:gd name="T35" fmla="*/ 156 h 481"/>
                  <a:gd name="T36" fmla="*/ 110 w 491"/>
                  <a:gd name="T37" fmla="*/ 145 h 481"/>
                  <a:gd name="T38" fmla="*/ 85 w 491"/>
                  <a:gd name="T39" fmla="*/ 130 h 481"/>
                  <a:gd name="T40" fmla="*/ 66 w 491"/>
                  <a:gd name="T41" fmla="*/ 111 h 481"/>
                  <a:gd name="T42" fmla="*/ 73 w 491"/>
                  <a:gd name="T43" fmla="*/ 133 h 481"/>
                  <a:gd name="T44" fmla="*/ 54 w 491"/>
                  <a:gd name="T45" fmla="*/ 147 h 481"/>
                  <a:gd name="T46" fmla="*/ 40 w 491"/>
                  <a:gd name="T47" fmla="*/ 178 h 481"/>
                  <a:gd name="T48" fmla="*/ 24 w 491"/>
                  <a:gd name="T49" fmla="*/ 220 h 481"/>
                  <a:gd name="T50" fmla="*/ 13 w 491"/>
                  <a:gd name="T51" fmla="*/ 265 h 481"/>
                  <a:gd name="T52" fmla="*/ 14 w 491"/>
                  <a:gd name="T53" fmla="*/ 237 h 481"/>
                  <a:gd name="T54" fmla="*/ 23 w 491"/>
                  <a:gd name="T55" fmla="*/ 209 h 481"/>
                  <a:gd name="T56" fmla="*/ 32 w 491"/>
                  <a:gd name="T57" fmla="*/ 181 h 481"/>
                  <a:gd name="T58" fmla="*/ 30 w 491"/>
                  <a:gd name="T59" fmla="*/ 143 h 481"/>
                  <a:gd name="T60" fmla="*/ 17 w 491"/>
                  <a:gd name="T61" fmla="*/ 111 h 481"/>
                  <a:gd name="T62" fmla="*/ 0 w 491"/>
                  <a:gd name="T63" fmla="*/ 73 h 481"/>
                  <a:gd name="T64" fmla="*/ 34 w 491"/>
                  <a:gd name="T65" fmla="*/ 59 h 481"/>
                  <a:gd name="T66" fmla="*/ 59 w 491"/>
                  <a:gd name="T67" fmla="*/ 55 h 481"/>
                  <a:gd name="T68" fmla="*/ 84 w 491"/>
                  <a:gd name="T69" fmla="*/ 58 h 481"/>
                  <a:gd name="T70" fmla="*/ 102 w 491"/>
                  <a:gd name="T71" fmla="*/ 66 h 481"/>
                  <a:gd name="T72" fmla="*/ 121 w 491"/>
                  <a:gd name="T73" fmla="*/ 82 h 481"/>
                  <a:gd name="T74" fmla="*/ 140 w 491"/>
                  <a:gd name="T75" fmla="*/ 111 h 481"/>
                  <a:gd name="T76" fmla="*/ 183 w 491"/>
                  <a:gd name="T77" fmla="*/ 103 h 481"/>
                  <a:gd name="T78" fmla="*/ 196 w 491"/>
                  <a:gd name="T79" fmla="*/ 96 h 481"/>
                  <a:gd name="T80" fmla="*/ 200 w 491"/>
                  <a:gd name="T81" fmla="*/ 90 h 481"/>
                  <a:gd name="T82" fmla="*/ 207 w 491"/>
                  <a:gd name="T83" fmla="*/ 73 h 481"/>
                  <a:gd name="T84" fmla="*/ 232 w 491"/>
                  <a:gd name="T85" fmla="*/ 54 h 481"/>
                  <a:gd name="T86" fmla="*/ 254 w 491"/>
                  <a:gd name="T87" fmla="*/ 49 h 481"/>
                  <a:gd name="T88" fmla="*/ 263 w 491"/>
                  <a:gd name="T89" fmla="*/ 30 h 481"/>
                  <a:gd name="T90" fmla="*/ 280 w 491"/>
                  <a:gd name="T91" fmla="*/ 9 h 481"/>
                  <a:gd name="T92" fmla="*/ 300 w 491"/>
                  <a:gd name="T93" fmla="*/ 1 h 481"/>
                  <a:gd name="T94" fmla="*/ 323 w 491"/>
                  <a:gd name="T95" fmla="*/ 0 h 481"/>
                  <a:gd name="T96" fmla="*/ 351 w 491"/>
                  <a:gd name="T97" fmla="*/ 8 h 481"/>
                  <a:gd name="T98" fmla="*/ 399 w 491"/>
                  <a:gd name="T99" fmla="*/ 38 h 481"/>
                  <a:gd name="T100" fmla="*/ 428 w 491"/>
                  <a:gd name="T101" fmla="*/ 53 h 481"/>
                  <a:gd name="T102" fmla="*/ 459 w 491"/>
                  <a:gd name="T103" fmla="*/ 60 h 481"/>
                  <a:gd name="T104" fmla="*/ 491 w 491"/>
                  <a:gd name="T105" fmla="*/ 67 h 481"/>
                  <a:gd name="T106" fmla="*/ 491 w 491"/>
                  <a:gd name="T107" fmla="*/ 326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5" name="Freeform 341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930563" y="2838980"/>
                <a:ext cx="71789" cy="60339"/>
              </a:xfrm>
              <a:custGeom>
                <a:avLst/>
                <a:gdLst>
                  <a:gd name="T0" fmla="*/ 0 w 133"/>
                  <a:gd name="T1" fmla="*/ 19 h 117"/>
                  <a:gd name="T2" fmla="*/ 72 w 133"/>
                  <a:gd name="T3" fmla="*/ 0 h 117"/>
                  <a:gd name="T4" fmla="*/ 81 w 133"/>
                  <a:gd name="T5" fmla="*/ 6 h 117"/>
                  <a:gd name="T6" fmla="*/ 91 w 133"/>
                  <a:gd name="T7" fmla="*/ 14 h 117"/>
                  <a:gd name="T8" fmla="*/ 101 w 133"/>
                  <a:gd name="T9" fmla="*/ 25 h 117"/>
                  <a:gd name="T10" fmla="*/ 109 w 133"/>
                  <a:gd name="T11" fmla="*/ 37 h 117"/>
                  <a:gd name="T12" fmla="*/ 118 w 133"/>
                  <a:gd name="T13" fmla="*/ 49 h 117"/>
                  <a:gd name="T14" fmla="*/ 126 w 133"/>
                  <a:gd name="T15" fmla="*/ 62 h 117"/>
                  <a:gd name="T16" fmla="*/ 128 w 133"/>
                  <a:gd name="T17" fmla="*/ 68 h 117"/>
                  <a:gd name="T18" fmla="*/ 130 w 133"/>
                  <a:gd name="T19" fmla="*/ 74 h 117"/>
                  <a:gd name="T20" fmla="*/ 131 w 133"/>
                  <a:gd name="T21" fmla="*/ 80 h 117"/>
                  <a:gd name="T22" fmla="*/ 133 w 133"/>
                  <a:gd name="T23" fmla="*/ 86 h 117"/>
                  <a:gd name="T24" fmla="*/ 131 w 133"/>
                  <a:gd name="T25" fmla="*/ 92 h 117"/>
                  <a:gd name="T26" fmla="*/ 128 w 133"/>
                  <a:gd name="T27" fmla="*/ 97 h 117"/>
                  <a:gd name="T28" fmla="*/ 124 w 133"/>
                  <a:gd name="T29" fmla="*/ 102 h 117"/>
                  <a:gd name="T30" fmla="*/ 118 w 133"/>
                  <a:gd name="T31" fmla="*/ 107 h 117"/>
                  <a:gd name="T32" fmla="*/ 113 w 133"/>
                  <a:gd name="T33" fmla="*/ 111 h 117"/>
                  <a:gd name="T34" fmla="*/ 107 w 133"/>
                  <a:gd name="T35" fmla="*/ 114 h 117"/>
                  <a:gd name="T36" fmla="*/ 103 w 133"/>
                  <a:gd name="T37" fmla="*/ 117 h 117"/>
                  <a:gd name="T38" fmla="*/ 100 w 133"/>
                  <a:gd name="T39" fmla="*/ 117 h 117"/>
                  <a:gd name="T40" fmla="*/ 72 w 133"/>
                  <a:gd name="T41" fmla="*/ 95 h 117"/>
                  <a:gd name="T42" fmla="*/ 45 w 133"/>
                  <a:gd name="T43" fmla="*/ 70 h 117"/>
                  <a:gd name="T44" fmla="*/ 32 w 133"/>
                  <a:gd name="T45" fmla="*/ 58 h 117"/>
                  <a:gd name="T46" fmla="*/ 18 w 133"/>
                  <a:gd name="T47" fmla="*/ 46 h 117"/>
                  <a:gd name="T48" fmla="*/ 8 w 133"/>
                  <a:gd name="T49" fmla="*/ 33 h 117"/>
                  <a:gd name="T50" fmla="*/ 0 w 133"/>
                  <a:gd name="T51" fmla="*/ 1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6" name="Freeform 342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5878253" y="2243531"/>
                <a:ext cx="293489" cy="177841"/>
              </a:xfrm>
              <a:custGeom>
                <a:avLst/>
                <a:gdLst>
                  <a:gd name="T0" fmla="*/ 272 w 505"/>
                  <a:gd name="T1" fmla="*/ 36 h 339"/>
                  <a:gd name="T2" fmla="*/ 484 w 505"/>
                  <a:gd name="T3" fmla="*/ 86 h 339"/>
                  <a:gd name="T4" fmla="*/ 478 w 505"/>
                  <a:gd name="T5" fmla="*/ 109 h 339"/>
                  <a:gd name="T6" fmla="*/ 471 w 505"/>
                  <a:gd name="T7" fmla="*/ 129 h 339"/>
                  <a:gd name="T8" fmla="*/ 461 w 505"/>
                  <a:gd name="T9" fmla="*/ 145 h 339"/>
                  <a:gd name="T10" fmla="*/ 451 w 505"/>
                  <a:gd name="T11" fmla="*/ 153 h 339"/>
                  <a:gd name="T12" fmla="*/ 461 w 505"/>
                  <a:gd name="T13" fmla="*/ 184 h 339"/>
                  <a:gd name="T14" fmla="*/ 477 w 505"/>
                  <a:gd name="T15" fmla="*/ 215 h 339"/>
                  <a:gd name="T16" fmla="*/ 505 w 505"/>
                  <a:gd name="T17" fmla="*/ 258 h 339"/>
                  <a:gd name="T18" fmla="*/ 493 w 505"/>
                  <a:gd name="T19" fmla="*/ 271 h 339"/>
                  <a:gd name="T20" fmla="*/ 479 w 505"/>
                  <a:gd name="T21" fmla="*/ 292 h 339"/>
                  <a:gd name="T22" fmla="*/ 468 w 505"/>
                  <a:gd name="T23" fmla="*/ 314 h 339"/>
                  <a:gd name="T24" fmla="*/ 464 w 505"/>
                  <a:gd name="T25" fmla="*/ 339 h 339"/>
                  <a:gd name="T26" fmla="*/ 443 w 505"/>
                  <a:gd name="T27" fmla="*/ 338 h 339"/>
                  <a:gd name="T28" fmla="*/ 414 w 505"/>
                  <a:gd name="T29" fmla="*/ 335 h 339"/>
                  <a:gd name="T30" fmla="*/ 385 w 505"/>
                  <a:gd name="T31" fmla="*/ 331 h 339"/>
                  <a:gd name="T32" fmla="*/ 358 w 505"/>
                  <a:gd name="T33" fmla="*/ 326 h 339"/>
                  <a:gd name="T34" fmla="*/ 304 w 505"/>
                  <a:gd name="T35" fmla="*/ 325 h 339"/>
                  <a:gd name="T36" fmla="*/ 264 w 505"/>
                  <a:gd name="T37" fmla="*/ 321 h 339"/>
                  <a:gd name="T38" fmla="*/ 248 w 505"/>
                  <a:gd name="T39" fmla="*/ 317 h 339"/>
                  <a:gd name="T40" fmla="*/ 232 w 505"/>
                  <a:gd name="T41" fmla="*/ 310 h 339"/>
                  <a:gd name="T42" fmla="*/ 213 w 505"/>
                  <a:gd name="T43" fmla="*/ 300 h 339"/>
                  <a:gd name="T44" fmla="*/ 180 w 505"/>
                  <a:gd name="T45" fmla="*/ 289 h 339"/>
                  <a:gd name="T46" fmla="*/ 146 w 505"/>
                  <a:gd name="T47" fmla="*/ 273 h 339"/>
                  <a:gd name="T48" fmla="*/ 98 w 505"/>
                  <a:gd name="T49" fmla="*/ 249 h 339"/>
                  <a:gd name="T50" fmla="*/ 62 w 505"/>
                  <a:gd name="T51" fmla="*/ 206 h 339"/>
                  <a:gd name="T52" fmla="*/ 52 w 505"/>
                  <a:gd name="T53" fmla="*/ 169 h 339"/>
                  <a:gd name="T54" fmla="*/ 36 w 505"/>
                  <a:gd name="T55" fmla="*/ 124 h 339"/>
                  <a:gd name="T56" fmla="*/ 15 w 505"/>
                  <a:gd name="T57" fmla="*/ 83 h 339"/>
                  <a:gd name="T58" fmla="*/ 2 w 505"/>
                  <a:gd name="T59" fmla="*/ 64 h 339"/>
                  <a:gd name="T60" fmla="*/ 5 w 505"/>
                  <a:gd name="T61" fmla="*/ 61 h 339"/>
                  <a:gd name="T62" fmla="*/ 11 w 505"/>
                  <a:gd name="T63" fmla="*/ 56 h 339"/>
                  <a:gd name="T64" fmla="*/ 11 w 505"/>
                  <a:gd name="T65" fmla="*/ 48 h 339"/>
                  <a:gd name="T66" fmla="*/ 11 w 505"/>
                  <a:gd name="T67" fmla="*/ 43 h 339"/>
                  <a:gd name="T68" fmla="*/ 34 w 505"/>
                  <a:gd name="T69" fmla="*/ 34 h 339"/>
                  <a:gd name="T70" fmla="*/ 73 w 505"/>
                  <a:gd name="T71" fmla="*/ 22 h 339"/>
                  <a:gd name="T72" fmla="*/ 128 w 505"/>
                  <a:gd name="T73" fmla="*/ 8 h 339"/>
                  <a:gd name="T74" fmla="*/ 173 w 505"/>
                  <a:gd name="T75" fmla="*/ 11 h 339"/>
                  <a:gd name="T76" fmla="*/ 188 w 505"/>
                  <a:gd name="T77" fmla="*/ 28 h 339"/>
                  <a:gd name="T78" fmla="*/ 201 w 505"/>
                  <a:gd name="T79" fmla="*/ 35 h 339"/>
                  <a:gd name="T80" fmla="*/ 219 w 505"/>
                  <a:gd name="T81" fmla="*/ 36 h 339"/>
                  <a:gd name="T82" fmla="*/ 239 w 505"/>
                  <a:gd name="T83" fmla="*/ 36 h 339"/>
                  <a:gd name="T84" fmla="*/ 259 w 505"/>
                  <a:gd name="T85" fmla="*/ 24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7" name="Freeform 343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5962710" y="2448365"/>
                <a:ext cx="194252" cy="71455"/>
              </a:xfrm>
              <a:custGeom>
                <a:avLst/>
                <a:gdLst>
                  <a:gd name="T0" fmla="*/ 312 w 338"/>
                  <a:gd name="T1" fmla="*/ 0 h 141"/>
                  <a:gd name="T2" fmla="*/ 186 w 338"/>
                  <a:gd name="T3" fmla="*/ 0 h 141"/>
                  <a:gd name="T4" fmla="*/ 168 w 338"/>
                  <a:gd name="T5" fmla="*/ 8 h 141"/>
                  <a:gd name="T6" fmla="*/ 144 w 338"/>
                  <a:gd name="T7" fmla="*/ 21 h 141"/>
                  <a:gd name="T8" fmla="*/ 132 w 338"/>
                  <a:gd name="T9" fmla="*/ 27 h 141"/>
                  <a:gd name="T10" fmla="*/ 119 w 338"/>
                  <a:gd name="T11" fmla="*/ 32 h 141"/>
                  <a:gd name="T12" fmla="*/ 112 w 338"/>
                  <a:gd name="T13" fmla="*/ 34 h 141"/>
                  <a:gd name="T14" fmla="*/ 105 w 338"/>
                  <a:gd name="T15" fmla="*/ 35 h 141"/>
                  <a:gd name="T16" fmla="*/ 99 w 338"/>
                  <a:gd name="T17" fmla="*/ 36 h 141"/>
                  <a:gd name="T18" fmla="*/ 93 w 338"/>
                  <a:gd name="T19" fmla="*/ 37 h 141"/>
                  <a:gd name="T20" fmla="*/ 88 w 338"/>
                  <a:gd name="T21" fmla="*/ 36 h 141"/>
                  <a:gd name="T22" fmla="*/ 84 w 338"/>
                  <a:gd name="T23" fmla="*/ 35 h 141"/>
                  <a:gd name="T24" fmla="*/ 78 w 338"/>
                  <a:gd name="T25" fmla="*/ 32 h 141"/>
                  <a:gd name="T26" fmla="*/ 74 w 338"/>
                  <a:gd name="T27" fmla="*/ 30 h 141"/>
                  <a:gd name="T28" fmla="*/ 66 w 338"/>
                  <a:gd name="T29" fmla="*/ 24 h 141"/>
                  <a:gd name="T30" fmla="*/ 59 w 338"/>
                  <a:gd name="T31" fmla="*/ 18 h 141"/>
                  <a:gd name="T32" fmla="*/ 49 w 338"/>
                  <a:gd name="T33" fmla="*/ 34 h 141"/>
                  <a:gd name="T34" fmla="*/ 37 w 338"/>
                  <a:gd name="T35" fmla="*/ 51 h 141"/>
                  <a:gd name="T36" fmla="*/ 30 w 338"/>
                  <a:gd name="T37" fmla="*/ 60 h 141"/>
                  <a:gd name="T38" fmla="*/ 21 w 338"/>
                  <a:gd name="T39" fmla="*/ 68 h 141"/>
                  <a:gd name="T40" fmla="*/ 11 w 338"/>
                  <a:gd name="T41" fmla="*/ 75 h 141"/>
                  <a:gd name="T42" fmla="*/ 0 w 338"/>
                  <a:gd name="T43" fmla="*/ 80 h 141"/>
                  <a:gd name="T44" fmla="*/ 12 w 338"/>
                  <a:gd name="T45" fmla="*/ 90 h 141"/>
                  <a:gd name="T46" fmla="*/ 23 w 338"/>
                  <a:gd name="T47" fmla="*/ 100 h 141"/>
                  <a:gd name="T48" fmla="*/ 33 w 338"/>
                  <a:gd name="T49" fmla="*/ 108 h 141"/>
                  <a:gd name="T50" fmla="*/ 44 w 338"/>
                  <a:gd name="T51" fmla="*/ 116 h 141"/>
                  <a:gd name="T52" fmla="*/ 55 w 338"/>
                  <a:gd name="T53" fmla="*/ 122 h 141"/>
                  <a:gd name="T54" fmla="*/ 66 w 338"/>
                  <a:gd name="T55" fmla="*/ 129 h 141"/>
                  <a:gd name="T56" fmla="*/ 79 w 338"/>
                  <a:gd name="T57" fmla="*/ 135 h 141"/>
                  <a:gd name="T58" fmla="*/ 93 w 338"/>
                  <a:gd name="T59" fmla="*/ 141 h 141"/>
                  <a:gd name="T60" fmla="*/ 259 w 338"/>
                  <a:gd name="T61" fmla="*/ 141 h 141"/>
                  <a:gd name="T62" fmla="*/ 269 w 338"/>
                  <a:gd name="T63" fmla="*/ 124 h 141"/>
                  <a:gd name="T64" fmla="*/ 281 w 338"/>
                  <a:gd name="T65" fmla="*/ 107 h 141"/>
                  <a:gd name="T66" fmla="*/ 292 w 338"/>
                  <a:gd name="T67" fmla="*/ 92 h 141"/>
                  <a:gd name="T68" fmla="*/ 304 w 338"/>
                  <a:gd name="T69" fmla="*/ 78 h 141"/>
                  <a:gd name="T70" fmla="*/ 315 w 338"/>
                  <a:gd name="T71" fmla="*/ 64 h 141"/>
                  <a:gd name="T72" fmla="*/ 324 w 338"/>
                  <a:gd name="T73" fmla="*/ 48 h 141"/>
                  <a:gd name="T74" fmla="*/ 333 w 338"/>
                  <a:gd name="T75" fmla="*/ 34 h 141"/>
                  <a:gd name="T76" fmla="*/ 338 w 338"/>
                  <a:gd name="T77" fmla="*/ 18 h 141"/>
                  <a:gd name="T78" fmla="*/ 312 w 338"/>
                  <a:gd name="T7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8" name="Freeform 344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6095731" y="2103798"/>
                <a:ext cx="147800" cy="65102"/>
              </a:xfrm>
              <a:custGeom>
                <a:avLst/>
                <a:gdLst>
                  <a:gd name="T0" fmla="*/ 259 w 259"/>
                  <a:gd name="T1" fmla="*/ 129 h 129"/>
                  <a:gd name="T2" fmla="*/ 255 w 259"/>
                  <a:gd name="T3" fmla="*/ 102 h 129"/>
                  <a:gd name="T4" fmla="*/ 252 w 259"/>
                  <a:gd name="T5" fmla="*/ 80 h 129"/>
                  <a:gd name="T6" fmla="*/ 252 w 259"/>
                  <a:gd name="T7" fmla="*/ 63 h 129"/>
                  <a:gd name="T8" fmla="*/ 253 w 259"/>
                  <a:gd name="T9" fmla="*/ 50 h 129"/>
                  <a:gd name="T10" fmla="*/ 257 w 259"/>
                  <a:gd name="T11" fmla="*/ 29 h 129"/>
                  <a:gd name="T12" fmla="*/ 259 w 259"/>
                  <a:gd name="T13" fmla="*/ 12 h 129"/>
                  <a:gd name="T14" fmla="*/ 258 w 259"/>
                  <a:gd name="T15" fmla="*/ 14 h 129"/>
                  <a:gd name="T16" fmla="*/ 256 w 259"/>
                  <a:gd name="T17" fmla="*/ 16 h 129"/>
                  <a:gd name="T18" fmla="*/ 253 w 259"/>
                  <a:gd name="T19" fmla="*/ 17 h 129"/>
                  <a:gd name="T20" fmla="*/ 249 w 259"/>
                  <a:gd name="T21" fmla="*/ 18 h 129"/>
                  <a:gd name="T22" fmla="*/ 239 w 259"/>
                  <a:gd name="T23" fmla="*/ 19 h 129"/>
                  <a:gd name="T24" fmla="*/ 228 w 259"/>
                  <a:gd name="T25" fmla="*/ 19 h 129"/>
                  <a:gd name="T26" fmla="*/ 205 w 259"/>
                  <a:gd name="T27" fmla="*/ 19 h 129"/>
                  <a:gd name="T28" fmla="*/ 192 w 259"/>
                  <a:gd name="T29" fmla="*/ 18 h 129"/>
                  <a:gd name="T30" fmla="*/ 181 w 259"/>
                  <a:gd name="T31" fmla="*/ 17 h 129"/>
                  <a:gd name="T32" fmla="*/ 172 w 259"/>
                  <a:gd name="T33" fmla="*/ 15 h 129"/>
                  <a:gd name="T34" fmla="*/ 163 w 259"/>
                  <a:gd name="T35" fmla="*/ 12 h 129"/>
                  <a:gd name="T36" fmla="*/ 156 w 259"/>
                  <a:gd name="T37" fmla="*/ 9 h 129"/>
                  <a:gd name="T38" fmla="*/ 146 w 259"/>
                  <a:gd name="T39" fmla="*/ 6 h 129"/>
                  <a:gd name="T40" fmla="*/ 134 w 259"/>
                  <a:gd name="T41" fmla="*/ 3 h 129"/>
                  <a:gd name="T42" fmla="*/ 118 w 259"/>
                  <a:gd name="T43" fmla="*/ 1 h 129"/>
                  <a:gd name="T44" fmla="*/ 99 w 259"/>
                  <a:gd name="T45" fmla="*/ 0 h 129"/>
                  <a:gd name="T46" fmla="*/ 83 w 259"/>
                  <a:gd name="T47" fmla="*/ 0 h 129"/>
                  <a:gd name="T48" fmla="*/ 67 w 259"/>
                  <a:gd name="T49" fmla="*/ 0 h 129"/>
                  <a:gd name="T50" fmla="*/ 50 w 259"/>
                  <a:gd name="T51" fmla="*/ 0 h 129"/>
                  <a:gd name="T52" fmla="*/ 34 w 259"/>
                  <a:gd name="T53" fmla="*/ 2 h 129"/>
                  <a:gd name="T54" fmla="*/ 27 w 259"/>
                  <a:gd name="T55" fmla="*/ 4 h 129"/>
                  <a:gd name="T56" fmla="*/ 21 w 259"/>
                  <a:gd name="T57" fmla="*/ 6 h 129"/>
                  <a:gd name="T58" fmla="*/ 14 w 259"/>
                  <a:gd name="T59" fmla="*/ 9 h 129"/>
                  <a:gd name="T60" fmla="*/ 10 w 259"/>
                  <a:gd name="T61" fmla="*/ 13 h 129"/>
                  <a:gd name="T62" fmla="*/ 5 w 259"/>
                  <a:gd name="T63" fmla="*/ 17 h 129"/>
                  <a:gd name="T64" fmla="*/ 2 w 259"/>
                  <a:gd name="T65" fmla="*/ 22 h 129"/>
                  <a:gd name="T66" fmla="*/ 0 w 259"/>
                  <a:gd name="T67" fmla="*/ 29 h 129"/>
                  <a:gd name="T68" fmla="*/ 0 w 259"/>
                  <a:gd name="T69" fmla="*/ 36 h 129"/>
                  <a:gd name="T70" fmla="*/ 0 w 259"/>
                  <a:gd name="T71" fmla="*/ 48 h 129"/>
                  <a:gd name="T72" fmla="*/ 3 w 259"/>
                  <a:gd name="T73" fmla="*/ 58 h 129"/>
                  <a:gd name="T74" fmla="*/ 6 w 259"/>
                  <a:gd name="T75" fmla="*/ 65 h 129"/>
                  <a:gd name="T76" fmla="*/ 12 w 259"/>
                  <a:gd name="T77" fmla="*/ 71 h 129"/>
                  <a:gd name="T78" fmla="*/ 17 w 259"/>
                  <a:gd name="T79" fmla="*/ 76 h 129"/>
                  <a:gd name="T80" fmla="*/ 24 w 259"/>
                  <a:gd name="T81" fmla="*/ 80 h 129"/>
                  <a:gd name="T82" fmla="*/ 31 w 259"/>
                  <a:gd name="T83" fmla="*/ 83 h 129"/>
                  <a:gd name="T84" fmla="*/ 37 w 259"/>
                  <a:gd name="T85" fmla="*/ 85 h 129"/>
                  <a:gd name="T86" fmla="*/ 50 w 259"/>
                  <a:gd name="T87" fmla="*/ 88 h 129"/>
                  <a:gd name="T88" fmla="*/ 61 w 259"/>
                  <a:gd name="T89" fmla="*/ 92 h 129"/>
                  <a:gd name="T90" fmla="*/ 65 w 259"/>
                  <a:gd name="T91" fmla="*/ 95 h 129"/>
                  <a:gd name="T92" fmla="*/ 67 w 259"/>
                  <a:gd name="T93" fmla="*/ 99 h 129"/>
                  <a:gd name="T94" fmla="*/ 67 w 259"/>
                  <a:gd name="T95" fmla="*/ 105 h 129"/>
                  <a:gd name="T96" fmla="*/ 66 w 259"/>
                  <a:gd name="T97" fmla="*/ 111 h 129"/>
                  <a:gd name="T98" fmla="*/ 81 w 259"/>
                  <a:gd name="T99" fmla="*/ 110 h 129"/>
                  <a:gd name="T100" fmla="*/ 91 w 259"/>
                  <a:gd name="T101" fmla="*/ 108 h 129"/>
                  <a:gd name="T102" fmla="*/ 98 w 259"/>
                  <a:gd name="T103" fmla="*/ 106 h 129"/>
                  <a:gd name="T104" fmla="*/ 105 w 259"/>
                  <a:gd name="T105" fmla="*/ 105 h 129"/>
                  <a:gd name="T106" fmla="*/ 120 w 259"/>
                  <a:gd name="T107" fmla="*/ 106 h 129"/>
                  <a:gd name="T108" fmla="*/ 140 w 259"/>
                  <a:gd name="T109" fmla="*/ 108 h 129"/>
                  <a:gd name="T110" fmla="*/ 166 w 259"/>
                  <a:gd name="T111" fmla="*/ 112 h 129"/>
                  <a:gd name="T112" fmla="*/ 192 w 259"/>
                  <a:gd name="T113" fmla="*/ 117 h 129"/>
                  <a:gd name="T114" fmla="*/ 238 w 259"/>
                  <a:gd name="T115" fmla="*/ 125 h 129"/>
                  <a:gd name="T116" fmla="*/ 259 w 259"/>
                  <a:gd name="T117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9" name="Freeform 345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112623" y="2451541"/>
                <a:ext cx="238591" cy="142908"/>
              </a:xfrm>
              <a:custGeom>
                <a:avLst/>
                <a:gdLst>
                  <a:gd name="T0" fmla="*/ 418 w 425"/>
                  <a:gd name="T1" fmla="*/ 170 h 272"/>
                  <a:gd name="T2" fmla="*/ 398 w 425"/>
                  <a:gd name="T3" fmla="*/ 188 h 272"/>
                  <a:gd name="T4" fmla="*/ 383 w 425"/>
                  <a:gd name="T5" fmla="*/ 206 h 272"/>
                  <a:gd name="T6" fmla="*/ 384 w 425"/>
                  <a:gd name="T7" fmla="*/ 221 h 272"/>
                  <a:gd name="T8" fmla="*/ 389 w 425"/>
                  <a:gd name="T9" fmla="*/ 237 h 272"/>
                  <a:gd name="T10" fmla="*/ 375 w 425"/>
                  <a:gd name="T11" fmla="*/ 244 h 272"/>
                  <a:gd name="T12" fmla="*/ 347 w 425"/>
                  <a:gd name="T13" fmla="*/ 238 h 272"/>
                  <a:gd name="T14" fmla="*/ 324 w 425"/>
                  <a:gd name="T15" fmla="*/ 235 h 272"/>
                  <a:gd name="T16" fmla="*/ 295 w 425"/>
                  <a:gd name="T17" fmla="*/ 235 h 272"/>
                  <a:gd name="T18" fmla="*/ 263 w 425"/>
                  <a:gd name="T19" fmla="*/ 243 h 272"/>
                  <a:gd name="T20" fmla="*/ 232 w 425"/>
                  <a:gd name="T21" fmla="*/ 254 h 272"/>
                  <a:gd name="T22" fmla="*/ 197 w 425"/>
                  <a:gd name="T23" fmla="*/ 267 h 272"/>
                  <a:gd name="T24" fmla="*/ 100 w 425"/>
                  <a:gd name="T25" fmla="*/ 240 h 272"/>
                  <a:gd name="T26" fmla="*/ 85 w 425"/>
                  <a:gd name="T27" fmla="*/ 226 h 272"/>
                  <a:gd name="T28" fmla="*/ 70 w 425"/>
                  <a:gd name="T29" fmla="*/ 214 h 272"/>
                  <a:gd name="T30" fmla="*/ 37 w 425"/>
                  <a:gd name="T31" fmla="*/ 192 h 272"/>
                  <a:gd name="T32" fmla="*/ 22 w 425"/>
                  <a:gd name="T33" fmla="*/ 180 h 272"/>
                  <a:gd name="T34" fmla="*/ 11 w 425"/>
                  <a:gd name="T35" fmla="*/ 167 h 272"/>
                  <a:gd name="T36" fmla="*/ 2 w 425"/>
                  <a:gd name="T37" fmla="*/ 150 h 272"/>
                  <a:gd name="T38" fmla="*/ 0 w 425"/>
                  <a:gd name="T39" fmla="*/ 129 h 272"/>
                  <a:gd name="T40" fmla="*/ 50 w 425"/>
                  <a:gd name="T41" fmla="*/ 66 h 272"/>
                  <a:gd name="T42" fmla="*/ 71 w 425"/>
                  <a:gd name="T43" fmla="*/ 36 h 272"/>
                  <a:gd name="T44" fmla="*/ 80 w 425"/>
                  <a:gd name="T45" fmla="*/ 22 h 272"/>
                  <a:gd name="T46" fmla="*/ 85 w 425"/>
                  <a:gd name="T47" fmla="*/ 6 h 272"/>
                  <a:gd name="T48" fmla="*/ 123 w 425"/>
                  <a:gd name="T49" fmla="*/ 10 h 272"/>
                  <a:gd name="T50" fmla="*/ 153 w 425"/>
                  <a:gd name="T51" fmla="*/ 18 h 272"/>
                  <a:gd name="T52" fmla="*/ 180 w 425"/>
                  <a:gd name="T53" fmla="*/ 27 h 272"/>
                  <a:gd name="T54" fmla="*/ 205 w 425"/>
                  <a:gd name="T55" fmla="*/ 31 h 272"/>
                  <a:gd name="T56" fmla="*/ 214 w 425"/>
                  <a:gd name="T57" fmla="*/ 29 h 272"/>
                  <a:gd name="T58" fmla="*/ 221 w 425"/>
                  <a:gd name="T59" fmla="*/ 26 h 272"/>
                  <a:gd name="T60" fmla="*/ 232 w 425"/>
                  <a:gd name="T61" fmla="*/ 15 h 272"/>
                  <a:gd name="T62" fmla="*/ 242 w 425"/>
                  <a:gd name="T63" fmla="*/ 5 h 272"/>
                  <a:gd name="T64" fmla="*/ 250 w 425"/>
                  <a:gd name="T65" fmla="*/ 2 h 272"/>
                  <a:gd name="T66" fmla="*/ 259 w 425"/>
                  <a:gd name="T67" fmla="*/ 0 h 272"/>
                  <a:gd name="T68" fmla="*/ 275 w 425"/>
                  <a:gd name="T69" fmla="*/ 2 h 272"/>
                  <a:gd name="T70" fmla="*/ 289 w 425"/>
                  <a:gd name="T71" fmla="*/ 7 h 272"/>
                  <a:gd name="T72" fmla="*/ 302 w 425"/>
                  <a:gd name="T73" fmla="*/ 15 h 272"/>
                  <a:gd name="T74" fmla="*/ 310 w 425"/>
                  <a:gd name="T75" fmla="*/ 26 h 272"/>
                  <a:gd name="T76" fmla="*/ 325 w 425"/>
                  <a:gd name="T77" fmla="*/ 53 h 272"/>
                  <a:gd name="T78" fmla="*/ 337 w 425"/>
                  <a:gd name="T79" fmla="*/ 82 h 272"/>
                  <a:gd name="T80" fmla="*/ 349 w 425"/>
                  <a:gd name="T81" fmla="*/ 113 h 272"/>
                  <a:gd name="T82" fmla="*/ 356 w 425"/>
                  <a:gd name="T83" fmla="*/ 126 h 272"/>
                  <a:gd name="T84" fmla="*/ 365 w 425"/>
                  <a:gd name="T85" fmla="*/ 138 h 272"/>
                  <a:gd name="T86" fmla="*/ 376 w 425"/>
                  <a:gd name="T87" fmla="*/ 147 h 272"/>
                  <a:gd name="T88" fmla="*/ 389 w 425"/>
                  <a:gd name="T89" fmla="*/ 156 h 272"/>
                  <a:gd name="T90" fmla="*/ 405 w 425"/>
                  <a:gd name="T91" fmla="*/ 160 h 272"/>
                  <a:gd name="T92" fmla="*/ 425 w 425"/>
                  <a:gd name="T93" fmla="*/ 161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0" name="Freeform 346"/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3593641" y="3490005"/>
                <a:ext cx="19001" cy="55576"/>
              </a:xfrm>
              <a:custGeom>
                <a:avLst/>
                <a:gdLst>
                  <a:gd name="T0" fmla="*/ 13 w 33"/>
                  <a:gd name="T1" fmla="*/ 6 h 31"/>
                  <a:gd name="T2" fmla="*/ 0 w 33"/>
                  <a:gd name="T3" fmla="*/ 19 h 31"/>
                  <a:gd name="T4" fmla="*/ 5 w 33"/>
                  <a:gd name="T5" fmla="*/ 21 h 31"/>
                  <a:gd name="T6" fmla="*/ 14 w 33"/>
                  <a:gd name="T7" fmla="*/ 25 h 31"/>
                  <a:gd name="T8" fmla="*/ 19 w 33"/>
                  <a:gd name="T9" fmla="*/ 27 h 31"/>
                  <a:gd name="T10" fmla="*/ 23 w 33"/>
                  <a:gd name="T11" fmla="*/ 29 h 31"/>
                  <a:gd name="T12" fmla="*/ 27 w 33"/>
                  <a:gd name="T13" fmla="*/ 30 h 31"/>
                  <a:gd name="T14" fmla="*/ 33 w 33"/>
                  <a:gd name="T15" fmla="*/ 31 h 31"/>
                  <a:gd name="T16" fmla="*/ 33 w 33"/>
                  <a:gd name="T17" fmla="*/ 0 h 31"/>
                  <a:gd name="T18" fmla="*/ 20 w 33"/>
                  <a:gd name="T19" fmla="*/ 0 h 31"/>
                  <a:gd name="T20" fmla="*/ 13 w 33"/>
                  <a:gd name="T2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1" name="Freeform 347"/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6251977" y="2443601"/>
                <a:ext cx="114018" cy="79393"/>
              </a:xfrm>
              <a:custGeom>
                <a:avLst/>
                <a:gdLst>
                  <a:gd name="T0" fmla="*/ 6 w 192"/>
                  <a:gd name="T1" fmla="*/ 19 h 154"/>
                  <a:gd name="T2" fmla="*/ 52 w 192"/>
                  <a:gd name="T3" fmla="*/ 0 h 154"/>
                  <a:gd name="T4" fmla="*/ 92 w 192"/>
                  <a:gd name="T5" fmla="*/ 19 h 154"/>
                  <a:gd name="T6" fmla="*/ 119 w 192"/>
                  <a:gd name="T7" fmla="*/ 31 h 154"/>
                  <a:gd name="T8" fmla="*/ 146 w 192"/>
                  <a:gd name="T9" fmla="*/ 63 h 154"/>
                  <a:gd name="T10" fmla="*/ 166 w 192"/>
                  <a:gd name="T11" fmla="*/ 93 h 154"/>
                  <a:gd name="T12" fmla="*/ 192 w 192"/>
                  <a:gd name="T13" fmla="*/ 118 h 154"/>
                  <a:gd name="T14" fmla="*/ 152 w 192"/>
                  <a:gd name="T15" fmla="*/ 124 h 154"/>
                  <a:gd name="T16" fmla="*/ 126 w 192"/>
                  <a:gd name="T17" fmla="*/ 130 h 154"/>
                  <a:gd name="T18" fmla="*/ 126 w 192"/>
                  <a:gd name="T19" fmla="*/ 154 h 154"/>
                  <a:gd name="T20" fmla="*/ 106 w 192"/>
                  <a:gd name="T21" fmla="*/ 154 h 154"/>
                  <a:gd name="T22" fmla="*/ 99 w 192"/>
                  <a:gd name="T23" fmla="*/ 146 h 154"/>
                  <a:gd name="T24" fmla="*/ 93 w 192"/>
                  <a:gd name="T25" fmla="*/ 137 h 154"/>
                  <a:gd name="T26" fmla="*/ 88 w 192"/>
                  <a:gd name="T27" fmla="*/ 126 h 154"/>
                  <a:gd name="T28" fmla="*/ 82 w 192"/>
                  <a:gd name="T29" fmla="*/ 115 h 154"/>
                  <a:gd name="T30" fmla="*/ 74 w 192"/>
                  <a:gd name="T31" fmla="*/ 93 h 154"/>
                  <a:gd name="T32" fmla="*/ 65 w 192"/>
                  <a:gd name="T33" fmla="*/ 71 h 154"/>
                  <a:gd name="T34" fmla="*/ 60 w 192"/>
                  <a:gd name="T35" fmla="*/ 61 h 154"/>
                  <a:gd name="T36" fmla="*/ 55 w 192"/>
                  <a:gd name="T37" fmla="*/ 50 h 154"/>
                  <a:gd name="T38" fmla="*/ 48 w 192"/>
                  <a:gd name="T39" fmla="*/ 42 h 154"/>
                  <a:gd name="T40" fmla="*/ 41 w 192"/>
                  <a:gd name="T41" fmla="*/ 34 h 154"/>
                  <a:gd name="T42" fmla="*/ 33 w 192"/>
                  <a:gd name="T43" fmla="*/ 28 h 154"/>
                  <a:gd name="T44" fmla="*/ 24 w 192"/>
                  <a:gd name="T45" fmla="*/ 23 h 154"/>
                  <a:gd name="T46" fmla="*/ 18 w 192"/>
                  <a:gd name="T47" fmla="*/ 22 h 154"/>
                  <a:gd name="T48" fmla="*/ 12 w 192"/>
                  <a:gd name="T49" fmla="*/ 20 h 154"/>
                  <a:gd name="T50" fmla="*/ 6 w 192"/>
                  <a:gd name="T51" fmla="*/ 20 h 154"/>
                  <a:gd name="T52" fmla="*/ 0 w 192"/>
                  <a:gd name="T53" fmla="*/ 19 h 154"/>
                  <a:gd name="T54" fmla="*/ 6 w 192"/>
                  <a:gd name="T55" fmla="*/ 1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2" name="Freeform 348"/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6142183" y="2326100"/>
                <a:ext cx="506744" cy="247707"/>
              </a:xfrm>
              <a:custGeom>
                <a:avLst/>
                <a:gdLst>
                  <a:gd name="T0" fmla="*/ 392 w 877"/>
                  <a:gd name="T1" fmla="*/ 340 h 469"/>
                  <a:gd name="T2" fmla="*/ 319 w 877"/>
                  <a:gd name="T3" fmla="*/ 253 h 469"/>
                  <a:gd name="T4" fmla="*/ 206 w 877"/>
                  <a:gd name="T5" fmla="*/ 241 h 469"/>
                  <a:gd name="T6" fmla="*/ 191 w 877"/>
                  <a:gd name="T7" fmla="*/ 243 h 469"/>
                  <a:gd name="T8" fmla="*/ 178 w 877"/>
                  <a:gd name="T9" fmla="*/ 251 h 469"/>
                  <a:gd name="T10" fmla="*/ 162 w 877"/>
                  <a:gd name="T11" fmla="*/ 267 h 469"/>
                  <a:gd name="T12" fmla="*/ 151 w 877"/>
                  <a:gd name="T13" fmla="*/ 271 h 469"/>
                  <a:gd name="T14" fmla="*/ 121 w 877"/>
                  <a:gd name="T15" fmla="*/ 268 h 469"/>
                  <a:gd name="T16" fmla="*/ 79 w 877"/>
                  <a:gd name="T17" fmla="*/ 255 h 469"/>
                  <a:gd name="T18" fmla="*/ 26 w 877"/>
                  <a:gd name="T19" fmla="*/ 247 h 469"/>
                  <a:gd name="T20" fmla="*/ 8 w 877"/>
                  <a:gd name="T21" fmla="*/ 212 h 469"/>
                  <a:gd name="T22" fmla="*/ 13 w 877"/>
                  <a:gd name="T23" fmla="*/ 187 h 469"/>
                  <a:gd name="T24" fmla="*/ 13 w 877"/>
                  <a:gd name="T25" fmla="*/ 180 h 469"/>
                  <a:gd name="T26" fmla="*/ 23 w 877"/>
                  <a:gd name="T27" fmla="*/ 144 h 469"/>
                  <a:gd name="T28" fmla="*/ 44 w 877"/>
                  <a:gd name="T29" fmla="*/ 112 h 469"/>
                  <a:gd name="T30" fmla="*/ 54 w 877"/>
                  <a:gd name="T31" fmla="*/ 92 h 469"/>
                  <a:gd name="T32" fmla="*/ 26 w 877"/>
                  <a:gd name="T33" fmla="*/ 50 h 469"/>
                  <a:gd name="T34" fmla="*/ 173 w 877"/>
                  <a:gd name="T35" fmla="*/ 26 h 469"/>
                  <a:gd name="T36" fmla="*/ 339 w 877"/>
                  <a:gd name="T37" fmla="*/ 50 h 469"/>
                  <a:gd name="T38" fmla="*/ 392 w 877"/>
                  <a:gd name="T39" fmla="*/ 13 h 469"/>
                  <a:gd name="T40" fmla="*/ 485 w 877"/>
                  <a:gd name="T41" fmla="*/ 0 h 469"/>
                  <a:gd name="T42" fmla="*/ 579 w 877"/>
                  <a:gd name="T43" fmla="*/ 38 h 469"/>
                  <a:gd name="T44" fmla="*/ 638 w 877"/>
                  <a:gd name="T45" fmla="*/ 111 h 469"/>
                  <a:gd name="T46" fmla="*/ 725 w 877"/>
                  <a:gd name="T47" fmla="*/ 111 h 469"/>
                  <a:gd name="T48" fmla="*/ 838 w 877"/>
                  <a:gd name="T49" fmla="*/ 155 h 469"/>
                  <a:gd name="T50" fmla="*/ 864 w 877"/>
                  <a:gd name="T51" fmla="*/ 235 h 469"/>
                  <a:gd name="T52" fmla="*/ 804 w 877"/>
                  <a:gd name="T53" fmla="*/ 272 h 469"/>
                  <a:gd name="T54" fmla="*/ 754 w 877"/>
                  <a:gd name="T55" fmla="*/ 313 h 469"/>
                  <a:gd name="T56" fmla="*/ 688 w 877"/>
                  <a:gd name="T57" fmla="*/ 330 h 469"/>
                  <a:gd name="T58" fmla="*/ 663 w 877"/>
                  <a:gd name="T59" fmla="*/ 343 h 469"/>
                  <a:gd name="T60" fmla="*/ 648 w 877"/>
                  <a:gd name="T61" fmla="*/ 358 h 469"/>
                  <a:gd name="T62" fmla="*/ 646 w 877"/>
                  <a:gd name="T63" fmla="*/ 375 h 469"/>
                  <a:gd name="T64" fmla="*/ 653 w 877"/>
                  <a:gd name="T65" fmla="*/ 390 h 469"/>
                  <a:gd name="T66" fmla="*/ 666 w 877"/>
                  <a:gd name="T67" fmla="*/ 401 h 469"/>
                  <a:gd name="T68" fmla="*/ 711 w 877"/>
                  <a:gd name="T69" fmla="*/ 396 h 469"/>
                  <a:gd name="T70" fmla="*/ 741 w 877"/>
                  <a:gd name="T71" fmla="*/ 394 h 469"/>
                  <a:gd name="T72" fmla="*/ 734 w 877"/>
                  <a:gd name="T73" fmla="*/ 403 h 469"/>
                  <a:gd name="T74" fmla="*/ 716 w 877"/>
                  <a:gd name="T75" fmla="*/ 421 h 469"/>
                  <a:gd name="T76" fmla="*/ 698 w 877"/>
                  <a:gd name="T77" fmla="*/ 438 h 469"/>
                  <a:gd name="T78" fmla="*/ 689 w 877"/>
                  <a:gd name="T79" fmla="*/ 419 h 469"/>
                  <a:gd name="T80" fmla="*/ 671 w 877"/>
                  <a:gd name="T81" fmla="*/ 408 h 469"/>
                  <a:gd name="T82" fmla="*/ 666 w 877"/>
                  <a:gd name="T83" fmla="*/ 423 h 469"/>
                  <a:gd name="T84" fmla="*/ 643 w 877"/>
                  <a:gd name="T85" fmla="*/ 442 h 469"/>
                  <a:gd name="T86" fmla="*/ 619 w 877"/>
                  <a:gd name="T87" fmla="*/ 460 h 469"/>
                  <a:gd name="T88" fmla="*/ 611 w 877"/>
                  <a:gd name="T89" fmla="*/ 469 h 469"/>
                  <a:gd name="T90" fmla="*/ 595 w 877"/>
                  <a:gd name="T91" fmla="*/ 464 h 469"/>
                  <a:gd name="T92" fmla="*/ 584 w 877"/>
                  <a:gd name="T93" fmla="*/ 455 h 469"/>
                  <a:gd name="T94" fmla="*/ 575 w 877"/>
                  <a:gd name="T95" fmla="*/ 439 h 469"/>
                  <a:gd name="T96" fmla="*/ 572 w 877"/>
                  <a:gd name="T97" fmla="*/ 408 h 469"/>
                  <a:gd name="T98" fmla="*/ 548 w 877"/>
                  <a:gd name="T99" fmla="*/ 404 h 469"/>
                  <a:gd name="T100" fmla="*/ 518 w 877"/>
                  <a:gd name="T101" fmla="*/ 389 h 469"/>
                  <a:gd name="T102" fmla="*/ 559 w 877"/>
                  <a:gd name="T103" fmla="*/ 379 h 469"/>
                  <a:gd name="T104" fmla="*/ 625 w 877"/>
                  <a:gd name="T105" fmla="*/ 370 h 469"/>
                  <a:gd name="T106" fmla="*/ 493 w 877"/>
                  <a:gd name="T107" fmla="*/ 354 h 469"/>
                  <a:gd name="T108" fmla="*/ 445 w 877"/>
                  <a:gd name="T109" fmla="*/ 333 h 469"/>
                  <a:gd name="T110" fmla="*/ 398 w 877"/>
                  <a:gd name="T111" fmla="*/ 369 h 469"/>
                  <a:gd name="T112" fmla="*/ 380 w 877"/>
                  <a:gd name="T113" fmla="*/ 395 h 469"/>
                  <a:gd name="T114" fmla="*/ 353 w 877"/>
                  <a:gd name="T115" fmla="*/ 400 h 469"/>
                  <a:gd name="T116" fmla="*/ 328 w 877"/>
                  <a:gd name="T117" fmla="*/ 392 h 469"/>
                  <a:gd name="T118" fmla="*/ 306 w 877"/>
                  <a:gd name="T119" fmla="*/ 376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3" name="Freeform 349"/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6822063" y="2669078"/>
                <a:ext cx="63343" cy="63514"/>
              </a:xfrm>
              <a:custGeom>
                <a:avLst/>
                <a:gdLst>
                  <a:gd name="T0" fmla="*/ 48 w 107"/>
                  <a:gd name="T1" fmla="*/ 0 h 123"/>
                  <a:gd name="T2" fmla="*/ 81 w 107"/>
                  <a:gd name="T3" fmla="*/ 31 h 123"/>
                  <a:gd name="T4" fmla="*/ 94 w 107"/>
                  <a:gd name="T5" fmla="*/ 67 h 123"/>
                  <a:gd name="T6" fmla="*/ 107 w 107"/>
                  <a:gd name="T7" fmla="*/ 86 h 123"/>
                  <a:gd name="T8" fmla="*/ 107 w 107"/>
                  <a:gd name="T9" fmla="*/ 117 h 123"/>
                  <a:gd name="T10" fmla="*/ 107 w 107"/>
                  <a:gd name="T11" fmla="*/ 123 h 123"/>
                  <a:gd name="T12" fmla="*/ 88 w 107"/>
                  <a:gd name="T13" fmla="*/ 114 h 123"/>
                  <a:gd name="T14" fmla="*/ 73 w 107"/>
                  <a:gd name="T15" fmla="*/ 105 h 123"/>
                  <a:gd name="T16" fmla="*/ 61 w 107"/>
                  <a:gd name="T17" fmla="*/ 98 h 123"/>
                  <a:gd name="T18" fmla="*/ 54 w 107"/>
                  <a:gd name="T19" fmla="*/ 92 h 123"/>
                  <a:gd name="T20" fmla="*/ 51 w 107"/>
                  <a:gd name="T21" fmla="*/ 83 h 123"/>
                  <a:gd name="T22" fmla="*/ 48 w 107"/>
                  <a:gd name="T23" fmla="*/ 73 h 123"/>
                  <a:gd name="T24" fmla="*/ 39 w 107"/>
                  <a:gd name="T25" fmla="*/ 74 h 123"/>
                  <a:gd name="T26" fmla="*/ 32 w 107"/>
                  <a:gd name="T27" fmla="*/ 73 h 123"/>
                  <a:gd name="T28" fmla="*/ 26 w 107"/>
                  <a:gd name="T29" fmla="*/ 72 h 123"/>
                  <a:gd name="T30" fmla="*/ 21 w 107"/>
                  <a:gd name="T31" fmla="*/ 70 h 123"/>
                  <a:gd name="T32" fmla="*/ 17 w 107"/>
                  <a:gd name="T33" fmla="*/ 67 h 123"/>
                  <a:gd name="T34" fmla="*/ 14 w 107"/>
                  <a:gd name="T35" fmla="*/ 63 h 123"/>
                  <a:gd name="T36" fmla="*/ 11 w 107"/>
                  <a:gd name="T37" fmla="*/ 59 h 123"/>
                  <a:gd name="T38" fmla="*/ 9 w 107"/>
                  <a:gd name="T39" fmla="*/ 54 h 123"/>
                  <a:gd name="T40" fmla="*/ 4 w 107"/>
                  <a:gd name="T41" fmla="*/ 31 h 123"/>
                  <a:gd name="T42" fmla="*/ 0 w 107"/>
                  <a:gd name="T43" fmla="*/ 6 h 123"/>
                  <a:gd name="T44" fmla="*/ 34 w 107"/>
                  <a:gd name="T45" fmla="*/ 0 h 123"/>
                  <a:gd name="T46" fmla="*/ 48 w 107"/>
                  <a:gd name="T4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4" name="Freeform 350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7544172" y="2683369"/>
                <a:ext cx="276597" cy="122266"/>
              </a:xfrm>
              <a:custGeom>
                <a:avLst/>
                <a:gdLst>
                  <a:gd name="T0" fmla="*/ 106 w 471"/>
                  <a:gd name="T1" fmla="*/ 67 h 234"/>
                  <a:gd name="T2" fmla="*/ 166 w 471"/>
                  <a:gd name="T3" fmla="*/ 86 h 234"/>
                  <a:gd name="T4" fmla="*/ 272 w 471"/>
                  <a:gd name="T5" fmla="*/ 105 h 234"/>
                  <a:gd name="T6" fmla="*/ 372 w 471"/>
                  <a:gd name="T7" fmla="*/ 86 h 234"/>
                  <a:gd name="T8" fmla="*/ 383 w 471"/>
                  <a:gd name="T9" fmla="*/ 95 h 234"/>
                  <a:gd name="T10" fmla="*/ 391 w 471"/>
                  <a:gd name="T11" fmla="*/ 114 h 234"/>
                  <a:gd name="T12" fmla="*/ 406 w 471"/>
                  <a:gd name="T13" fmla="*/ 124 h 234"/>
                  <a:gd name="T14" fmla="*/ 424 w 471"/>
                  <a:gd name="T15" fmla="*/ 129 h 234"/>
                  <a:gd name="T16" fmla="*/ 433 w 471"/>
                  <a:gd name="T17" fmla="*/ 134 h 234"/>
                  <a:gd name="T18" fmla="*/ 441 w 471"/>
                  <a:gd name="T19" fmla="*/ 141 h 234"/>
                  <a:gd name="T20" fmla="*/ 448 w 471"/>
                  <a:gd name="T21" fmla="*/ 151 h 234"/>
                  <a:gd name="T22" fmla="*/ 455 w 471"/>
                  <a:gd name="T23" fmla="*/ 170 h 234"/>
                  <a:gd name="T24" fmla="*/ 471 w 471"/>
                  <a:gd name="T25" fmla="*/ 190 h 234"/>
                  <a:gd name="T26" fmla="*/ 350 w 471"/>
                  <a:gd name="T27" fmla="*/ 202 h 234"/>
                  <a:gd name="T28" fmla="*/ 330 w 471"/>
                  <a:gd name="T29" fmla="*/ 224 h 234"/>
                  <a:gd name="T30" fmla="*/ 317 w 471"/>
                  <a:gd name="T31" fmla="*/ 233 h 234"/>
                  <a:gd name="T32" fmla="*/ 306 w 471"/>
                  <a:gd name="T33" fmla="*/ 233 h 234"/>
                  <a:gd name="T34" fmla="*/ 298 w 471"/>
                  <a:gd name="T35" fmla="*/ 230 h 234"/>
                  <a:gd name="T36" fmla="*/ 292 w 471"/>
                  <a:gd name="T37" fmla="*/ 224 h 234"/>
                  <a:gd name="T38" fmla="*/ 289 w 471"/>
                  <a:gd name="T39" fmla="*/ 216 h 234"/>
                  <a:gd name="T40" fmla="*/ 284 w 471"/>
                  <a:gd name="T41" fmla="*/ 199 h 234"/>
                  <a:gd name="T42" fmla="*/ 278 w 471"/>
                  <a:gd name="T43" fmla="*/ 174 h 234"/>
                  <a:gd name="T44" fmla="*/ 269 w 471"/>
                  <a:gd name="T45" fmla="*/ 155 h 234"/>
                  <a:gd name="T46" fmla="*/ 258 w 471"/>
                  <a:gd name="T47" fmla="*/ 148 h 234"/>
                  <a:gd name="T48" fmla="*/ 246 w 471"/>
                  <a:gd name="T49" fmla="*/ 141 h 234"/>
                  <a:gd name="T50" fmla="*/ 236 w 471"/>
                  <a:gd name="T51" fmla="*/ 133 h 234"/>
                  <a:gd name="T52" fmla="*/ 224 w 471"/>
                  <a:gd name="T53" fmla="*/ 140 h 234"/>
                  <a:gd name="T54" fmla="*/ 207 w 471"/>
                  <a:gd name="T55" fmla="*/ 162 h 234"/>
                  <a:gd name="T56" fmla="*/ 200 w 471"/>
                  <a:gd name="T57" fmla="*/ 177 h 234"/>
                  <a:gd name="T58" fmla="*/ 188 w 471"/>
                  <a:gd name="T59" fmla="*/ 190 h 234"/>
                  <a:gd name="T60" fmla="*/ 167 w 471"/>
                  <a:gd name="T61" fmla="*/ 201 h 234"/>
                  <a:gd name="T62" fmla="*/ 147 w 471"/>
                  <a:gd name="T63" fmla="*/ 213 h 234"/>
                  <a:gd name="T64" fmla="*/ 130 w 471"/>
                  <a:gd name="T65" fmla="*/ 219 h 234"/>
                  <a:gd name="T66" fmla="*/ 114 w 471"/>
                  <a:gd name="T67" fmla="*/ 222 h 234"/>
                  <a:gd name="T68" fmla="*/ 97 w 471"/>
                  <a:gd name="T69" fmla="*/ 221 h 234"/>
                  <a:gd name="T70" fmla="*/ 82 w 471"/>
                  <a:gd name="T71" fmla="*/ 217 h 234"/>
                  <a:gd name="T72" fmla="*/ 63 w 471"/>
                  <a:gd name="T73" fmla="*/ 205 h 234"/>
                  <a:gd name="T74" fmla="*/ 59 w 471"/>
                  <a:gd name="T75" fmla="*/ 197 h 234"/>
                  <a:gd name="T76" fmla="*/ 59 w 471"/>
                  <a:gd name="T77" fmla="*/ 135 h 234"/>
                  <a:gd name="T78" fmla="*/ 0 w 471"/>
                  <a:gd name="T79" fmla="*/ 98 h 234"/>
                  <a:gd name="T80" fmla="*/ 53 w 471"/>
                  <a:gd name="T81" fmla="*/ 80 h 234"/>
                  <a:gd name="T82" fmla="*/ 86 w 471"/>
                  <a:gd name="T83" fmla="*/ 30 h 234"/>
                  <a:gd name="T84" fmla="*/ 133 w 471"/>
                  <a:gd name="T85" fmla="*/ 0 h 234"/>
                  <a:gd name="T86" fmla="*/ 166 w 471"/>
                  <a:gd name="T87" fmla="*/ 42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5" name="Freeform 351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7609626" y="2611916"/>
                <a:ext cx="299823" cy="125441"/>
              </a:xfrm>
              <a:custGeom>
                <a:avLst/>
                <a:gdLst>
                  <a:gd name="T0" fmla="*/ 106 w 525"/>
                  <a:gd name="T1" fmla="*/ 185 h 241"/>
                  <a:gd name="T2" fmla="*/ 173 w 525"/>
                  <a:gd name="T3" fmla="*/ 148 h 241"/>
                  <a:gd name="T4" fmla="*/ 93 w 525"/>
                  <a:gd name="T5" fmla="*/ 105 h 241"/>
                  <a:gd name="T6" fmla="*/ 47 w 525"/>
                  <a:gd name="T7" fmla="*/ 117 h 241"/>
                  <a:gd name="T8" fmla="*/ 66 w 525"/>
                  <a:gd name="T9" fmla="*/ 61 h 241"/>
                  <a:gd name="T10" fmla="*/ 40 w 525"/>
                  <a:gd name="T11" fmla="*/ 43 h 241"/>
                  <a:gd name="T12" fmla="*/ 112 w 525"/>
                  <a:gd name="T13" fmla="*/ 25 h 241"/>
                  <a:gd name="T14" fmla="*/ 186 w 525"/>
                  <a:gd name="T15" fmla="*/ 0 h 241"/>
                  <a:gd name="T16" fmla="*/ 312 w 525"/>
                  <a:gd name="T17" fmla="*/ 19 h 241"/>
                  <a:gd name="T18" fmla="*/ 439 w 525"/>
                  <a:gd name="T19" fmla="*/ 25 h 241"/>
                  <a:gd name="T20" fmla="*/ 525 w 525"/>
                  <a:gd name="T21" fmla="*/ 55 h 241"/>
                  <a:gd name="T22" fmla="*/ 519 w 525"/>
                  <a:gd name="T23" fmla="*/ 69 h 241"/>
                  <a:gd name="T24" fmla="*/ 510 w 525"/>
                  <a:gd name="T25" fmla="*/ 82 h 241"/>
                  <a:gd name="T26" fmla="*/ 499 w 525"/>
                  <a:gd name="T27" fmla="*/ 92 h 241"/>
                  <a:gd name="T28" fmla="*/ 485 w 525"/>
                  <a:gd name="T29" fmla="*/ 99 h 241"/>
                  <a:gd name="T30" fmla="*/ 442 w 525"/>
                  <a:gd name="T31" fmla="*/ 103 h 241"/>
                  <a:gd name="T32" fmla="*/ 418 w 525"/>
                  <a:gd name="T33" fmla="*/ 107 h 241"/>
                  <a:gd name="T34" fmla="*/ 407 w 525"/>
                  <a:gd name="T35" fmla="*/ 111 h 241"/>
                  <a:gd name="T36" fmla="*/ 399 w 525"/>
                  <a:gd name="T37" fmla="*/ 117 h 241"/>
                  <a:gd name="T38" fmla="*/ 387 w 525"/>
                  <a:gd name="T39" fmla="*/ 136 h 241"/>
                  <a:gd name="T40" fmla="*/ 378 w 525"/>
                  <a:gd name="T41" fmla="*/ 147 h 241"/>
                  <a:gd name="T42" fmla="*/ 365 w 525"/>
                  <a:gd name="T43" fmla="*/ 154 h 241"/>
                  <a:gd name="T44" fmla="*/ 305 w 525"/>
                  <a:gd name="T45" fmla="*/ 166 h 241"/>
                  <a:gd name="T46" fmla="*/ 273 w 525"/>
                  <a:gd name="T47" fmla="*/ 173 h 241"/>
                  <a:gd name="T48" fmla="*/ 260 w 525"/>
                  <a:gd name="T49" fmla="*/ 178 h 241"/>
                  <a:gd name="T50" fmla="*/ 261 w 525"/>
                  <a:gd name="T51" fmla="*/ 192 h 241"/>
                  <a:gd name="T52" fmla="*/ 263 w 525"/>
                  <a:gd name="T53" fmla="*/ 203 h 241"/>
                  <a:gd name="T54" fmla="*/ 273 w 525"/>
                  <a:gd name="T55" fmla="*/ 222 h 241"/>
                  <a:gd name="T56" fmla="*/ 219 w 525"/>
                  <a:gd name="T57" fmla="*/ 228 h 241"/>
                  <a:gd name="T58" fmla="*/ 112 w 525"/>
                  <a:gd name="T59" fmla="*/ 234 h 241"/>
                  <a:gd name="T60" fmla="*/ 20 w 525"/>
                  <a:gd name="T61" fmla="*/ 222 h 241"/>
                  <a:gd name="T62" fmla="*/ 53 w 525"/>
                  <a:gd name="T63" fmla="*/ 16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6" name="Freeform 352"/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7085991" y="2627795"/>
                <a:ext cx="456069" cy="227064"/>
              </a:xfrm>
              <a:custGeom>
                <a:avLst/>
                <a:gdLst>
                  <a:gd name="T0" fmla="*/ 768 w 784"/>
                  <a:gd name="T1" fmla="*/ 292 h 430"/>
                  <a:gd name="T2" fmla="*/ 751 w 784"/>
                  <a:gd name="T3" fmla="*/ 293 h 430"/>
                  <a:gd name="T4" fmla="*/ 731 w 784"/>
                  <a:gd name="T5" fmla="*/ 302 h 430"/>
                  <a:gd name="T6" fmla="*/ 723 w 784"/>
                  <a:gd name="T7" fmla="*/ 308 h 430"/>
                  <a:gd name="T8" fmla="*/ 717 w 784"/>
                  <a:gd name="T9" fmla="*/ 332 h 430"/>
                  <a:gd name="T10" fmla="*/ 713 w 784"/>
                  <a:gd name="T11" fmla="*/ 360 h 430"/>
                  <a:gd name="T12" fmla="*/ 704 w 784"/>
                  <a:gd name="T13" fmla="*/ 376 h 430"/>
                  <a:gd name="T14" fmla="*/ 671 w 784"/>
                  <a:gd name="T15" fmla="*/ 402 h 430"/>
                  <a:gd name="T16" fmla="*/ 633 w 784"/>
                  <a:gd name="T17" fmla="*/ 420 h 430"/>
                  <a:gd name="T18" fmla="*/ 612 w 784"/>
                  <a:gd name="T19" fmla="*/ 424 h 430"/>
                  <a:gd name="T20" fmla="*/ 587 w 784"/>
                  <a:gd name="T21" fmla="*/ 429 h 430"/>
                  <a:gd name="T22" fmla="*/ 567 w 784"/>
                  <a:gd name="T23" fmla="*/ 428 h 430"/>
                  <a:gd name="T24" fmla="*/ 545 w 784"/>
                  <a:gd name="T25" fmla="*/ 388 h 430"/>
                  <a:gd name="T26" fmla="*/ 515 w 784"/>
                  <a:gd name="T27" fmla="*/ 344 h 430"/>
                  <a:gd name="T28" fmla="*/ 478 w 784"/>
                  <a:gd name="T29" fmla="*/ 334 h 430"/>
                  <a:gd name="T30" fmla="*/ 448 w 784"/>
                  <a:gd name="T31" fmla="*/ 315 h 430"/>
                  <a:gd name="T32" fmla="*/ 417 w 784"/>
                  <a:gd name="T33" fmla="*/ 294 h 430"/>
                  <a:gd name="T34" fmla="*/ 373 w 784"/>
                  <a:gd name="T35" fmla="*/ 274 h 430"/>
                  <a:gd name="T36" fmla="*/ 306 w 784"/>
                  <a:gd name="T37" fmla="*/ 258 h 430"/>
                  <a:gd name="T38" fmla="*/ 182 w 784"/>
                  <a:gd name="T39" fmla="*/ 283 h 430"/>
                  <a:gd name="T40" fmla="*/ 151 w 784"/>
                  <a:gd name="T41" fmla="*/ 306 h 430"/>
                  <a:gd name="T42" fmla="*/ 127 w 784"/>
                  <a:gd name="T43" fmla="*/ 308 h 430"/>
                  <a:gd name="T44" fmla="*/ 66 w 784"/>
                  <a:gd name="T45" fmla="*/ 252 h 430"/>
                  <a:gd name="T46" fmla="*/ 66 w 784"/>
                  <a:gd name="T47" fmla="*/ 204 h 430"/>
                  <a:gd name="T48" fmla="*/ 40 w 784"/>
                  <a:gd name="T49" fmla="*/ 179 h 430"/>
                  <a:gd name="T50" fmla="*/ 42 w 784"/>
                  <a:gd name="T51" fmla="*/ 199 h 430"/>
                  <a:gd name="T52" fmla="*/ 36 w 784"/>
                  <a:gd name="T53" fmla="*/ 218 h 430"/>
                  <a:gd name="T54" fmla="*/ 30 w 784"/>
                  <a:gd name="T55" fmla="*/ 221 h 430"/>
                  <a:gd name="T56" fmla="*/ 31 w 784"/>
                  <a:gd name="T57" fmla="*/ 203 h 430"/>
                  <a:gd name="T58" fmla="*/ 27 w 784"/>
                  <a:gd name="T59" fmla="*/ 174 h 430"/>
                  <a:gd name="T60" fmla="*/ 33 w 784"/>
                  <a:gd name="T61" fmla="*/ 163 h 430"/>
                  <a:gd name="T62" fmla="*/ 40 w 784"/>
                  <a:gd name="T63" fmla="*/ 152 h 430"/>
                  <a:gd name="T64" fmla="*/ 27 w 784"/>
                  <a:gd name="T65" fmla="*/ 129 h 430"/>
                  <a:gd name="T66" fmla="*/ 7 w 784"/>
                  <a:gd name="T67" fmla="*/ 126 h 430"/>
                  <a:gd name="T68" fmla="*/ 0 w 784"/>
                  <a:gd name="T69" fmla="*/ 117 h 430"/>
                  <a:gd name="T70" fmla="*/ 3 w 784"/>
                  <a:gd name="T71" fmla="*/ 104 h 430"/>
                  <a:gd name="T72" fmla="*/ 11 w 784"/>
                  <a:gd name="T73" fmla="*/ 94 h 430"/>
                  <a:gd name="T74" fmla="*/ 27 w 784"/>
                  <a:gd name="T75" fmla="*/ 92 h 430"/>
                  <a:gd name="T76" fmla="*/ 41 w 784"/>
                  <a:gd name="T77" fmla="*/ 99 h 430"/>
                  <a:gd name="T78" fmla="*/ 57 w 784"/>
                  <a:gd name="T79" fmla="*/ 104 h 430"/>
                  <a:gd name="T80" fmla="*/ 71 w 784"/>
                  <a:gd name="T81" fmla="*/ 92 h 430"/>
                  <a:gd name="T82" fmla="*/ 83 w 784"/>
                  <a:gd name="T83" fmla="*/ 77 h 430"/>
                  <a:gd name="T84" fmla="*/ 87 w 784"/>
                  <a:gd name="T85" fmla="*/ 64 h 430"/>
                  <a:gd name="T86" fmla="*/ 78 w 784"/>
                  <a:gd name="T87" fmla="*/ 55 h 430"/>
                  <a:gd name="T88" fmla="*/ 55 w 784"/>
                  <a:gd name="T89" fmla="*/ 49 h 430"/>
                  <a:gd name="T90" fmla="*/ 47 w 784"/>
                  <a:gd name="T91" fmla="*/ 40 h 430"/>
                  <a:gd name="T92" fmla="*/ 41 w 784"/>
                  <a:gd name="T93" fmla="*/ 28 h 430"/>
                  <a:gd name="T94" fmla="*/ 107 w 784"/>
                  <a:gd name="T95" fmla="*/ 43 h 430"/>
                  <a:gd name="T96" fmla="*/ 219 w 784"/>
                  <a:gd name="T97" fmla="*/ 74 h 430"/>
                  <a:gd name="T98" fmla="*/ 273 w 784"/>
                  <a:gd name="T99" fmla="*/ 0 h 430"/>
                  <a:gd name="T100" fmla="*/ 373 w 784"/>
                  <a:gd name="T101" fmla="*/ 43 h 430"/>
                  <a:gd name="T102" fmla="*/ 465 w 784"/>
                  <a:gd name="T103" fmla="*/ 92 h 430"/>
                  <a:gd name="T104" fmla="*/ 591 w 784"/>
                  <a:gd name="T105" fmla="*/ 210 h 430"/>
                  <a:gd name="T106" fmla="*/ 724 w 784"/>
                  <a:gd name="T107" fmla="*/ 265 h 430"/>
                  <a:gd name="T108" fmla="*/ 778 w 784"/>
                  <a:gd name="T109" fmla="*/ 295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7" name="Freeform 353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6034499" y="2515054"/>
                <a:ext cx="143578" cy="149260"/>
              </a:xfrm>
              <a:custGeom>
                <a:avLst/>
                <a:gdLst>
                  <a:gd name="T0" fmla="*/ 30 w 246"/>
                  <a:gd name="T1" fmla="*/ 27 h 284"/>
                  <a:gd name="T2" fmla="*/ 28 w 246"/>
                  <a:gd name="T3" fmla="*/ 24 h 284"/>
                  <a:gd name="T4" fmla="*/ 24 w 246"/>
                  <a:gd name="T5" fmla="*/ 17 h 284"/>
                  <a:gd name="T6" fmla="*/ 35 w 246"/>
                  <a:gd name="T7" fmla="*/ 5 h 284"/>
                  <a:gd name="T8" fmla="*/ 67 w 246"/>
                  <a:gd name="T9" fmla="*/ 1 h 284"/>
                  <a:gd name="T10" fmla="*/ 126 w 246"/>
                  <a:gd name="T11" fmla="*/ 12 h 284"/>
                  <a:gd name="T12" fmla="*/ 131 w 246"/>
                  <a:gd name="T13" fmla="*/ 30 h 284"/>
                  <a:gd name="T14" fmla="*/ 139 w 246"/>
                  <a:gd name="T15" fmla="*/ 46 h 284"/>
                  <a:gd name="T16" fmla="*/ 151 w 246"/>
                  <a:gd name="T17" fmla="*/ 57 h 284"/>
                  <a:gd name="T18" fmla="*/ 165 w 246"/>
                  <a:gd name="T19" fmla="*/ 67 h 284"/>
                  <a:gd name="T20" fmla="*/ 191 w 246"/>
                  <a:gd name="T21" fmla="*/ 87 h 284"/>
                  <a:gd name="T22" fmla="*/ 203 w 246"/>
                  <a:gd name="T23" fmla="*/ 101 h 284"/>
                  <a:gd name="T24" fmla="*/ 212 w 246"/>
                  <a:gd name="T25" fmla="*/ 117 h 284"/>
                  <a:gd name="T26" fmla="*/ 226 w 246"/>
                  <a:gd name="T27" fmla="*/ 117 h 284"/>
                  <a:gd name="T28" fmla="*/ 221 w 246"/>
                  <a:gd name="T29" fmla="*/ 124 h 284"/>
                  <a:gd name="T30" fmla="*/ 221 w 246"/>
                  <a:gd name="T31" fmla="*/ 129 h 284"/>
                  <a:gd name="T32" fmla="*/ 228 w 246"/>
                  <a:gd name="T33" fmla="*/ 140 h 284"/>
                  <a:gd name="T34" fmla="*/ 239 w 246"/>
                  <a:gd name="T35" fmla="*/ 154 h 284"/>
                  <a:gd name="T36" fmla="*/ 244 w 246"/>
                  <a:gd name="T37" fmla="*/ 162 h 284"/>
                  <a:gd name="T38" fmla="*/ 246 w 246"/>
                  <a:gd name="T39" fmla="*/ 173 h 284"/>
                  <a:gd name="T40" fmla="*/ 241 w 246"/>
                  <a:gd name="T41" fmla="*/ 184 h 284"/>
                  <a:gd name="T42" fmla="*/ 233 w 246"/>
                  <a:gd name="T43" fmla="*/ 192 h 284"/>
                  <a:gd name="T44" fmla="*/ 223 w 246"/>
                  <a:gd name="T45" fmla="*/ 198 h 284"/>
                  <a:gd name="T46" fmla="*/ 220 w 246"/>
                  <a:gd name="T47" fmla="*/ 204 h 284"/>
                  <a:gd name="T48" fmla="*/ 189 w 246"/>
                  <a:gd name="T49" fmla="*/ 215 h 284"/>
                  <a:gd name="T50" fmla="*/ 164 w 246"/>
                  <a:gd name="T51" fmla="*/ 230 h 284"/>
                  <a:gd name="T52" fmla="*/ 113 w 246"/>
                  <a:gd name="T53" fmla="*/ 265 h 284"/>
                  <a:gd name="T54" fmla="*/ 88 w 246"/>
                  <a:gd name="T55" fmla="*/ 231 h 284"/>
                  <a:gd name="T56" fmla="*/ 79 w 246"/>
                  <a:gd name="T57" fmla="*/ 220 h 284"/>
                  <a:gd name="T58" fmla="*/ 72 w 246"/>
                  <a:gd name="T59" fmla="*/ 216 h 284"/>
                  <a:gd name="T60" fmla="*/ 60 w 246"/>
                  <a:gd name="T61" fmla="*/ 217 h 284"/>
                  <a:gd name="T62" fmla="*/ 54 w 246"/>
                  <a:gd name="T63" fmla="*/ 221 h 284"/>
                  <a:gd name="T64" fmla="*/ 49 w 246"/>
                  <a:gd name="T65" fmla="*/ 228 h 284"/>
                  <a:gd name="T66" fmla="*/ 48 w 246"/>
                  <a:gd name="T67" fmla="*/ 236 h 284"/>
                  <a:gd name="T68" fmla="*/ 45 w 246"/>
                  <a:gd name="T69" fmla="*/ 257 h 284"/>
                  <a:gd name="T70" fmla="*/ 41 w 246"/>
                  <a:gd name="T71" fmla="*/ 270 h 284"/>
                  <a:gd name="T72" fmla="*/ 33 w 246"/>
                  <a:gd name="T73" fmla="*/ 284 h 284"/>
                  <a:gd name="T74" fmla="*/ 26 w 246"/>
                  <a:gd name="T75" fmla="*/ 243 h 284"/>
                  <a:gd name="T76" fmla="*/ 17 w 246"/>
                  <a:gd name="T77" fmla="*/ 227 h 284"/>
                  <a:gd name="T78" fmla="*/ 11 w 246"/>
                  <a:gd name="T79" fmla="*/ 221 h 284"/>
                  <a:gd name="T80" fmla="*/ 0 w 246"/>
                  <a:gd name="T81" fmla="*/ 216 h 284"/>
                  <a:gd name="T82" fmla="*/ 1 w 246"/>
                  <a:gd name="T83" fmla="*/ 204 h 284"/>
                  <a:gd name="T84" fmla="*/ 4 w 246"/>
                  <a:gd name="T85" fmla="*/ 193 h 284"/>
                  <a:gd name="T86" fmla="*/ 15 w 246"/>
                  <a:gd name="T87" fmla="*/ 176 h 284"/>
                  <a:gd name="T88" fmla="*/ 31 w 246"/>
                  <a:gd name="T89" fmla="*/ 161 h 284"/>
                  <a:gd name="T90" fmla="*/ 46 w 246"/>
                  <a:gd name="T91" fmla="*/ 141 h 284"/>
                  <a:gd name="T92" fmla="*/ 33 w 246"/>
                  <a:gd name="T93" fmla="*/ 4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8" name="Freeform 354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6097841" y="2623030"/>
                <a:ext cx="90792" cy="60339"/>
              </a:xfrm>
              <a:custGeom>
                <a:avLst/>
                <a:gdLst>
                  <a:gd name="T0" fmla="*/ 114 w 160"/>
                  <a:gd name="T1" fmla="*/ 0 h 117"/>
                  <a:gd name="T2" fmla="*/ 114 w 160"/>
                  <a:gd name="T3" fmla="*/ 9 h 117"/>
                  <a:gd name="T4" fmla="*/ 114 w 160"/>
                  <a:gd name="T5" fmla="*/ 18 h 117"/>
                  <a:gd name="T6" fmla="*/ 115 w 160"/>
                  <a:gd name="T7" fmla="*/ 25 h 117"/>
                  <a:gd name="T8" fmla="*/ 117 w 160"/>
                  <a:gd name="T9" fmla="*/ 32 h 117"/>
                  <a:gd name="T10" fmla="*/ 119 w 160"/>
                  <a:gd name="T11" fmla="*/ 34 h 117"/>
                  <a:gd name="T12" fmla="*/ 121 w 160"/>
                  <a:gd name="T13" fmla="*/ 37 h 117"/>
                  <a:gd name="T14" fmla="*/ 123 w 160"/>
                  <a:gd name="T15" fmla="*/ 38 h 117"/>
                  <a:gd name="T16" fmla="*/ 127 w 160"/>
                  <a:gd name="T17" fmla="*/ 39 h 117"/>
                  <a:gd name="T18" fmla="*/ 131 w 160"/>
                  <a:gd name="T19" fmla="*/ 40 h 117"/>
                  <a:gd name="T20" fmla="*/ 135 w 160"/>
                  <a:gd name="T21" fmla="*/ 39 h 117"/>
                  <a:gd name="T22" fmla="*/ 140 w 160"/>
                  <a:gd name="T23" fmla="*/ 38 h 117"/>
                  <a:gd name="T24" fmla="*/ 146 w 160"/>
                  <a:gd name="T25" fmla="*/ 36 h 117"/>
                  <a:gd name="T26" fmla="*/ 149 w 160"/>
                  <a:gd name="T27" fmla="*/ 43 h 117"/>
                  <a:gd name="T28" fmla="*/ 153 w 160"/>
                  <a:gd name="T29" fmla="*/ 52 h 117"/>
                  <a:gd name="T30" fmla="*/ 157 w 160"/>
                  <a:gd name="T31" fmla="*/ 64 h 117"/>
                  <a:gd name="T32" fmla="*/ 160 w 160"/>
                  <a:gd name="T33" fmla="*/ 74 h 117"/>
                  <a:gd name="T34" fmla="*/ 133 w 160"/>
                  <a:gd name="T35" fmla="*/ 88 h 117"/>
                  <a:gd name="T36" fmla="*/ 106 w 160"/>
                  <a:gd name="T37" fmla="*/ 102 h 117"/>
                  <a:gd name="T38" fmla="*/ 92 w 160"/>
                  <a:gd name="T39" fmla="*/ 107 h 117"/>
                  <a:gd name="T40" fmla="*/ 76 w 160"/>
                  <a:gd name="T41" fmla="*/ 113 h 117"/>
                  <a:gd name="T42" fmla="*/ 62 w 160"/>
                  <a:gd name="T43" fmla="*/ 116 h 117"/>
                  <a:gd name="T44" fmla="*/ 47 w 160"/>
                  <a:gd name="T45" fmla="*/ 117 h 117"/>
                  <a:gd name="T46" fmla="*/ 32 w 160"/>
                  <a:gd name="T47" fmla="*/ 99 h 117"/>
                  <a:gd name="T48" fmla="*/ 21 w 160"/>
                  <a:gd name="T49" fmla="*/ 83 h 117"/>
                  <a:gd name="T50" fmla="*/ 10 w 160"/>
                  <a:gd name="T51" fmla="*/ 69 h 117"/>
                  <a:gd name="T52" fmla="*/ 0 w 160"/>
                  <a:gd name="T53" fmla="*/ 55 h 117"/>
                  <a:gd name="T54" fmla="*/ 13 w 160"/>
                  <a:gd name="T55" fmla="*/ 48 h 117"/>
                  <a:gd name="T56" fmla="*/ 41 w 160"/>
                  <a:gd name="T57" fmla="*/ 32 h 117"/>
                  <a:gd name="T58" fmla="*/ 60 w 160"/>
                  <a:gd name="T59" fmla="*/ 23 h 117"/>
                  <a:gd name="T60" fmla="*/ 78 w 160"/>
                  <a:gd name="T61" fmla="*/ 14 h 117"/>
                  <a:gd name="T62" fmla="*/ 97 w 160"/>
                  <a:gd name="T63" fmla="*/ 6 h 117"/>
                  <a:gd name="T64" fmla="*/ 114 w 160"/>
                  <a:gd name="T6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9" name="Freeform 355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0" name="Freeform 356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6853734" y="3586866"/>
                <a:ext cx="325161" cy="431900"/>
              </a:xfrm>
              <a:custGeom>
                <a:avLst/>
                <a:gdLst>
                  <a:gd name="T0" fmla="*/ 98 w 556"/>
                  <a:gd name="T1" fmla="*/ 62 h 819"/>
                  <a:gd name="T2" fmla="*/ 112 w 556"/>
                  <a:gd name="T3" fmla="*/ 56 h 819"/>
                  <a:gd name="T4" fmla="*/ 129 w 556"/>
                  <a:gd name="T5" fmla="*/ 69 h 819"/>
                  <a:gd name="T6" fmla="*/ 149 w 556"/>
                  <a:gd name="T7" fmla="*/ 85 h 819"/>
                  <a:gd name="T8" fmla="*/ 171 w 556"/>
                  <a:gd name="T9" fmla="*/ 92 h 819"/>
                  <a:gd name="T10" fmla="*/ 215 w 556"/>
                  <a:gd name="T11" fmla="*/ 88 h 819"/>
                  <a:gd name="T12" fmla="*/ 257 w 556"/>
                  <a:gd name="T13" fmla="*/ 82 h 819"/>
                  <a:gd name="T14" fmla="*/ 291 w 556"/>
                  <a:gd name="T15" fmla="*/ 79 h 819"/>
                  <a:gd name="T16" fmla="*/ 301 w 556"/>
                  <a:gd name="T17" fmla="*/ 74 h 819"/>
                  <a:gd name="T18" fmla="*/ 301 w 556"/>
                  <a:gd name="T19" fmla="*/ 68 h 819"/>
                  <a:gd name="T20" fmla="*/ 355 w 556"/>
                  <a:gd name="T21" fmla="*/ 63 h 819"/>
                  <a:gd name="T22" fmla="*/ 434 w 556"/>
                  <a:gd name="T23" fmla="*/ 45 h 819"/>
                  <a:gd name="T24" fmla="*/ 479 w 556"/>
                  <a:gd name="T25" fmla="*/ 28 h 819"/>
                  <a:gd name="T26" fmla="*/ 514 w 556"/>
                  <a:gd name="T27" fmla="*/ 8 h 819"/>
                  <a:gd name="T28" fmla="*/ 547 w 556"/>
                  <a:gd name="T29" fmla="*/ 31 h 819"/>
                  <a:gd name="T30" fmla="*/ 555 w 556"/>
                  <a:gd name="T31" fmla="*/ 57 h 819"/>
                  <a:gd name="T32" fmla="*/ 552 w 556"/>
                  <a:gd name="T33" fmla="*/ 113 h 819"/>
                  <a:gd name="T34" fmla="*/ 532 w 556"/>
                  <a:gd name="T35" fmla="*/ 174 h 819"/>
                  <a:gd name="T36" fmla="*/ 502 w 556"/>
                  <a:gd name="T37" fmla="*/ 231 h 819"/>
                  <a:gd name="T38" fmla="*/ 447 w 556"/>
                  <a:gd name="T39" fmla="*/ 321 h 819"/>
                  <a:gd name="T40" fmla="*/ 423 w 556"/>
                  <a:gd name="T41" fmla="*/ 375 h 819"/>
                  <a:gd name="T42" fmla="*/ 410 w 556"/>
                  <a:gd name="T43" fmla="*/ 415 h 819"/>
                  <a:gd name="T44" fmla="*/ 379 w 556"/>
                  <a:gd name="T45" fmla="*/ 473 h 819"/>
                  <a:gd name="T46" fmla="*/ 330 w 556"/>
                  <a:gd name="T47" fmla="*/ 531 h 819"/>
                  <a:gd name="T48" fmla="*/ 288 w 556"/>
                  <a:gd name="T49" fmla="*/ 566 h 819"/>
                  <a:gd name="T50" fmla="*/ 239 w 556"/>
                  <a:gd name="T51" fmla="*/ 600 h 819"/>
                  <a:gd name="T52" fmla="*/ 168 w 556"/>
                  <a:gd name="T53" fmla="*/ 651 h 819"/>
                  <a:gd name="T54" fmla="*/ 143 w 556"/>
                  <a:gd name="T55" fmla="*/ 680 h 819"/>
                  <a:gd name="T56" fmla="*/ 131 w 556"/>
                  <a:gd name="T57" fmla="*/ 700 h 819"/>
                  <a:gd name="T58" fmla="*/ 116 w 556"/>
                  <a:gd name="T59" fmla="*/ 717 h 819"/>
                  <a:gd name="T60" fmla="*/ 71 w 556"/>
                  <a:gd name="T61" fmla="*/ 745 h 819"/>
                  <a:gd name="T62" fmla="*/ 19 w 556"/>
                  <a:gd name="T63" fmla="*/ 801 h 819"/>
                  <a:gd name="T64" fmla="*/ 2 w 556"/>
                  <a:gd name="T65" fmla="*/ 564 h 819"/>
                  <a:gd name="T66" fmla="*/ 3 w 556"/>
                  <a:gd name="T67" fmla="*/ 554 h 819"/>
                  <a:gd name="T68" fmla="*/ 27 w 556"/>
                  <a:gd name="T69" fmla="*/ 533 h 819"/>
                  <a:gd name="T70" fmla="*/ 42 w 556"/>
                  <a:gd name="T71" fmla="*/ 516 h 819"/>
                  <a:gd name="T72" fmla="*/ 60 w 556"/>
                  <a:gd name="T73" fmla="*/ 497 h 819"/>
                  <a:gd name="T74" fmla="*/ 111 w 556"/>
                  <a:gd name="T75" fmla="*/ 480 h 819"/>
                  <a:gd name="T76" fmla="*/ 119 w 556"/>
                  <a:gd name="T77" fmla="*/ 470 h 819"/>
                  <a:gd name="T78" fmla="*/ 129 w 556"/>
                  <a:gd name="T79" fmla="*/ 452 h 819"/>
                  <a:gd name="T80" fmla="*/ 152 w 556"/>
                  <a:gd name="T81" fmla="*/ 440 h 819"/>
                  <a:gd name="T82" fmla="*/ 174 w 556"/>
                  <a:gd name="T83" fmla="*/ 439 h 819"/>
                  <a:gd name="T84" fmla="*/ 196 w 556"/>
                  <a:gd name="T85" fmla="*/ 439 h 819"/>
                  <a:gd name="T86" fmla="*/ 228 w 556"/>
                  <a:gd name="T87" fmla="*/ 429 h 819"/>
                  <a:gd name="T88" fmla="*/ 251 w 556"/>
                  <a:gd name="T89" fmla="*/ 405 h 819"/>
                  <a:gd name="T90" fmla="*/ 265 w 556"/>
                  <a:gd name="T91" fmla="*/ 379 h 819"/>
                  <a:gd name="T92" fmla="*/ 296 w 556"/>
                  <a:gd name="T93" fmla="*/ 347 h 819"/>
                  <a:gd name="T94" fmla="*/ 354 w 556"/>
                  <a:gd name="T95" fmla="*/ 293 h 819"/>
                  <a:gd name="T96" fmla="*/ 377 w 556"/>
                  <a:gd name="T97" fmla="*/ 266 h 819"/>
                  <a:gd name="T98" fmla="*/ 324 w 556"/>
                  <a:gd name="T99" fmla="*/ 246 h 819"/>
                  <a:gd name="T100" fmla="*/ 257 w 556"/>
                  <a:gd name="T101" fmla="*/ 228 h 819"/>
                  <a:gd name="T102" fmla="*/ 184 w 556"/>
                  <a:gd name="T103" fmla="*/ 209 h 819"/>
                  <a:gd name="T104" fmla="*/ 149 w 556"/>
                  <a:gd name="T105" fmla="*/ 187 h 819"/>
                  <a:gd name="T106" fmla="*/ 112 w 556"/>
                  <a:gd name="T107" fmla="*/ 154 h 819"/>
                  <a:gd name="T108" fmla="*/ 89 w 556"/>
                  <a:gd name="T109" fmla="*/ 121 h 819"/>
                  <a:gd name="T110" fmla="*/ 77 w 556"/>
                  <a:gd name="T111" fmla="*/ 80 h 819"/>
                  <a:gd name="T112" fmla="*/ 65 w 556"/>
                  <a:gd name="T113" fmla="*/ 87 h 819"/>
                  <a:gd name="T114" fmla="*/ 84 w 556"/>
                  <a:gd name="T115" fmla="*/ 68 h 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1" name="Freeform 357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6864292" y="3574163"/>
                <a:ext cx="50674" cy="58751"/>
              </a:xfrm>
              <a:custGeom>
                <a:avLst/>
                <a:gdLst>
                  <a:gd name="T0" fmla="*/ 59 w 86"/>
                  <a:gd name="T1" fmla="*/ 0 h 97"/>
                  <a:gd name="T2" fmla="*/ 56 w 86"/>
                  <a:gd name="T3" fmla="*/ 2 h 97"/>
                  <a:gd name="T4" fmla="*/ 52 w 86"/>
                  <a:gd name="T5" fmla="*/ 3 h 97"/>
                  <a:gd name="T6" fmla="*/ 46 w 86"/>
                  <a:gd name="T7" fmla="*/ 3 h 97"/>
                  <a:gd name="T8" fmla="*/ 40 w 86"/>
                  <a:gd name="T9" fmla="*/ 3 h 97"/>
                  <a:gd name="T10" fmla="*/ 33 w 86"/>
                  <a:gd name="T11" fmla="*/ 3 h 97"/>
                  <a:gd name="T12" fmla="*/ 27 w 86"/>
                  <a:gd name="T13" fmla="*/ 3 h 97"/>
                  <a:gd name="T14" fmla="*/ 23 w 86"/>
                  <a:gd name="T15" fmla="*/ 4 h 97"/>
                  <a:gd name="T16" fmla="*/ 20 w 86"/>
                  <a:gd name="T17" fmla="*/ 6 h 97"/>
                  <a:gd name="T18" fmla="*/ 16 w 86"/>
                  <a:gd name="T19" fmla="*/ 9 h 97"/>
                  <a:gd name="T20" fmla="*/ 13 w 86"/>
                  <a:gd name="T21" fmla="*/ 12 h 97"/>
                  <a:gd name="T22" fmla="*/ 11 w 86"/>
                  <a:gd name="T23" fmla="*/ 15 h 97"/>
                  <a:gd name="T24" fmla="*/ 8 w 86"/>
                  <a:gd name="T25" fmla="*/ 20 h 97"/>
                  <a:gd name="T26" fmla="*/ 4 w 86"/>
                  <a:gd name="T27" fmla="*/ 29 h 97"/>
                  <a:gd name="T28" fmla="*/ 2 w 86"/>
                  <a:gd name="T29" fmla="*/ 38 h 97"/>
                  <a:gd name="T30" fmla="*/ 0 w 86"/>
                  <a:gd name="T31" fmla="*/ 57 h 97"/>
                  <a:gd name="T32" fmla="*/ 0 w 86"/>
                  <a:gd name="T33" fmla="*/ 75 h 97"/>
                  <a:gd name="T34" fmla="*/ 0 w 86"/>
                  <a:gd name="T35" fmla="*/ 81 h 97"/>
                  <a:gd name="T36" fmla="*/ 1 w 86"/>
                  <a:gd name="T37" fmla="*/ 86 h 97"/>
                  <a:gd name="T38" fmla="*/ 3 w 86"/>
                  <a:gd name="T39" fmla="*/ 90 h 97"/>
                  <a:gd name="T40" fmla="*/ 7 w 86"/>
                  <a:gd name="T41" fmla="*/ 93 h 97"/>
                  <a:gd name="T42" fmla="*/ 10 w 86"/>
                  <a:gd name="T43" fmla="*/ 95 h 97"/>
                  <a:gd name="T44" fmla="*/ 13 w 86"/>
                  <a:gd name="T45" fmla="*/ 96 h 97"/>
                  <a:gd name="T46" fmla="*/ 18 w 86"/>
                  <a:gd name="T47" fmla="*/ 97 h 97"/>
                  <a:gd name="T48" fmla="*/ 21 w 86"/>
                  <a:gd name="T49" fmla="*/ 97 h 97"/>
                  <a:gd name="T50" fmla="*/ 40 w 86"/>
                  <a:gd name="T51" fmla="*/ 95 h 97"/>
                  <a:gd name="T52" fmla="*/ 53 w 86"/>
                  <a:gd name="T53" fmla="*/ 93 h 97"/>
                  <a:gd name="T54" fmla="*/ 86 w 86"/>
                  <a:gd name="T55" fmla="*/ 68 h 97"/>
                  <a:gd name="T56" fmla="*/ 59 w 86"/>
                  <a:gd name="T5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2" name="Freeform 358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6596140" y="3485242"/>
                <a:ext cx="483518" cy="376324"/>
              </a:xfrm>
              <a:custGeom>
                <a:avLst/>
                <a:gdLst>
                  <a:gd name="T0" fmla="*/ 182 w 845"/>
                  <a:gd name="T1" fmla="*/ 36 h 720"/>
                  <a:gd name="T2" fmla="*/ 205 w 845"/>
                  <a:gd name="T3" fmla="*/ 28 h 720"/>
                  <a:gd name="T4" fmla="*/ 247 w 845"/>
                  <a:gd name="T5" fmla="*/ 0 h 720"/>
                  <a:gd name="T6" fmla="*/ 273 w 845"/>
                  <a:gd name="T7" fmla="*/ 12 h 720"/>
                  <a:gd name="T8" fmla="*/ 327 w 845"/>
                  <a:gd name="T9" fmla="*/ 37 h 720"/>
                  <a:gd name="T10" fmla="*/ 380 w 845"/>
                  <a:gd name="T11" fmla="*/ 67 h 720"/>
                  <a:gd name="T12" fmla="*/ 426 w 845"/>
                  <a:gd name="T13" fmla="*/ 98 h 720"/>
                  <a:gd name="T14" fmla="*/ 442 w 845"/>
                  <a:gd name="T15" fmla="*/ 125 h 720"/>
                  <a:gd name="T16" fmla="*/ 443 w 845"/>
                  <a:gd name="T17" fmla="*/ 140 h 720"/>
                  <a:gd name="T18" fmla="*/ 458 w 845"/>
                  <a:gd name="T19" fmla="*/ 147 h 720"/>
                  <a:gd name="T20" fmla="*/ 499 w 845"/>
                  <a:gd name="T21" fmla="*/ 178 h 720"/>
                  <a:gd name="T22" fmla="*/ 506 w 845"/>
                  <a:gd name="T23" fmla="*/ 172 h 720"/>
                  <a:gd name="T24" fmla="*/ 488 w 845"/>
                  <a:gd name="T25" fmla="*/ 184 h 720"/>
                  <a:gd name="T26" fmla="*/ 481 w 845"/>
                  <a:gd name="T27" fmla="*/ 202 h 720"/>
                  <a:gd name="T28" fmla="*/ 481 w 845"/>
                  <a:gd name="T29" fmla="*/ 252 h 720"/>
                  <a:gd name="T30" fmla="*/ 493 w 845"/>
                  <a:gd name="T31" fmla="*/ 264 h 720"/>
                  <a:gd name="T32" fmla="*/ 526 w 845"/>
                  <a:gd name="T33" fmla="*/ 265 h 720"/>
                  <a:gd name="T34" fmla="*/ 545 w 845"/>
                  <a:gd name="T35" fmla="*/ 319 h 720"/>
                  <a:gd name="T36" fmla="*/ 583 w 845"/>
                  <a:gd name="T37" fmla="*/ 361 h 720"/>
                  <a:gd name="T38" fmla="*/ 645 w 845"/>
                  <a:gd name="T39" fmla="*/ 400 h 720"/>
                  <a:gd name="T40" fmla="*/ 738 w 845"/>
                  <a:gd name="T41" fmla="*/ 430 h 720"/>
                  <a:gd name="T42" fmla="*/ 845 w 845"/>
                  <a:gd name="T43" fmla="*/ 449 h 720"/>
                  <a:gd name="T44" fmla="*/ 811 w 845"/>
                  <a:gd name="T45" fmla="*/ 482 h 720"/>
                  <a:gd name="T46" fmla="*/ 731 w 845"/>
                  <a:gd name="T47" fmla="*/ 547 h 720"/>
                  <a:gd name="T48" fmla="*/ 712 w 845"/>
                  <a:gd name="T49" fmla="*/ 579 h 720"/>
                  <a:gd name="T50" fmla="*/ 697 w 845"/>
                  <a:gd name="T51" fmla="*/ 617 h 720"/>
                  <a:gd name="T52" fmla="*/ 674 w 845"/>
                  <a:gd name="T53" fmla="*/ 629 h 720"/>
                  <a:gd name="T54" fmla="*/ 580 w 845"/>
                  <a:gd name="T55" fmla="*/ 655 h 720"/>
                  <a:gd name="T56" fmla="*/ 559 w 845"/>
                  <a:gd name="T57" fmla="*/ 671 h 720"/>
                  <a:gd name="T58" fmla="*/ 525 w 845"/>
                  <a:gd name="T59" fmla="*/ 681 h 720"/>
                  <a:gd name="T60" fmla="*/ 482 w 845"/>
                  <a:gd name="T61" fmla="*/ 693 h 720"/>
                  <a:gd name="T62" fmla="*/ 461 w 845"/>
                  <a:gd name="T63" fmla="*/ 680 h 720"/>
                  <a:gd name="T64" fmla="*/ 427 w 845"/>
                  <a:gd name="T65" fmla="*/ 679 h 720"/>
                  <a:gd name="T66" fmla="*/ 405 w 845"/>
                  <a:gd name="T67" fmla="*/ 699 h 720"/>
                  <a:gd name="T68" fmla="*/ 390 w 845"/>
                  <a:gd name="T69" fmla="*/ 714 h 720"/>
                  <a:gd name="T70" fmla="*/ 360 w 845"/>
                  <a:gd name="T71" fmla="*/ 720 h 720"/>
                  <a:gd name="T72" fmla="*/ 318 w 845"/>
                  <a:gd name="T73" fmla="*/ 714 h 720"/>
                  <a:gd name="T74" fmla="*/ 289 w 845"/>
                  <a:gd name="T75" fmla="*/ 698 h 720"/>
                  <a:gd name="T76" fmla="*/ 246 w 845"/>
                  <a:gd name="T77" fmla="*/ 671 h 720"/>
                  <a:gd name="T78" fmla="*/ 181 w 845"/>
                  <a:gd name="T79" fmla="*/ 661 h 720"/>
                  <a:gd name="T80" fmla="*/ 140 w 845"/>
                  <a:gd name="T81" fmla="*/ 653 h 720"/>
                  <a:gd name="T82" fmla="*/ 151 w 845"/>
                  <a:gd name="T83" fmla="*/ 614 h 720"/>
                  <a:gd name="T84" fmla="*/ 127 w 845"/>
                  <a:gd name="T85" fmla="*/ 596 h 720"/>
                  <a:gd name="T86" fmla="*/ 108 w 845"/>
                  <a:gd name="T87" fmla="*/ 583 h 720"/>
                  <a:gd name="T88" fmla="*/ 93 w 845"/>
                  <a:gd name="T89" fmla="*/ 551 h 720"/>
                  <a:gd name="T90" fmla="*/ 77 w 845"/>
                  <a:gd name="T91" fmla="*/ 511 h 720"/>
                  <a:gd name="T92" fmla="*/ 49 w 845"/>
                  <a:gd name="T93" fmla="*/ 489 h 720"/>
                  <a:gd name="T94" fmla="*/ 16 w 845"/>
                  <a:gd name="T95" fmla="*/ 477 h 720"/>
                  <a:gd name="T96" fmla="*/ 5 w 845"/>
                  <a:gd name="T97" fmla="*/ 472 h 720"/>
                  <a:gd name="T98" fmla="*/ 2 w 845"/>
                  <a:gd name="T99" fmla="*/ 448 h 720"/>
                  <a:gd name="T100" fmla="*/ 21 w 845"/>
                  <a:gd name="T101" fmla="*/ 422 h 720"/>
                  <a:gd name="T102" fmla="*/ 55 w 845"/>
                  <a:gd name="T103" fmla="*/ 413 h 720"/>
                  <a:gd name="T104" fmla="*/ 67 w 845"/>
                  <a:gd name="T105" fmla="*/ 321 h 720"/>
                  <a:gd name="T106" fmla="*/ 82 w 845"/>
                  <a:gd name="T107" fmla="*/ 275 h 720"/>
                  <a:gd name="T108" fmla="*/ 95 w 845"/>
                  <a:gd name="T109" fmla="*/ 260 h 720"/>
                  <a:gd name="T110" fmla="*/ 103 w 845"/>
                  <a:gd name="T111" fmla="*/ 236 h 720"/>
                  <a:gd name="T112" fmla="*/ 116 w 845"/>
                  <a:gd name="T113" fmla="*/ 206 h 720"/>
                  <a:gd name="T114" fmla="*/ 148 w 845"/>
                  <a:gd name="T115" fmla="*/ 178 h 720"/>
                  <a:gd name="T116" fmla="*/ 167 w 845"/>
                  <a:gd name="T117" fmla="*/ 16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3" name="Line 359"/>
              <p:cNvSpPr>
                <a:spLocks noChangeShapeType="1"/>
              </p:cNvSpPr>
              <p:nvPr>
                <p:custDataLst>
                  <p:tags r:id="rId255"/>
                </p:custDataLst>
              </p:nvPr>
            </p:nvSpPr>
            <p:spPr bwMode="auto">
              <a:xfrm flipH="1">
                <a:off x="2561151" y="4004474"/>
                <a:ext cx="6335" cy="7940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4" name="Freeform 360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2561151" y="4012414"/>
                <a:ext cx="16891" cy="58751"/>
              </a:xfrm>
              <a:custGeom>
                <a:avLst/>
                <a:gdLst>
                  <a:gd name="T0" fmla="*/ 0 w 33"/>
                  <a:gd name="T1" fmla="*/ 0 h 6"/>
                  <a:gd name="T2" fmla="*/ 7 w 33"/>
                  <a:gd name="T3" fmla="*/ 1 h 6"/>
                  <a:gd name="T4" fmla="*/ 15 w 33"/>
                  <a:gd name="T5" fmla="*/ 3 h 6"/>
                  <a:gd name="T6" fmla="*/ 23 w 33"/>
                  <a:gd name="T7" fmla="*/ 5 h 6"/>
                  <a:gd name="T8" fmla="*/ 33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5" name="Freeform 361"/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2571710" y="3999711"/>
                <a:ext cx="6334" cy="57162"/>
              </a:xfrm>
              <a:custGeom>
                <a:avLst/>
                <a:gdLst>
                  <a:gd name="T0" fmla="*/ 13 w 13"/>
                  <a:gd name="T1" fmla="*/ 30 h 30"/>
                  <a:gd name="T2" fmla="*/ 13 w 13"/>
                  <a:gd name="T3" fmla="*/ 0 h 30"/>
                  <a:gd name="T4" fmla="*/ 0 w 13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6" name="Group 362"/>
              <p:cNvGrpSpPr>
                <a:grpSpLocks/>
              </p:cNvGrpSpPr>
              <p:nvPr>
                <p:custDataLst>
                  <p:tags r:id="rId258"/>
                </p:custDataLst>
              </p:nvPr>
            </p:nvGrpSpPr>
            <p:grpSpPr bwMode="auto">
              <a:xfrm>
                <a:off x="2561151" y="3934608"/>
                <a:ext cx="555308" cy="201660"/>
                <a:chOff x="912" y="2626"/>
                <a:chExt cx="311" cy="127"/>
              </a:xfrm>
              <a:grpFill/>
            </p:grpSpPr>
            <p:sp>
              <p:nvSpPr>
                <p:cNvPr id="1041" name="Freeform 363"/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312 w 352"/>
                    <a:gd name="T1" fmla="*/ 79 h 387"/>
                    <a:gd name="T2" fmla="*/ 286 w 352"/>
                    <a:gd name="T3" fmla="*/ 79 h 387"/>
                    <a:gd name="T4" fmla="*/ 265 w 352"/>
                    <a:gd name="T5" fmla="*/ 79 h 387"/>
                    <a:gd name="T6" fmla="*/ 249 w 352"/>
                    <a:gd name="T7" fmla="*/ 74 h 387"/>
                    <a:gd name="T8" fmla="*/ 222 w 352"/>
                    <a:gd name="T9" fmla="*/ 59 h 387"/>
                    <a:gd name="T10" fmla="*/ 168 w 352"/>
                    <a:gd name="T11" fmla="*/ 20 h 387"/>
                    <a:gd name="T12" fmla="*/ 137 w 352"/>
                    <a:gd name="T13" fmla="*/ 6 h 387"/>
                    <a:gd name="T14" fmla="*/ 129 w 352"/>
                    <a:gd name="T15" fmla="*/ 19 h 387"/>
                    <a:gd name="T16" fmla="*/ 119 w 352"/>
                    <a:gd name="T17" fmla="*/ 29 h 387"/>
                    <a:gd name="T18" fmla="*/ 107 w 352"/>
                    <a:gd name="T19" fmla="*/ 35 h 387"/>
                    <a:gd name="T20" fmla="*/ 86 w 352"/>
                    <a:gd name="T21" fmla="*/ 56 h 387"/>
                    <a:gd name="T22" fmla="*/ 53 w 352"/>
                    <a:gd name="T23" fmla="*/ 97 h 387"/>
                    <a:gd name="T24" fmla="*/ 30 w 352"/>
                    <a:gd name="T25" fmla="*/ 131 h 387"/>
                    <a:gd name="T26" fmla="*/ 17 w 352"/>
                    <a:gd name="T27" fmla="*/ 154 h 387"/>
                    <a:gd name="T28" fmla="*/ 7 w 352"/>
                    <a:gd name="T29" fmla="*/ 177 h 387"/>
                    <a:gd name="T30" fmla="*/ 0 w 352"/>
                    <a:gd name="T31" fmla="*/ 198 h 387"/>
                    <a:gd name="T32" fmla="*/ 0 w 352"/>
                    <a:gd name="T33" fmla="*/ 213 h 387"/>
                    <a:gd name="T34" fmla="*/ 3 w 352"/>
                    <a:gd name="T35" fmla="*/ 222 h 387"/>
                    <a:gd name="T36" fmla="*/ 9 w 352"/>
                    <a:gd name="T37" fmla="*/ 231 h 387"/>
                    <a:gd name="T38" fmla="*/ 24 w 352"/>
                    <a:gd name="T39" fmla="*/ 241 h 387"/>
                    <a:gd name="T40" fmla="*/ 39 w 352"/>
                    <a:gd name="T41" fmla="*/ 245 h 387"/>
                    <a:gd name="T42" fmla="*/ 52 w 352"/>
                    <a:gd name="T43" fmla="*/ 245 h 387"/>
                    <a:gd name="T44" fmla="*/ 63 w 352"/>
                    <a:gd name="T45" fmla="*/ 241 h 387"/>
                    <a:gd name="T46" fmla="*/ 73 w 352"/>
                    <a:gd name="T47" fmla="*/ 236 h 387"/>
                    <a:gd name="T48" fmla="*/ 78 w 352"/>
                    <a:gd name="T49" fmla="*/ 236 h 387"/>
                    <a:gd name="T50" fmla="*/ 80 w 352"/>
                    <a:gd name="T51" fmla="*/ 238 h 387"/>
                    <a:gd name="T52" fmla="*/ 80 w 352"/>
                    <a:gd name="T53" fmla="*/ 257 h 387"/>
                    <a:gd name="T54" fmla="*/ 76 w 352"/>
                    <a:gd name="T55" fmla="*/ 279 h 387"/>
                    <a:gd name="T56" fmla="*/ 71 w 352"/>
                    <a:gd name="T57" fmla="*/ 290 h 387"/>
                    <a:gd name="T58" fmla="*/ 73 w 352"/>
                    <a:gd name="T59" fmla="*/ 307 h 387"/>
                    <a:gd name="T60" fmla="*/ 80 w 352"/>
                    <a:gd name="T61" fmla="*/ 331 h 387"/>
                    <a:gd name="T62" fmla="*/ 89 w 352"/>
                    <a:gd name="T63" fmla="*/ 351 h 387"/>
                    <a:gd name="T64" fmla="*/ 122 w 352"/>
                    <a:gd name="T65" fmla="*/ 373 h 387"/>
                    <a:gd name="T66" fmla="*/ 142 w 352"/>
                    <a:gd name="T67" fmla="*/ 385 h 387"/>
                    <a:gd name="T68" fmla="*/ 152 w 352"/>
                    <a:gd name="T69" fmla="*/ 386 h 387"/>
                    <a:gd name="T70" fmla="*/ 163 w 352"/>
                    <a:gd name="T71" fmla="*/ 377 h 387"/>
                    <a:gd name="T72" fmla="*/ 173 w 352"/>
                    <a:gd name="T73" fmla="*/ 363 h 387"/>
                    <a:gd name="T74" fmla="*/ 178 w 352"/>
                    <a:gd name="T75" fmla="*/ 350 h 387"/>
                    <a:gd name="T76" fmla="*/ 181 w 352"/>
                    <a:gd name="T77" fmla="*/ 338 h 387"/>
                    <a:gd name="T78" fmla="*/ 184 w 352"/>
                    <a:gd name="T79" fmla="*/ 323 h 387"/>
                    <a:gd name="T80" fmla="*/ 195 w 352"/>
                    <a:gd name="T81" fmla="*/ 304 h 387"/>
                    <a:gd name="T82" fmla="*/ 216 w 352"/>
                    <a:gd name="T83" fmla="*/ 281 h 387"/>
                    <a:gd name="T84" fmla="*/ 238 w 352"/>
                    <a:gd name="T85" fmla="*/ 263 h 387"/>
                    <a:gd name="T86" fmla="*/ 264 w 352"/>
                    <a:gd name="T87" fmla="*/ 249 h 387"/>
                    <a:gd name="T88" fmla="*/ 300 w 352"/>
                    <a:gd name="T89" fmla="*/ 229 h 387"/>
                    <a:gd name="T90" fmla="*/ 324 w 352"/>
                    <a:gd name="T91" fmla="*/ 212 h 387"/>
                    <a:gd name="T92" fmla="*/ 338 w 352"/>
                    <a:gd name="T93" fmla="*/ 199 h 387"/>
                    <a:gd name="T94" fmla="*/ 346 w 352"/>
                    <a:gd name="T95" fmla="*/ 185 h 387"/>
                    <a:gd name="T96" fmla="*/ 352 w 352"/>
                    <a:gd name="T97" fmla="*/ 169 h 387"/>
                    <a:gd name="T98" fmla="*/ 351 w 352"/>
                    <a:gd name="T99" fmla="*/ 149 h 387"/>
                    <a:gd name="T100" fmla="*/ 344 w 352"/>
                    <a:gd name="T101" fmla="*/ 125 h 387"/>
                    <a:gd name="T102" fmla="*/ 330 w 352"/>
                    <a:gd name="T103" fmla="*/ 91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2" name="Freeform 364"/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14 w 52"/>
                    <a:gd name="T1" fmla="*/ 0 h 78"/>
                    <a:gd name="T2" fmla="*/ 20 w 52"/>
                    <a:gd name="T3" fmla="*/ 0 h 78"/>
                    <a:gd name="T4" fmla="*/ 25 w 52"/>
                    <a:gd name="T5" fmla="*/ 2 h 78"/>
                    <a:gd name="T6" fmla="*/ 30 w 52"/>
                    <a:gd name="T7" fmla="*/ 6 h 78"/>
                    <a:gd name="T8" fmla="*/ 36 w 52"/>
                    <a:gd name="T9" fmla="*/ 9 h 78"/>
                    <a:gd name="T10" fmla="*/ 40 w 52"/>
                    <a:gd name="T11" fmla="*/ 13 h 78"/>
                    <a:gd name="T12" fmla="*/ 45 w 52"/>
                    <a:gd name="T13" fmla="*/ 17 h 78"/>
                    <a:gd name="T14" fmla="*/ 47 w 52"/>
                    <a:gd name="T15" fmla="*/ 21 h 78"/>
                    <a:gd name="T16" fmla="*/ 48 w 52"/>
                    <a:gd name="T17" fmla="*/ 24 h 78"/>
                    <a:gd name="T18" fmla="*/ 51 w 52"/>
                    <a:gd name="T19" fmla="*/ 34 h 78"/>
                    <a:gd name="T20" fmla="*/ 52 w 52"/>
                    <a:gd name="T21" fmla="*/ 41 h 78"/>
                    <a:gd name="T22" fmla="*/ 51 w 52"/>
                    <a:gd name="T23" fmla="*/ 46 h 78"/>
                    <a:gd name="T24" fmla="*/ 49 w 52"/>
                    <a:gd name="T25" fmla="*/ 50 h 78"/>
                    <a:gd name="T26" fmla="*/ 47 w 52"/>
                    <a:gd name="T27" fmla="*/ 54 h 78"/>
                    <a:gd name="T28" fmla="*/ 44 w 52"/>
                    <a:gd name="T29" fmla="*/ 60 h 78"/>
                    <a:gd name="T30" fmla="*/ 41 w 52"/>
                    <a:gd name="T31" fmla="*/ 65 h 78"/>
                    <a:gd name="T32" fmla="*/ 41 w 52"/>
                    <a:gd name="T33" fmla="*/ 73 h 78"/>
                    <a:gd name="T34" fmla="*/ 29 w 52"/>
                    <a:gd name="T35" fmla="*/ 75 h 78"/>
                    <a:gd name="T36" fmla="*/ 16 w 52"/>
                    <a:gd name="T37" fmla="*/ 78 h 78"/>
                    <a:gd name="T38" fmla="*/ 11 w 52"/>
                    <a:gd name="T39" fmla="*/ 78 h 78"/>
                    <a:gd name="T40" fmla="*/ 5 w 52"/>
                    <a:gd name="T41" fmla="*/ 78 h 78"/>
                    <a:gd name="T42" fmla="*/ 4 w 52"/>
                    <a:gd name="T43" fmla="*/ 78 h 78"/>
                    <a:gd name="T44" fmla="*/ 2 w 52"/>
                    <a:gd name="T45" fmla="*/ 77 h 78"/>
                    <a:gd name="T46" fmla="*/ 2 w 52"/>
                    <a:gd name="T47" fmla="*/ 75 h 78"/>
                    <a:gd name="T48" fmla="*/ 1 w 52"/>
                    <a:gd name="T49" fmla="*/ 73 h 78"/>
                    <a:gd name="T50" fmla="*/ 0 w 52"/>
                    <a:gd name="T51" fmla="*/ 69 h 78"/>
                    <a:gd name="T52" fmla="*/ 1 w 52"/>
                    <a:gd name="T53" fmla="*/ 64 h 78"/>
                    <a:gd name="T54" fmla="*/ 3 w 52"/>
                    <a:gd name="T55" fmla="*/ 60 h 78"/>
                    <a:gd name="T56" fmla="*/ 7 w 52"/>
                    <a:gd name="T57" fmla="*/ 56 h 78"/>
                    <a:gd name="T58" fmla="*/ 17 w 52"/>
                    <a:gd name="T59" fmla="*/ 47 h 78"/>
                    <a:gd name="T60" fmla="*/ 28 w 52"/>
                    <a:gd name="T61" fmla="*/ 42 h 78"/>
                    <a:gd name="T62" fmla="*/ 24 w 52"/>
                    <a:gd name="T63" fmla="*/ 32 h 78"/>
                    <a:gd name="T64" fmla="*/ 21 w 52"/>
                    <a:gd name="T65" fmla="*/ 21 h 78"/>
                    <a:gd name="T66" fmla="*/ 18 w 52"/>
                    <a:gd name="T67" fmla="*/ 10 h 78"/>
                    <a:gd name="T68" fmla="*/ 14 w 52"/>
                    <a:gd name="T6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3" name="Freeform 365"/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13 w 33"/>
                    <a:gd name="T1" fmla="*/ 6 h 30"/>
                    <a:gd name="T2" fmla="*/ 0 w 33"/>
                    <a:gd name="T3" fmla="*/ 24 h 30"/>
                    <a:gd name="T4" fmla="*/ 7 w 33"/>
                    <a:gd name="T5" fmla="*/ 25 h 30"/>
                    <a:gd name="T6" fmla="*/ 15 w 33"/>
                    <a:gd name="T7" fmla="*/ 27 h 30"/>
                    <a:gd name="T8" fmla="*/ 23 w 33"/>
                    <a:gd name="T9" fmla="*/ 29 h 30"/>
                    <a:gd name="T10" fmla="*/ 33 w 33"/>
                    <a:gd name="T11" fmla="*/ 30 h 30"/>
                    <a:gd name="T12" fmla="*/ 33 w 33"/>
                    <a:gd name="T13" fmla="*/ 0 h 30"/>
                    <a:gd name="T14" fmla="*/ 20 w 33"/>
                    <a:gd name="T15" fmla="*/ 0 h 30"/>
                    <a:gd name="T16" fmla="*/ 13 w 33"/>
                    <a:gd name="T1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47" name="Freeform 366"/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7271798" y="4652324"/>
                <a:ext cx="25337" cy="58752"/>
              </a:xfrm>
              <a:custGeom>
                <a:avLst/>
                <a:gdLst>
                  <a:gd name="T0" fmla="*/ 13 w 47"/>
                  <a:gd name="T1" fmla="*/ 0 h 28"/>
                  <a:gd name="T2" fmla="*/ 25 w 47"/>
                  <a:gd name="T3" fmla="*/ 0 h 28"/>
                  <a:gd name="T4" fmla="*/ 31 w 47"/>
                  <a:gd name="T5" fmla="*/ 2 h 28"/>
                  <a:gd name="T6" fmla="*/ 33 w 47"/>
                  <a:gd name="T7" fmla="*/ 4 h 28"/>
                  <a:gd name="T8" fmla="*/ 33 w 47"/>
                  <a:gd name="T9" fmla="*/ 6 h 28"/>
                  <a:gd name="T10" fmla="*/ 32 w 47"/>
                  <a:gd name="T11" fmla="*/ 8 h 28"/>
                  <a:gd name="T12" fmla="*/ 33 w 47"/>
                  <a:gd name="T13" fmla="*/ 10 h 28"/>
                  <a:gd name="T14" fmla="*/ 37 w 47"/>
                  <a:gd name="T15" fmla="*/ 12 h 28"/>
                  <a:gd name="T16" fmla="*/ 47 w 47"/>
                  <a:gd name="T17" fmla="*/ 12 h 28"/>
                  <a:gd name="T18" fmla="*/ 42 w 47"/>
                  <a:gd name="T19" fmla="*/ 19 h 28"/>
                  <a:gd name="T20" fmla="*/ 37 w 47"/>
                  <a:gd name="T21" fmla="*/ 25 h 28"/>
                  <a:gd name="T22" fmla="*/ 33 w 47"/>
                  <a:gd name="T23" fmla="*/ 27 h 28"/>
                  <a:gd name="T24" fmla="*/ 28 w 47"/>
                  <a:gd name="T25" fmla="*/ 28 h 28"/>
                  <a:gd name="T26" fmla="*/ 16 w 47"/>
                  <a:gd name="T27" fmla="*/ 27 h 28"/>
                  <a:gd name="T28" fmla="*/ 0 w 47"/>
                  <a:gd name="T29" fmla="*/ 25 h 28"/>
                  <a:gd name="T30" fmla="*/ 1 w 47"/>
                  <a:gd name="T31" fmla="*/ 19 h 28"/>
                  <a:gd name="T32" fmla="*/ 2 w 47"/>
                  <a:gd name="T33" fmla="*/ 15 h 28"/>
                  <a:gd name="T34" fmla="*/ 4 w 47"/>
                  <a:gd name="T35" fmla="*/ 13 h 28"/>
                  <a:gd name="T36" fmla="*/ 6 w 47"/>
                  <a:gd name="T37" fmla="*/ 12 h 28"/>
                  <a:gd name="T38" fmla="*/ 9 w 47"/>
                  <a:gd name="T39" fmla="*/ 11 h 28"/>
                  <a:gd name="T40" fmla="*/ 11 w 47"/>
                  <a:gd name="T41" fmla="*/ 9 h 28"/>
                  <a:gd name="T42" fmla="*/ 13 w 47"/>
                  <a:gd name="T43" fmla="*/ 5 h 28"/>
                  <a:gd name="T44" fmla="*/ 13 w 47"/>
                  <a:gd name="T4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8" name="Freeform 367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7233792" y="4679317"/>
                <a:ext cx="31672" cy="57162"/>
              </a:xfrm>
              <a:custGeom>
                <a:avLst/>
                <a:gdLst>
                  <a:gd name="T0" fmla="*/ 13 w 53"/>
                  <a:gd name="T1" fmla="*/ 0 h 33"/>
                  <a:gd name="T2" fmla="*/ 26 w 53"/>
                  <a:gd name="T3" fmla="*/ 1 h 33"/>
                  <a:gd name="T4" fmla="*/ 34 w 53"/>
                  <a:gd name="T5" fmla="*/ 1 h 33"/>
                  <a:gd name="T6" fmla="*/ 37 w 53"/>
                  <a:gd name="T7" fmla="*/ 3 h 33"/>
                  <a:gd name="T8" fmla="*/ 37 w 53"/>
                  <a:gd name="T9" fmla="*/ 4 h 33"/>
                  <a:gd name="T10" fmla="*/ 37 w 53"/>
                  <a:gd name="T11" fmla="*/ 6 h 33"/>
                  <a:gd name="T12" fmla="*/ 39 w 53"/>
                  <a:gd name="T13" fmla="*/ 8 h 33"/>
                  <a:gd name="T14" fmla="*/ 44 w 53"/>
                  <a:gd name="T15" fmla="*/ 10 h 33"/>
                  <a:gd name="T16" fmla="*/ 53 w 53"/>
                  <a:gd name="T17" fmla="*/ 12 h 33"/>
                  <a:gd name="T18" fmla="*/ 48 w 53"/>
                  <a:gd name="T19" fmla="*/ 22 h 33"/>
                  <a:gd name="T20" fmla="*/ 44 w 53"/>
                  <a:gd name="T21" fmla="*/ 28 h 33"/>
                  <a:gd name="T22" fmla="*/ 42 w 53"/>
                  <a:gd name="T23" fmla="*/ 31 h 33"/>
                  <a:gd name="T24" fmla="*/ 38 w 53"/>
                  <a:gd name="T25" fmla="*/ 32 h 33"/>
                  <a:gd name="T26" fmla="*/ 36 w 53"/>
                  <a:gd name="T27" fmla="*/ 33 h 33"/>
                  <a:gd name="T28" fmla="*/ 34 w 53"/>
                  <a:gd name="T29" fmla="*/ 33 h 33"/>
                  <a:gd name="T30" fmla="*/ 20 w 53"/>
                  <a:gd name="T31" fmla="*/ 30 h 33"/>
                  <a:gd name="T32" fmla="*/ 0 w 53"/>
                  <a:gd name="T33" fmla="*/ 24 h 33"/>
                  <a:gd name="T34" fmla="*/ 0 w 53"/>
                  <a:gd name="T35" fmla="*/ 19 h 33"/>
                  <a:gd name="T36" fmla="*/ 2 w 53"/>
                  <a:gd name="T37" fmla="*/ 16 h 33"/>
                  <a:gd name="T38" fmla="*/ 4 w 53"/>
                  <a:gd name="T39" fmla="*/ 14 h 33"/>
                  <a:gd name="T40" fmla="*/ 7 w 53"/>
                  <a:gd name="T41" fmla="*/ 12 h 33"/>
                  <a:gd name="T42" fmla="*/ 9 w 53"/>
                  <a:gd name="T43" fmla="*/ 11 h 33"/>
                  <a:gd name="T44" fmla="*/ 11 w 53"/>
                  <a:gd name="T45" fmla="*/ 9 h 33"/>
                  <a:gd name="T46" fmla="*/ 12 w 53"/>
                  <a:gd name="T47" fmla="*/ 6 h 33"/>
                  <a:gd name="T48" fmla="*/ 13 w 53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49" name="Group 368"/>
              <p:cNvGrpSpPr>
                <a:grpSpLocks/>
              </p:cNvGrpSpPr>
              <p:nvPr>
                <p:custDataLst>
                  <p:tags r:id="rId261"/>
                </p:custDataLst>
              </p:nvPr>
            </p:nvGrpSpPr>
            <p:grpSpPr bwMode="auto">
              <a:xfrm>
                <a:off x="7022649" y="4171201"/>
                <a:ext cx="223812" cy="103211"/>
                <a:chOff x="3481" y="2773"/>
                <a:chExt cx="125" cy="65"/>
              </a:xfrm>
              <a:grpFill/>
            </p:grpSpPr>
            <p:sp>
              <p:nvSpPr>
                <p:cNvPr id="1030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1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2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4 w 14"/>
                    <a:gd name="T1" fmla="*/ 19 h 19"/>
                    <a:gd name="T2" fmla="*/ 0 w 14"/>
                    <a:gd name="T3" fmla="*/ 0 h 19"/>
                    <a:gd name="T4" fmla="*/ 14 w 14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3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4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20 w 20"/>
                    <a:gd name="T1" fmla="*/ 12 h 12"/>
                    <a:gd name="T2" fmla="*/ 10 w 20"/>
                    <a:gd name="T3" fmla="*/ 9 h 12"/>
                    <a:gd name="T4" fmla="*/ 0 w 20"/>
                    <a:gd name="T5" fmla="*/ 6 h 12"/>
                    <a:gd name="T6" fmla="*/ 1 w 20"/>
                    <a:gd name="T7" fmla="*/ 5 h 12"/>
                    <a:gd name="T8" fmla="*/ 3 w 20"/>
                    <a:gd name="T9" fmla="*/ 3 h 12"/>
                    <a:gd name="T10" fmla="*/ 8 w 20"/>
                    <a:gd name="T11" fmla="*/ 1 h 12"/>
                    <a:gd name="T12" fmla="*/ 13 w 20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5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grpFill/>
                <a:ln w="9525">
                  <a:solidFill>
                    <a:schemeClr val="tx2">
                      <a:lumMod val="60000"/>
                      <a:lumOff val="40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6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7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7 w 7"/>
                    <a:gd name="T1" fmla="*/ 12 h 12"/>
                    <a:gd name="T2" fmla="*/ 4 w 7"/>
                    <a:gd name="T3" fmla="*/ 6 h 12"/>
                    <a:gd name="T4" fmla="*/ 0 w 7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8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8 h 18"/>
                    <a:gd name="T4" fmla="*/ 20 w 20"/>
                    <a:gd name="T5" fmla="*/ 18 h 18"/>
                    <a:gd name="T6" fmla="*/ 17 w 20"/>
                    <a:gd name="T7" fmla="*/ 12 h 18"/>
                    <a:gd name="T8" fmla="*/ 13 w 20"/>
                    <a:gd name="T9" fmla="*/ 6 h 18"/>
                    <a:gd name="T10" fmla="*/ 0 w 20"/>
                    <a:gd name="T1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39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6 h 18"/>
                    <a:gd name="T2" fmla="*/ 7 w 7"/>
                    <a:gd name="T3" fmla="*/ 18 h 18"/>
                    <a:gd name="T4" fmla="*/ 0 w 7"/>
                    <a:gd name="T5" fmla="*/ 18 h 18"/>
                    <a:gd name="T6" fmla="*/ 0 w 7"/>
                    <a:gd name="T7" fmla="*/ 0 h 18"/>
                    <a:gd name="T8" fmla="*/ 7 w 7"/>
                    <a:gd name="T9" fmla="*/ 0 h 18"/>
                    <a:gd name="T10" fmla="*/ 0 w 7"/>
                    <a:gd name="T1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40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3 w 13"/>
                    <a:gd name="T1" fmla="*/ 0 h 18"/>
                    <a:gd name="T2" fmla="*/ 10 w 13"/>
                    <a:gd name="T3" fmla="*/ 9 h 18"/>
                    <a:gd name="T4" fmla="*/ 6 w 13"/>
                    <a:gd name="T5" fmla="*/ 18 h 18"/>
                    <a:gd name="T6" fmla="*/ 5 w 13"/>
                    <a:gd name="T7" fmla="*/ 17 h 18"/>
                    <a:gd name="T8" fmla="*/ 3 w 13"/>
                    <a:gd name="T9" fmla="*/ 14 h 18"/>
                    <a:gd name="T10" fmla="*/ 1 w 13"/>
                    <a:gd name="T11" fmla="*/ 10 h 18"/>
                    <a:gd name="T12" fmla="*/ 0 w 13"/>
                    <a:gd name="T13" fmla="*/ 6 h 18"/>
                    <a:gd name="T14" fmla="*/ 6 w 13"/>
                    <a:gd name="T15" fmla="*/ 6 h 18"/>
                    <a:gd name="T16" fmla="*/ 13 w 13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0" name="Freeform 380"/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5863473" y="4163261"/>
                <a:ext cx="424398" cy="379501"/>
              </a:xfrm>
              <a:custGeom>
                <a:avLst/>
                <a:gdLst>
                  <a:gd name="T0" fmla="*/ 60 w 736"/>
                  <a:gd name="T1" fmla="*/ 685 h 721"/>
                  <a:gd name="T2" fmla="*/ 91 w 736"/>
                  <a:gd name="T3" fmla="*/ 668 h 721"/>
                  <a:gd name="T4" fmla="*/ 126 w 736"/>
                  <a:gd name="T5" fmla="*/ 668 h 721"/>
                  <a:gd name="T6" fmla="*/ 196 w 736"/>
                  <a:gd name="T7" fmla="*/ 692 h 721"/>
                  <a:gd name="T8" fmla="*/ 245 w 736"/>
                  <a:gd name="T9" fmla="*/ 705 h 721"/>
                  <a:gd name="T10" fmla="*/ 292 w 736"/>
                  <a:gd name="T11" fmla="*/ 703 h 721"/>
                  <a:gd name="T12" fmla="*/ 611 w 736"/>
                  <a:gd name="T13" fmla="*/ 717 h 721"/>
                  <a:gd name="T14" fmla="*/ 651 w 736"/>
                  <a:gd name="T15" fmla="*/ 707 h 721"/>
                  <a:gd name="T16" fmla="*/ 627 w 736"/>
                  <a:gd name="T17" fmla="*/ 657 h 721"/>
                  <a:gd name="T18" fmla="*/ 664 w 736"/>
                  <a:gd name="T19" fmla="*/ 433 h 721"/>
                  <a:gd name="T20" fmla="*/ 709 w 736"/>
                  <a:gd name="T21" fmla="*/ 429 h 721"/>
                  <a:gd name="T22" fmla="*/ 723 w 736"/>
                  <a:gd name="T23" fmla="*/ 416 h 721"/>
                  <a:gd name="T24" fmla="*/ 734 w 736"/>
                  <a:gd name="T25" fmla="*/ 360 h 721"/>
                  <a:gd name="T26" fmla="*/ 722 w 736"/>
                  <a:gd name="T27" fmla="*/ 302 h 721"/>
                  <a:gd name="T28" fmla="*/ 708 w 736"/>
                  <a:gd name="T29" fmla="*/ 304 h 721"/>
                  <a:gd name="T30" fmla="*/ 676 w 736"/>
                  <a:gd name="T31" fmla="*/ 300 h 721"/>
                  <a:gd name="T32" fmla="*/ 634 w 736"/>
                  <a:gd name="T33" fmla="*/ 299 h 721"/>
                  <a:gd name="T34" fmla="*/ 623 w 736"/>
                  <a:gd name="T35" fmla="*/ 290 h 721"/>
                  <a:gd name="T36" fmla="*/ 617 w 736"/>
                  <a:gd name="T37" fmla="*/ 253 h 721"/>
                  <a:gd name="T38" fmla="*/ 607 w 736"/>
                  <a:gd name="T39" fmla="*/ 219 h 721"/>
                  <a:gd name="T40" fmla="*/ 597 w 736"/>
                  <a:gd name="T41" fmla="*/ 186 h 721"/>
                  <a:gd name="T42" fmla="*/ 607 w 736"/>
                  <a:gd name="T43" fmla="*/ 167 h 721"/>
                  <a:gd name="T44" fmla="*/ 617 w 736"/>
                  <a:gd name="T45" fmla="*/ 148 h 721"/>
                  <a:gd name="T46" fmla="*/ 611 w 736"/>
                  <a:gd name="T47" fmla="*/ 100 h 721"/>
                  <a:gd name="T48" fmla="*/ 544 w 736"/>
                  <a:gd name="T49" fmla="*/ 70 h 721"/>
                  <a:gd name="T50" fmla="*/ 477 w 736"/>
                  <a:gd name="T51" fmla="*/ 66 h 721"/>
                  <a:gd name="T52" fmla="*/ 471 w 736"/>
                  <a:gd name="T53" fmla="*/ 81 h 721"/>
                  <a:gd name="T54" fmla="*/ 463 w 736"/>
                  <a:gd name="T55" fmla="*/ 101 h 721"/>
                  <a:gd name="T56" fmla="*/ 440 w 736"/>
                  <a:gd name="T57" fmla="*/ 122 h 721"/>
                  <a:gd name="T58" fmla="*/ 392 w 736"/>
                  <a:gd name="T59" fmla="*/ 130 h 721"/>
                  <a:gd name="T60" fmla="*/ 364 w 736"/>
                  <a:gd name="T61" fmla="*/ 115 h 721"/>
                  <a:gd name="T62" fmla="*/ 339 w 736"/>
                  <a:gd name="T63" fmla="*/ 82 h 721"/>
                  <a:gd name="T64" fmla="*/ 319 w 736"/>
                  <a:gd name="T65" fmla="*/ 39 h 721"/>
                  <a:gd name="T66" fmla="*/ 312 w 736"/>
                  <a:gd name="T67" fmla="*/ 0 h 721"/>
                  <a:gd name="T68" fmla="*/ 30 w 736"/>
                  <a:gd name="T69" fmla="*/ 15 h 721"/>
                  <a:gd name="T70" fmla="*/ 47 w 736"/>
                  <a:gd name="T71" fmla="*/ 29 h 721"/>
                  <a:gd name="T72" fmla="*/ 75 w 736"/>
                  <a:gd name="T73" fmla="*/ 75 h 721"/>
                  <a:gd name="T74" fmla="*/ 102 w 736"/>
                  <a:gd name="T75" fmla="*/ 130 h 721"/>
                  <a:gd name="T76" fmla="*/ 103 w 736"/>
                  <a:gd name="T77" fmla="*/ 171 h 721"/>
                  <a:gd name="T78" fmla="*/ 93 w 736"/>
                  <a:gd name="T79" fmla="*/ 203 h 721"/>
                  <a:gd name="T80" fmla="*/ 96 w 736"/>
                  <a:gd name="T81" fmla="*/ 229 h 721"/>
                  <a:gd name="T82" fmla="*/ 119 w 736"/>
                  <a:gd name="T83" fmla="*/ 272 h 721"/>
                  <a:gd name="T84" fmla="*/ 131 w 736"/>
                  <a:gd name="T85" fmla="*/ 307 h 721"/>
                  <a:gd name="T86" fmla="*/ 127 w 736"/>
                  <a:gd name="T87" fmla="*/ 352 h 721"/>
                  <a:gd name="T88" fmla="*/ 106 w 736"/>
                  <a:gd name="T89" fmla="*/ 403 h 721"/>
                  <a:gd name="T90" fmla="*/ 77 w 736"/>
                  <a:gd name="T91" fmla="*/ 446 h 721"/>
                  <a:gd name="T92" fmla="*/ 41 w 736"/>
                  <a:gd name="T93" fmla="*/ 477 h 721"/>
                  <a:gd name="T94" fmla="*/ 25 w 736"/>
                  <a:gd name="T95" fmla="*/ 591 h 721"/>
                  <a:gd name="T96" fmla="*/ 11 w 736"/>
                  <a:gd name="T97" fmla="*/ 627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1" name="Freeform 381"/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878253" y="4136267"/>
                <a:ext cx="21114" cy="60339"/>
              </a:xfrm>
              <a:custGeom>
                <a:avLst/>
                <a:gdLst>
                  <a:gd name="T0" fmla="*/ 0 w 39"/>
                  <a:gd name="T1" fmla="*/ 31 h 31"/>
                  <a:gd name="T2" fmla="*/ 12 w 39"/>
                  <a:gd name="T3" fmla="*/ 28 h 31"/>
                  <a:gd name="T4" fmla="*/ 22 w 39"/>
                  <a:gd name="T5" fmla="*/ 28 h 31"/>
                  <a:gd name="T6" fmla="*/ 26 w 39"/>
                  <a:gd name="T7" fmla="*/ 28 h 31"/>
                  <a:gd name="T8" fmla="*/ 30 w 39"/>
                  <a:gd name="T9" fmla="*/ 28 h 31"/>
                  <a:gd name="T10" fmla="*/ 35 w 39"/>
                  <a:gd name="T11" fmla="*/ 27 h 31"/>
                  <a:gd name="T12" fmla="*/ 39 w 39"/>
                  <a:gd name="T13" fmla="*/ 25 h 31"/>
                  <a:gd name="T14" fmla="*/ 39 w 39"/>
                  <a:gd name="T15" fmla="*/ 0 h 31"/>
                  <a:gd name="T16" fmla="*/ 26 w 39"/>
                  <a:gd name="T17" fmla="*/ 0 h 31"/>
                  <a:gd name="T18" fmla="*/ 17 w 39"/>
                  <a:gd name="T19" fmla="*/ 0 h 31"/>
                  <a:gd name="T20" fmla="*/ 8 w 39"/>
                  <a:gd name="T21" fmla="*/ 0 h 31"/>
                  <a:gd name="T22" fmla="*/ 0 w 39"/>
                  <a:gd name="T23" fmla="*/ 0 h 31"/>
                  <a:gd name="T24" fmla="*/ 0 w 3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2" name="Freeform 382"/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6013385" y="4679317"/>
                <a:ext cx="527858" cy="398554"/>
              </a:xfrm>
              <a:custGeom>
                <a:avLst/>
                <a:gdLst>
                  <a:gd name="T0" fmla="*/ 899 w 903"/>
                  <a:gd name="T1" fmla="*/ 291 h 759"/>
                  <a:gd name="T2" fmla="*/ 863 w 903"/>
                  <a:gd name="T3" fmla="*/ 388 h 759"/>
                  <a:gd name="T4" fmla="*/ 832 w 903"/>
                  <a:gd name="T5" fmla="*/ 414 h 759"/>
                  <a:gd name="T6" fmla="*/ 761 w 903"/>
                  <a:gd name="T7" fmla="*/ 507 h 759"/>
                  <a:gd name="T8" fmla="*/ 720 w 903"/>
                  <a:gd name="T9" fmla="*/ 561 h 759"/>
                  <a:gd name="T10" fmla="*/ 647 w 903"/>
                  <a:gd name="T11" fmla="*/ 613 h 759"/>
                  <a:gd name="T12" fmla="*/ 583 w 903"/>
                  <a:gd name="T13" fmla="*/ 666 h 759"/>
                  <a:gd name="T14" fmla="*/ 557 w 903"/>
                  <a:gd name="T15" fmla="*/ 698 h 759"/>
                  <a:gd name="T16" fmla="*/ 520 w 903"/>
                  <a:gd name="T17" fmla="*/ 705 h 759"/>
                  <a:gd name="T18" fmla="*/ 496 w 903"/>
                  <a:gd name="T19" fmla="*/ 710 h 759"/>
                  <a:gd name="T20" fmla="*/ 485 w 903"/>
                  <a:gd name="T21" fmla="*/ 727 h 759"/>
                  <a:gd name="T22" fmla="*/ 372 w 903"/>
                  <a:gd name="T23" fmla="*/ 727 h 759"/>
                  <a:gd name="T24" fmla="*/ 339 w 903"/>
                  <a:gd name="T25" fmla="*/ 732 h 759"/>
                  <a:gd name="T26" fmla="*/ 316 w 903"/>
                  <a:gd name="T27" fmla="*/ 732 h 759"/>
                  <a:gd name="T28" fmla="*/ 286 w 903"/>
                  <a:gd name="T29" fmla="*/ 727 h 759"/>
                  <a:gd name="T30" fmla="*/ 263 w 903"/>
                  <a:gd name="T31" fmla="*/ 737 h 759"/>
                  <a:gd name="T32" fmla="*/ 146 w 903"/>
                  <a:gd name="T33" fmla="*/ 759 h 759"/>
                  <a:gd name="T34" fmla="*/ 116 w 903"/>
                  <a:gd name="T35" fmla="*/ 753 h 759"/>
                  <a:gd name="T36" fmla="*/ 90 w 903"/>
                  <a:gd name="T37" fmla="*/ 739 h 759"/>
                  <a:gd name="T38" fmla="*/ 76 w 903"/>
                  <a:gd name="T39" fmla="*/ 719 h 759"/>
                  <a:gd name="T40" fmla="*/ 79 w 903"/>
                  <a:gd name="T41" fmla="*/ 697 h 759"/>
                  <a:gd name="T42" fmla="*/ 75 w 903"/>
                  <a:gd name="T43" fmla="*/ 628 h 759"/>
                  <a:gd name="T44" fmla="*/ 79 w 903"/>
                  <a:gd name="T45" fmla="*/ 608 h 759"/>
                  <a:gd name="T46" fmla="*/ 68 w 903"/>
                  <a:gd name="T47" fmla="*/ 572 h 759"/>
                  <a:gd name="T48" fmla="*/ 22 w 903"/>
                  <a:gd name="T49" fmla="*/ 516 h 759"/>
                  <a:gd name="T50" fmla="*/ 12 w 903"/>
                  <a:gd name="T51" fmla="*/ 484 h 759"/>
                  <a:gd name="T52" fmla="*/ 10 w 903"/>
                  <a:gd name="T53" fmla="*/ 439 h 759"/>
                  <a:gd name="T54" fmla="*/ 0 w 903"/>
                  <a:gd name="T55" fmla="*/ 377 h 759"/>
                  <a:gd name="T56" fmla="*/ 39 w 903"/>
                  <a:gd name="T57" fmla="*/ 377 h 759"/>
                  <a:gd name="T58" fmla="*/ 57 w 903"/>
                  <a:gd name="T59" fmla="*/ 396 h 759"/>
                  <a:gd name="T60" fmla="*/ 94 w 903"/>
                  <a:gd name="T61" fmla="*/ 410 h 759"/>
                  <a:gd name="T62" fmla="*/ 135 w 903"/>
                  <a:gd name="T63" fmla="*/ 411 h 759"/>
                  <a:gd name="T64" fmla="*/ 160 w 903"/>
                  <a:gd name="T65" fmla="*/ 400 h 759"/>
                  <a:gd name="T66" fmla="*/ 182 w 903"/>
                  <a:gd name="T67" fmla="*/ 372 h 759"/>
                  <a:gd name="T68" fmla="*/ 197 w 903"/>
                  <a:gd name="T69" fmla="*/ 229 h 759"/>
                  <a:gd name="T70" fmla="*/ 204 w 903"/>
                  <a:gd name="T71" fmla="*/ 184 h 759"/>
                  <a:gd name="T72" fmla="*/ 210 w 903"/>
                  <a:gd name="T73" fmla="*/ 168 h 759"/>
                  <a:gd name="T74" fmla="*/ 239 w 903"/>
                  <a:gd name="T75" fmla="*/ 178 h 759"/>
                  <a:gd name="T76" fmla="*/ 245 w 903"/>
                  <a:gd name="T77" fmla="*/ 238 h 759"/>
                  <a:gd name="T78" fmla="*/ 247 w 903"/>
                  <a:gd name="T79" fmla="*/ 274 h 759"/>
                  <a:gd name="T80" fmla="*/ 256 w 903"/>
                  <a:gd name="T81" fmla="*/ 287 h 759"/>
                  <a:gd name="T82" fmla="*/ 287 w 903"/>
                  <a:gd name="T83" fmla="*/ 295 h 759"/>
                  <a:gd name="T84" fmla="*/ 312 w 903"/>
                  <a:gd name="T85" fmla="*/ 293 h 759"/>
                  <a:gd name="T86" fmla="*/ 333 w 903"/>
                  <a:gd name="T87" fmla="*/ 272 h 759"/>
                  <a:gd name="T88" fmla="*/ 350 w 903"/>
                  <a:gd name="T89" fmla="*/ 234 h 759"/>
                  <a:gd name="T90" fmla="*/ 368 w 903"/>
                  <a:gd name="T91" fmla="*/ 201 h 759"/>
                  <a:gd name="T92" fmla="*/ 387 w 903"/>
                  <a:gd name="T93" fmla="*/ 191 h 759"/>
                  <a:gd name="T94" fmla="*/ 414 w 903"/>
                  <a:gd name="T95" fmla="*/ 193 h 759"/>
                  <a:gd name="T96" fmla="*/ 451 w 903"/>
                  <a:gd name="T97" fmla="*/ 208 h 759"/>
                  <a:gd name="T98" fmla="*/ 478 w 903"/>
                  <a:gd name="T99" fmla="*/ 216 h 759"/>
                  <a:gd name="T100" fmla="*/ 512 w 903"/>
                  <a:gd name="T101" fmla="*/ 213 h 759"/>
                  <a:gd name="T102" fmla="*/ 531 w 903"/>
                  <a:gd name="T103" fmla="*/ 200 h 759"/>
                  <a:gd name="T104" fmla="*/ 564 w 903"/>
                  <a:gd name="T105" fmla="*/ 127 h 759"/>
                  <a:gd name="T106" fmla="*/ 620 w 903"/>
                  <a:gd name="T107" fmla="*/ 80 h 759"/>
                  <a:gd name="T108" fmla="*/ 732 w 903"/>
                  <a:gd name="T109" fmla="*/ 11 h 759"/>
                  <a:gd name="T110" fmla="*/ 806 w 903"/>
                  <a:gd name="T111" fmla="*/ 3 h 759"/>
                  <a:gd name="T112" fmla="*/ 830 w 903"/>
                  <a:gd name="T113" fmla="*/ 6 h 759"/>
                  <a:gd name="T114" fmla="*/ 854 w 903"/>
                  <a:gd name="T115" fmla="*/ 35 h 759"/>
                  <a:gd name="T116" fmla="*/ 873 w 903"/>
                  <a:gd name="T117" fmla="*/ 71 h 759"/>
                  <a:gd name="T118" fmla="*/ 883 w 903"/>
                  <a:gd name="T119" fmla="*/ 107 h 759"/>
                  <a:gd name="T120" fmla="*/ 868 w 903"/>
                  <a:gd name="T121" fmla="*/ 207 h 759"/>
                  <a:gd name="T122" fmla="*/ 830 w 903"/>
                  <a:gd name="T123" fmla="*/ 204 h 759"/>
                  <a:gd name="T124" fmla="*/ 826 w 903"/>
                  <a:gd name="T125" fmla="*/ 281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3" name="Freeform 383"/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6209748" y="3247063"/>
                <a:ext cx="546860" cy="611329"/>
              </a:xfrm>
              <a:custGeom>
                <a:avLst/>
                <a:gdLst>
                  <a:gd name="T0" fmla="*/ 742 w 943"/>
                  <a:gd name="T1" fmla="*/ 5 h 1172"/>
                  <a:gd name="T2" fmla="*/ 765 w 943"/>
                  <a:gd name="T3" fmla="*/ 23 h 1172"/>
                  <a:gd name="T4" fmla="*/ 803 w 943"/>
                  <a:gd name="T5" fmla="*/ 30 h 1172"/>
                  <a:gd name="T6" fmla="*/ 814 w 943"/>
                  <a:gd name="T7" fmla="*/ 55 h 1172"/>
                  <a:gd name="T8" fmla="*/ 835 w 943"/>
                  <a:gd name="T9" fmla="*/ 109 h 1172"/>
                  <a:gd name="T10" fmla="*/ 837 w 943"/>
                  <a:gd name="T11" fmla="*/ 187 h 1172"/>
                  <a:gd name="T12" fmla="*/ 857 w 943"/>
                  <a:gd name="T13" fmla="*/ 243 h 1172"/>
                  <a:gd name="T14" fmla="*/ 922 w 943"/>
                  <a:gd name="T15" fmla="*/ 292 h 1172"/>
                  <a:gd name="T16" fmla="*/ 879 w 943"/>
                  <a:gd name="T17" fmla="*/ 361 h 1172"/>
                  <a:gd name="T18" fmla="*/ 851 w 943"/>
                  <a:gd name="T19" fmla="*/ 410 h 1172"/>
                  <a:gd name="T20" fmla="*/ 809 w 943"/>
                  <a:gd name="T21" fmla="*/ 635 h 1172"/>
                  <a:gd name="T22" fmla="*/ 770 w 943"/>
                  <a:gd name="T23" fmla="*/ 677 h 1172"/>
                  <a:gd name="T24" fmla="*/ 763 w 943"/>
                  <a:gd name="T25" fmla="*/ 721 h 1172"/>
                  <a:gd name="T26" fmla="*/ 745 w 943"/>
                  <a:gd name="T27" fmla="*/ 735 h 1172"/>
                  <a:gd name="T28" fmla="*/ 723 w 943"/>
                  <a:gd name="T29" fmla="*/ 798 h 1172"/>
                  <a:gd name="T30" fmla="*/ 692 w 943"/>
                  <a:gd name="T31" fmla="*/ 877 h 1172"/>
                  <a:gd name="T32" fmla="*/ 662 w 943"/>
                  <a:gd name="T33" fmla="*/ 903 h 1172"/>
                  <a:gd name="T34" fmla="*/ 664 w 943"/>
                  <a:gd name="T35" fmla="*/ 934 h 1172"/>
                  <a:gd name="T36" fmla="*/ 686 w 943"/>
                  <a:gd name="T37" fmla="*/ 939 h 1172"/>
                  <a:gd name="T38" fmla="*/ 709 w 943"/>
                  <a:gd name="T39" fmla="*/ 950 h 1172"/>
                  <a:gd name="T40" fmla="*/ 742 w 943"/>
                  <a:gd name="T41" fmla="*/ 971 h 1172"/>
                  <a:gd name="T42" fmla="*/ 756 w 943"/>
                  <a:gd name="T43" fmla="*/ 1007 h 1172"/>
                  <a:gd name="T44" fmla="*/ 775 w 943"/>
                  <a:gd name="T45" fmla="*/ 1043 h 1172"/>
                  <a:gd name="T46" fmla="*/ 803 w 943"/>
                  <a:gd name="T47" fmla="*/ 1053 h 1172"/>
                  <a:gd name="T48" fmla="*/ 809 w 943"/>
                  <a:gd name="T49" fmla="*/ 1094 h 1172"/>
                  <a:gd name="T50" fmla="*/ 718 w 943"/>
                  <a:gd name="T51" fmla="*/ 1115 h 1172"/>
                  <a:gd name="T52" fmla="*/ 687 w 943"/>
                  <a:gd name="T53" fmla="*/ 1157 h 1172"/>
                  <a:gd name="T54" fmla="*/ 598 w 943"/>
                  <a:gd name="T55" fmla="*/ 1170 h 1172"/>
                  <a:gd name="T56" fmla="*/ 515 w 943"/>
                  <a:gd name="T57" fmla="*/ 1158 h 1172"/>
                  <a:gd name="T58" fmla="*/ 464 w 943"/>
                  <a:gd name="T59" fmla="*/ 1123 h 1172"/>
                  <a:gd name="T60" fmla="*/ 390 w 943"/>
                  <a:gd name="T61" fmla="*/ 1125 h 1172"/>
                  <a:gd name="T62" fmla="*/ 319 w 943"/>
                  <a:gd name="T63" fmla="*/ 1120 h 1172"/>
                  <a:gd name="T64" fmla="*/ 297 w 943"/>
                  <a:gd name="T65" fmla="*/ 1104 h 1172"/>
                  <a:gd name="T66" fmla="*/ 294 w 943"/>
                  <a:gd name="T67" fmla="*/ 1075 h 1172"/>
                  <a:gd name="T68" fmla="*/ 274 w 943"/>
                  <a:gd name="T69" fmla="*/ 1029 h 1172"/>
                  <a:gd name="T70" fmla="*/ 216 w 943"/>
                  <a:gd name="T71" fmla="*/ 974 h 1172"/>
                  <a:gd name="T72" fmla="*/ 193 w 943"/>
                  <a:gd name="T73" fmla="*/ 925 h 1172"/>
                  <a:gd name="T74" fmla="*/ 152 w 943"/>
                  <a:gd name="T75" fmla="*/ 903 h 1172"/>
                  <a:gd name="T76" fmla="*/ 120 w 943"/>
                  <a:gd name="T77" fmla="*/ 846 h 1172"/>
                  <a:gd name="T78" fmla="*/ 97 w 943"/>
                  <a:gd name="T79" fmla="*/ 788 h 1172"/>
                  <a:gd name="T80" fmla="*/ 65 w 943"/>
                  <a:gd name="T81" fmla="*/ 758 h 1172"/>
                  <a:gd name="T82" fmla="*/ 33 w 943"/>
                  <a:gd name="T83" fmla="*/ 676 h 1172"/>
                  <a:gd name="T84" fmla="*/ 4 w 943"/>
                  <a:gd name="T85" fmla="*/ 611 h 1172"/>
                  <a:gd name="T86" fmla="*/ 18 w 943"/>
                  <a:gd name="T87" fmla="*/ 577 h 1172"/>
                  <a:gd name="T88" fmla="*/ 29 w 943"/>
                  <a:gd name="T89" fmla="*/ 521 h 1172"/>
                  <a:gd name="T90" fmla="*/ 64 w 943"/>
                  <a:gd name="T91" fmla="*/ 474 h 1172"/>
                  <a:gd name="T92" fmla="*/ 113 w 943"/>
                  <a:gd name="T93" fmla="*/ 222 h 1172"/>
                  <a:gd name="T94" fmla="*/ 123 w 943"/>
                  <a:gd name="T95" fmla="*/ 179 h 1172"/>
                  <a:gd name="T96" fmla="*/ 153 w 943"/>
                  <a:gd name="T97" fmla="*/ 171 h 1172"/>
                  <a:gd name="T98" fmla="*/ 160 w 943"/>
                  <a:gd name="T99" fmla="*/ 122 h 1172"/>
                  <a:gd name="T100" fmla="*/ 159 w 943"/>
                  <a:gd name="T101" fmla="*/ 67 h 1172"/>
                  <a:gd name="T102" fmla="*/ 679 w 943"/>
                  <a:gd name="T103" fmla="*/ 69 h 1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4" name="Group 384"/>
              <p:cNvGrpSpPr>
                <a:grpSpLocks/>
              </p:cNvGrpSpPr>
              <p:nvPr>
                <p:custDataLst>
                  <p:tags r:id="rId266"/>
                </p:custDataLst>
              </p:nvPr>
            </p:nvGrpSpPr>
            <p:grpSpPr bwMode="auto">
              <a:xfrm>
                <a:off x="4592392" y="3448721"/>
                <a:ext cx="107683" cy="82569"/>
                <a:chOff x="2352" y="2343"/>
                <a:chExt cx="65" cy="53"/>
              </a:xfrm>
              <a:grpFill/>
            </p:grpSpPr>
            <p:sp>
              <p:nvSpPr>
                <p:cNvPr id="1024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46 w 51"/>
                    <a:gd name="T1" fmla="*/ 0 h 33"/>
                    <a:gd name="T2" fmla="*/ 0 w 51"/>
                    <a:gd name="T3" fmla="*/ 5 h 33"/>
                    <a:gd name="T4" fmla="*/ 4 w 51"/>
                    <a:gd name="T5" fmla="*/ 28 h 33"/>
                    <a:gd name="T6" fmla="*/ 10 w 51"/>
                    <a:gd name="T7" fmla="*/ 33 h 33"/>
                    <a:gd name="T8" fmla="*/ 35 w 51"/>
                    <a:gd name="T9" fmla="*/ 25 h 33"/>
                    <a:gd name="T10" fmla="*/ 48 w 51"/>
                    <a:gd name="T11" fmla="*/ 15 h 33"/>
                    <a:gd name="T12" fmla="*/ 51 w 51"/>
                    <a:gd name="T13" fmla="*/ 8 h 33"/>
                    <a:gd name="T14" fmla="*/ 46 w 51"/>
                    <a:gd name="T1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5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61 w 61"/>
                    <a:gd name="T1" fmla="*/ 6 h 20"/>
                    <a:gd name="T2" fmla="*/ 53 w 61"/>
                    <a:gd name="T3" fmla="*/ 2 h 20"/>
                    <a:gd name="T4" fmla="*/ 0 w 61"/>
                    <a:gd name="T5" fmla="*/ 0 h 20"/>
                    <a:gd name="T6" fmla="*/ 2 w 61"/>
                    <a:gd name="T7" fmla="*/ 14 h 20"/>
                    <a:gd name="T8" fmla="*/ 7 w 61"/>
                    <a:gd name="T9" fmla="*/ 20 h 20"/>
                    <a:gd name="T10" fmla="*/ 18 w 61"/>
                    <a:gd name="T11" fmla="*/ 13 h 20"/>
                    <a:gd name="T12" fmla="*/ 61 w 61"/>
                    <a:gd name="T13" fmla="*/ 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6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2 w 15"/>
                    <a:gd name="T1" fmla="*/ 0 h 36"/>
                    <a:gd name="T2" fmla="*/ 0 w 15"/>
                    <a:gd name="T3" fmla="*/ 20 h 36"/>
                    <a:gd name="T4" fmla="*/ 0 w 15"/>
                    <a:gd name="T5" fmla="*/ 36 h 36"/>
                    <a:gd name="T6" fmla="*/ 11 w 15"/>
                    <a:gd name="T7" fmla="*/ 35 h 36"/>
                    <a:gd name="T8" fmla="*/ 15 w 15"/>
                    <a:gd name="T9" fmla="*/ 14 h 36"/>
                    <a:gd name="T10" fmla="*/ 2 w 15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7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4 w 37"/>
                    <a:gd name="T1" fmla="*/ 4 h 33"/>
                    <a:gd name="T2" fmla="*/ 22 w 37"/>
                    <a:gd name="T3" fmla="*/ 0 h 33"/>
                    <a:gd name="T4" fmla="*/ 35 w 37"/>
                    <a:gd name="T5" fmla="*/ 6 h 33"/>
                    <a:gd name="T6" fmla="*/ 37 w 37"/>
                    <a:gd name="T7" fmla="*/ 22 h 33"/>
                    <a:gd name="T8" fmla="*/ 24 w 37"/>
                    <a:gd name="T9" fmla="*/ 33 h 33"/>
                    <a:gd name="T10" fmla="*/ 11 w 37"/>
                    <a:gd name="T11" fmla="*/ 33 h 33"/>
                    <a:gd name="T12" fmla="*/ 2 w 37"/>
                    <a:gd name="T13" fmla="*/ 24 h 33"/>
                    <a:gd name="T14" fmla="*/ 0 w 37"/>
                    <a:gd name="T15" fmla="*/ 16 h 33"/>
                    <a:gd name="T16" fmla="*/ 4 w 37"/>
                    <a:gd name="T17" fmla="*/ 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8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2 w 49"/>
                    <a:gd name="T1" fmla="*/ 0 h 54"/>
                    <a:gd name="T2" fmla="*/ 0 w 49"/>
                    <a:gd name="T3" fmla="*/ 0 h 54"/>
                    <a:gd name="T4" fmla="*/ 2 w 49"/>
                    <a:gd name="T5" fmla="*/ 50 h 54"/>
                    <a:gd name="T6" fmla="*/ 18 w 49"/>
                    <a:gd name="T7" fmla="*/ 54 h 54"/>
                    <a:gd name="T8" fmla="*/ 44 w 49"/>
                    <a:gd name="T9" fmla="*/ 45 h 54"/>
                    <a:gd name="T10" fmla="*/ 49 w 49"/>
                    <a:gd name="T11" fmla="*/ 31 h 54"/>
                    <a:gd name="T12" fmla="*/ 40 w 49"/>
                    <a:gd name="T13" fmla="*/ 21 h 54"/>
                    <a:gd name="T14" fmla="*/ 19 w 49"/>
                    <a:gd name="T15" fmla="*/ 8 h 54"/>
                    <a:gd name="T16" fmla="*/ 2 w 49"/>
                    <a:gd name="T17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9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8 w 26"/>
                    <a:gd name="T1" fmla="*/ 0 h 22"/>
                    <a:gd name="T2" fmla="*/ 3 w 26"/>
                    <a:gd name="T3" fmla="*/ 2 h 22"/>
                    <a:gd name="T4" fmla="*/ 0 w 26"/>
                    <a:gd name="T5" fmla="*/ 15 h 22"/>
                    <a:gd name="T6" fmla="*/ 6 w 26"/>
                    <a:gd name="T7" fmla="*/ 21 h 22"/>
                    <a:gd name="T8" fmla="*/ 19 w 26"/>
                    <a:gd name="T9" fmla="*/ 22 h 22"/>
                    <a:gd name="T10" fmla="*/ 26 w 26"/>
                    <a:gd name="T11" fmla="*/ 11 h 22"/>
                    <a:gd name="T12" fmla="*/ 18 w 26"/>
                    <a:gd name="T1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55" name="Group 391"/>
              <p:cNvGrpSpPr>
                <a:grpSpLocks/>
              </p:cNvGrpSpPr>
              <p:nvPr>
                <p:custDataLst>
                  <p:tags r:id="rId267"/>
                </p:custDataLst>
              </p:nvPr>
            </p:nvGrpSpPr>
            <p:grpSpPr bwMode="auto">
              <a:xfrm>
                <a:off x="1868602" y="1508347"/>
                <a:ext cx="2523161" cy="1133736"/>
                <a:chOff x="527" y="1110"/>
                <a:chExt cx="1410" cy="709"/>
              </a:xfrm>
              <a:grpFill/>
            </p:grpSpPr>
            <p:sp>
              <p:nvSpPr>
                <p:cNvPr id="982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1 h 54"/>
                    <a:gd name="T2" fmla="*/ 5 w 98"/>
                    <a:gd name="T3" fmla="*/ 46 h 54"/>
                    <a:gd name="T4" fmla="*/ 13 w 98"/>
                    <a:gd name="T5" fmla="*/ 50 h 54"/>
                    <a:gd name="T6" fmla="*/ 23 w 98"/>
                    <a:gd name="T7" fmla="*/ 53 h 54"/>
                    <a:gd name="T8" fmla="*/ 32 w 98"/>
                    <a:gd name="T9" fmla="*/ 54 h 54"/>
                    <a:gd name="T10" fmla="*/ 38 w 98"/>
                    <a:gd name="T11" fmla="*/ 54 h 54"/>
                    <a:gd name="T12" fmla="*/ 45 w 98"/>
                    <a:gd name="T13" fmla="*/ 53 h 54"/>
                    <a:gd name="T14" fmla="*/ 50 w 98"/>
                    <a:gd name="T15" fmla="*/ 51 h 54"/>
                    <a:gd name="T16" fmla="*/ 56 w 98"/>
                    <a:gd name="T17" fmla="*/ 49 h 54"/>
                    <a:gd name="T18" fmla="*/ 67 w 98"/>
                    <a:gd name="T19" fmla="*/ 42 h 54"/>
                    <a:gd name="T20" fmla="*/ 75 w 98"/>
                    <a:gd name="T21" fmla="*/ 35 h 54"/>
                    <a:gd name="T22" fmla="*/ 84 w 98"/>
                    <a:gd name="T23" fmla="*/ 28 h 54"/>
                    <a:gd name="T24" fmla="*/ 91 w 98"/>
                    <a:gd name="T25" fmla="*/ 20 h 54"/>
                    <a:gd name="T26" fmla="*/ 95 w 98"/>
                    <a:gd name="T27" fmla="*/ 12 h 54"/>
                    <a:gd name="T28" fmla="*/ 98 w 98"/>
                    <a:gd name="T29" fmla="*/ 4 h 54"/>
                    <a:gd name="T30" fmla="*/ 91 w 98"/>
                    <a:gd name="T31" fmla="*/ 2 h 54"/>
                    <a:gd name="T32" fmla="*/ 83 w 98"/>
                    <a:gd name="T33" fmla="*/ 0 h 54"/>
                    <a:gd name="T34" fmla="*/ 75 w 98"/>
                    <a:gd name="T35" fmla="*/ 0 h 54"/>
                    <a:gd name="T36" fmla="*/ 68 w 98"/>
                    <a:gd name="T37" fmla="*/ 0 h 54"/>
                    <a:gd name="T38" fmla="*/ 59 w 98"/>
                    <a:gd name="T39" fmla="*/ 1 h 54"/>
                    <a:gd name="T40" fmla="*/ 51 w 98"/>
                    <a:gd name="T41" fmla="*/ 3 h 54"/>
                    <a:gd name="T42" fmla="*/ 43 w 98"/>
                    <a:gd name="T43" fmla="*/ 6 h 54"/>
                    <a:gd name="T44" fmla="*/ 37 w 98"/>
                    <a:gd name="T45" fmla="*/ 9 h 54"/>
                    <a:gd name="T46" fmla="*/ 23 w 98"/>
                    <a:gd name="T47" fmla="*/ 17 h 54"/>
                    <a:gd name="T48" fmla="*/ 12 w 98"/>
                    <a:gd name="T49" fmla="*/ 25 h 54"/>
                    <a:gd name="T50" fmla="*/ 7 w 98"/>
                    <a:gd name="T51" fmla="*/ 29 h 54"/>
                    <a:gd name="T52" fmla="*/ 4 w 98"/>
                    <a:gd name="T53" fmla="*/ 33 h 54"/>
                    <a:gd name="T54" fmla="*/ 1 w 98"/>
                    <a:gd name="T55" fmla="*/ 37 h 54"/>
                    <a:gd name="T56" fmla="*/ 0 w 98"/>
                    <a:gd name="T57" fmla="*/ 4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3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7 h 28"/>
                    <a:gd name="T2" fmla="*/ 11 w 67"/>
                    <a:gd name="T3" fmla="*/ 28 h 28"/>
                    <a:gd name="T4" fmla="*/ 21 w 67"/>
                    <a:gd name="T5" fmla="*/ 27 h 28"/>
                    <a:gd name="T6" fmla="*/ 31 w 67"/>
                    <a:gd name="T7" fmla="*/ 25 h 28"/>
                    <a:gd name="T8" fmla="*/ 41 w 67"/>
                    <a:gd name="T9" fmla="*/ 21 h 28"/>
                    <a:gd name="T10" fmla="*/ 49 w 67"/>
                    <a:gd name="T11" fmla="*/ 17 h 28"/>
                    <a:gd name="T12" fmla="*/ 57 w 67"/>
                    <a:gd name="T13" fmla="*/ 12 h 28"/>
                    <a:gd name="T14" fmla="*/ 63 w 67"/>
                    <a:gd name="T15" fmla="*/ 7 h 28"/>
                    <a:gd name="T16" fmla="*/ 67 w 67"/>
                    <a:gd name="T17" fmla="*/ 3 h 28"/>
                    <a:gd name="T18" fmla="*/ 57 w 67"/>
                    <a:gd name="T19" fmla="*/ 1 h 28"/>
                    <a:gd name="T20" fmla="*/ 46 w 67"/>
                    <a:gd name="T21" fmla="*/ 0 h 28"/>
                    <a:gd name="T22" fmla="*/ 36 w 67"/>
                    <a:gd name="T23" fmla="*/ 1 h 28"/>
                    <a:gd name="T24" fmla="*/ 26 w 67"/>
                    <a:gd name="T25" fmla="*/ 3 h 28"/>
                    <a:gd name="T26" fmla="*/ 17 w 67"/>
                    <a:gd name="T27" fmla="*/ 7 h 28"/>
                    <a:gd name="T28" fmla="*/ 10 w 67"/>
                    <a:gd name="T29" fmla="*/ 12 h 28"/>
                    <a:gd name="T30" fmla="*/ 7 w 67"/>
                    <a:gd name="T31" fmla="*/ 15 h 28"/>
                    <a:gd name="T32" fmla="*/ 4 w 67"/>
                    <a:gd name="T33" fmla="*/ 19 h 28"/>
                    <a:gd name="T34" fmla="*/ 2 w 67"/>
                    <a:gd name="T35" fmla="*/ 22 h 28"/>
                    <a:gd name="T36" fmla="*/ 0 w 67"/>
                    <a:gd name="T37" fmla="*/ 2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4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18 h 36"/>
                    <a:gd name="T2" fmla="*/ 1 w 32"/>
                    <a:gd name="T3" fmla="*/ 24 h 36"/>
                    <a:gd name="T4" fmla="*/ 4 w 32"/>
                    <a:gd name="T5" fmla="*/ 29 h 36"/>
                    <a:gd name="T6" fmla="*/ 6 w 32"/>
                    <a:gd name="T7" fmla="*/ 32 h 36"/>
                    <a:gd name="T8" fmla="*/ 8 w 32"/>
                    <a:gd name="T9" fmla="*/ 34 h 36"/>
                    <a:gd name="T10" fmla="*/ 11 w 32"/>
                    <a:gd name="T11" fmla="*/ 36 h 36"/>
                    <a:gd name="T12" fmla="*/ 13 w 32"/>
                    <a:gd name="T13" fmla="*/ 36 h 36"/>
                    <a:gd name="T14" fmla="*/ 32 w 32"/>
                    <a:gd name="T15" fmla="*/ 36 h 36"/>
                    <a:gd name="T16" fmla="*/ 32 w 32"/>
                    <a:gd name="T17" fmla="*/ 22 h 36"/>
                    <a:gd name="T18" fmla="*/ 31 w 32"/>
                    <a:gd name="T19" fmla="*/ 14 h 36"/>
                    <a:gd name="T20" fmla="*/ 30 w 32"/>
                    <a:gd name="T21" fmla="*/ 7 h 36"/>
                    <a:gd name="T22" fmla="*/ 26 w 32"/>
                    <a:gd name="T23" fmla="*/ 0 h 36"/>
                    <a:gd name="T24" fmla="*/ 19 w 32"/>
                    <a:gd name="T25" fmla="*/ 2 h 36"/>
                    <a:gd name="T26" fmla="*/ 11 w 32"/>
                    <a:gd name="T27" fmla="*/ 7 h 36"/>
                    <a:gd name="T28" fmla="*/ 6 w 32"/>
                    <a:gd name="T29" fmla="*/ 10 h 36"/>
                    <a:gd name="T30" fmla="*/ 3 w 32"/>
                    <a:gd name="T31" fmla="*/ 13 h 36"/>
                    <a:gd name="T32" fmla="*/ 1 w 32"/>
                    <a:gd name="T33" fmla="*/ 16 h 36"/>
                    <a:gd name="T34" fmla="*/ 0 w 32"/>
                    <a:gd name="T35" fmla="*/ 1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5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43 h 52"/>
                    <a:gd name="T2" fmla="*/ 11 w 146"/>
                    <a:gd name="T3" fmla="*/ 46 h 52"/>
                    <a:gd name="T4" fmla="*/ 22 w 146"/>
                    <a:gd name="T5" fmla="*/ 48 h 52"/>
                    <a:gd name="T6" fmla="*/ 33 w 146"/>
                    <a:gd name="T7" fmla="*/ 51 h 52"/>
                    <a:gd name="T8" fmla="*/ 43 w 146"/>
                    <a:gd name="T9" fmla="*/ 52 h 52"/>
                    <a:gd name="T10" fmla="*/ 63 w 146"/>
                    <a:gd name="T11" fmla="*/ 52 h 52"/>
                    <a:gd name="T12" fmla="*/ 82 w 146"/>
                    <a:gd name="T13" fmla="*/ 51 h 52"/>
                    <a:gd name="T14" fmla="*/ 117 w 146"/>
                    <a:gd name="T15" fmla="*/ 46 h 52"/>
                    <a:gd name="T16" fmla="*/ 146 w 146"/>
                    <a:gd name="T17" fmla="*/ 43 h 52"/>
                    <a:gd name="T18" fmla="*/ 144 w 146"/>
                    <a:gd name="T19" fmla="*/ 36 h 52"/>
                    <a:gd name="T20" fmla="*/ 142 w 146"/>
                    <a:gd name="T21" fmla="*/ 30 h 52"/>
                    <a:gd name="T22" fmla="*/ 139 w 146"/>
                    <a:gd name="T23" fmla="*/ 24 h 52"/>
                    <a:gd name="T24" fmla="*/ 137 w 146"/>
                    <a:gd name="T25" fmla="*/ 19 h 52"/>
                    <a:gd name="T26" fmla="*/ 134 w 146"/>
                    <a:gd name="T27" fmla="*/ 15 h 52"/>
                    <a:gd name="T28" fmla="*/ 129 w 146"/>
                    <a:gd name="T29" fmla="*/ 11 h 52"/>
                    <a:gd name="T30" fmla="*/ 125 w 146"/>
                    <a:gd name="T31" fmla="*/ 8 h 52"/>
                    <a:gd name="T32" fmla="*/ 121 w 146"/>
                    <a:gd name="T33" fmla="*/ 6 h 52"/>
                    <a:gd name="T34" fmla="*/ 111 w 146"/>
                    <a:gd name="T35" fmla="*/ 2 h 52"/>
                    <a:gd name="T36" fmla="*/ 101 w 146"/>
                    <a:gd name="T37" fmla="*/ 0 h 52"/>
                    <a:gd name="T38" fmla="*/ 89 w 146"/>
                    <a:gd name="T39" fmla="*/ 1 h 52"/>
                    <a:gd name="T40" fmla="*/ 78 w 146"/>
                    <a:gd name="T41" fmla="*/ 2 h 52"/>
                    <a:gd name="T42" fmla="*/ 66 w 146"/>
                    <a:gd name="T43" fmla="*/ 5 h 52"/>
                    <a:gd name="T44" fmla="*/ 54 w 146"/>
                    <a:gd name="T45" fmla="*/ 9 h 52"/>
                    <a:gd name="T46" fmla="*/ 43 w 146"/>
                    <a:gd name="T47" fmla="*/ 14 h 52"/>
                    <a:gd name="T48" fmla="*/ 32 w 146"/>
                    <a:gd name="T49" fmla="*/ 19 h 52"/>
                    <a:gd name="T50" fmla="*/ 22 w 146"/>
                    <a:gd name="T51" fmla="*/ 25 h 52"/>
                    <a:gd name="T52" fmla="*/ 13 w 146"/>
                    <a:gd name="T53" fmla="*/ 31 h 52"/>
                    <a:gd name="T54" fmla="*/ 5 w 146"/>
                    <a:gd name="T55" fmla="*/ 37 h 52"/>
                    <a:gd name="T56" fmla="*/ 0 w 146"/>
                    <a:gd name="T57" fmla="*/ 43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6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60 w 60"/>
                    <a:gd name="T1" fmla="*/ 0 h 31"/>
                    <a:gd name="T2" fmla="*/ 49 w 60"/>
                    <a:gd name="T3" fmla="*/ 0 h 31"/>
                    <a:gd name="T4" fmla="*/ 38 w 60"/>
                    <a:gd name="T5" fmla="*/ 0 h 31"/>
                    <a:gd name="T6" fmla="*/ 31 w 60"/>
                    <a:gd name="T7" fmla="*/ 0 h 31"/>
                    <a:gd name="T8" fmla="*/ 27 w 60"/>
                    <a:gd name="T9" fmla="*/ 0 h 31"/>
                    <a:gd name="T10" fmla="*/ 18 w 60"/>
                    <a:gd name="T11" fmla="*/ 0 h 31"/>
                    <a:gd name="T12" fmla="*/ 9 w 60"/>
                    <a:gd name="T13" fmla="*/ 2 h 31"/>
                    <a:gd name="T14" fmla="*/ 5 w 60"/>
                    <a:gd name="T15" fmla="*/ 3 h 31"/>
                    <a:gd name="T16" fmla="*/ 2 w 60"/>
                    <a:gd name="T17" fmla="*/ 5 h 31"/>
                    <a:gd name="T18" fmla="*/ 1 w 60"/>
                    <a:gd name="T19" fmla="*/ 8 h 31"/>
                    <a:gd name="T20" fmla="*/ 0 w 60"/>
                    <a:gd name="T21" fmla="*/ 12 h 31"/>
                    <a:gd name="T22" fmla="*/ 1 w 60"/>
                    <a:gd name="T23" fmla="*/ 15 h 31"/>
                    <a:gd name="T24" fmla="*/ 2 w 60"/>
                    <a:gd name="T25" fmla="*/ 18 h 31"/>
                    <a:gd name="T26" fmla="*/ 5 w 60"/>
                    <a:gd name="T27" fmla="*/ 22 h 31"/>
                    <a:gd name="T28" fmla="*/ 9 w 60"/>
                    <a:gd name="T29" fmla="*/ 24 h 31"/>
                    <a:gd name="T30" fmla="*/ 12 w 60"/>
                    <a:gd name="T31" fmla="*/ 27 h 31"/>
                    <a:gd name="T32" fmla="*/ 18 w 60"/>
                    <a:gd name="T33" fmla="*/ 29 h 31"/>
                    <a:gd name="T34" fmla="*/ 22 w 60"/>
                    <a:gd name="T35" fmla="*/ 31 h 31"/>
                    <a:gd name="T36" fmla="*/ 27 w 60"/>
                    <a:gd name="T37" fmla="*/ 31 h 31"/>
                    <a:gd name="T38" fmla="*/ 32 w 60"/>
                    <a:gd name="T39" fmla="*/ 30 h 31"/>
                    <a:gd name="T40" fmla="*/ 37 w 60"/>
                    <a:gd name="T41" fmla="*/ 28 h 31"/>
                    <a:gd name="T42" fmla="*/ 43 w 60"/>
                    <a:gd name="T43" fmla="*/ 24 h 31"/>
                    <a:gd name="T44" fmla="*/ 48 w 60"/>
                    <a:gd name="T45" fmla="*/ 18 h 31"/>
                    <a:gd name="T46" fmla="*/ 57 w 60"/>
                    <a:gd name="T47" fmla="*/ 10 h 31"/>
                    <a:gd name="T48" fmla="*/ 60 w 60"/>
                    <a:gd name="T49" fmla="*/ 6 h 31"/>
                    <a:gd name="T50" fmla="*/ 60 w 60"/>
                    <a:gd name="T51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7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43 h 62"/>
                    <a:gd name="T2" fmla="*/ 1 w 80"/>
                    <a:gd name="T3" fmla="*/ 46 h 62"/>
                    <a:gd name="T4" fmla="*/ 1 w 80"/>
                    <a:gd name="T5" fmla="*/ 49 h 62"/>
                    <a:gd name="T6" fmla="*/ 3 w 80"/>
                    <a:gd name="T7" fmla="*/ 51 h 62"/>
                    <a:gd name="T8" fmla="*/ 4 w 80"/>
                    <a:gd name="T9" fmla="*/ 53 h 62"/>
                    <a:gd name="T10" fmla="*/ 10 w 80"/>
                    <a:gd name="T11" fmla="*/ 57 h 62"/>
                    <a:gd name="T12" fmla="*/ 15 w 80"/>
                    <a:gd name="T13" fmla="*/ 59 h 62"/>
                    <a:gd name="T14" fmla="*/ 28 w 80"/>
                    <a:gd name="T15" fmla="*/ 62 h 62"/>
                    <a:gd name="T16" fmla="*/ 40 w 80"/>
                    <a:gd name="T17" fmla="*/ 62 h 62"/>
                    <a:gd name="T18" fmla="*/ 45 w 80"/>
                    <a:gd name="T19" fmla="*/ 62 h 62"/>
                    <a:gd name="T20" fmla="*/ 49 w 80"/>
                    <a:gd name="T21" fmla="*/ 59 h 62"/>
                    <a:gd name="T22" fmla="*/ 54 w 80"/>
                    <a:gd name="T23" fmla="*/ 57 h 62"/>
                    <a:gd name="T24" fmla="*/ 58 w 80"/>
                    <a:gd name="T25" fmla="*/ 54 h 62"/>
                    <a:gd name="T26" fmla="*/ 65 w 80"/>
                    <a:gd name="T27" fmla="*/ 47 h 62"/>
                    <a:gd name="T28" fmla="*/ 70 w 80"/>
                    <a:gd name="T29" fmla="*/ 38 h 62"/>
                    <a:gd name="T30" fmla="*/ 74 w 80"/>
                    <a:gd name="T31" fmla="*/ 28 h 62"/>
                    <a:gd name="T32" fmla="*/ 78 w 80"/>
                    <a:gd name="T33" fmla="*/ 18 h 62"/>
                    <a:gd name="T34" fmla="*/ 79 w 80"/>
                    <a:gd name="T35" fmla="*/ 8 h 62"/>
                    <a:gd name="T36" fmla="*/ 80 w 80"/>
                    <a:gd name="T37" fmla="*/ 0 h 62"/>
                    <a:gd name="T38" fmla="*/ 71 w 80"/>
                    <a:gd name="T39" fmla="*/ 0 h 62"/>
                    <a:gd name="T40" fmla="*/ 59 w 80"/>
                    <a:gd name="T41" fmla="*/ 3 h 62"/>
                    <a:gd name="T42" fmla="*/ 46 w 80"/>
                    <a:gd name="T43" fmla="*/ 8 h 62"/>
                    <a:gd name="T44" fmla="*/ 33 w 80"/>
                    <a:gd name="T45" fmla="*/ 13 h 62"/>
                    <a:gd name="T46" fmla="*/ 21 w 80"/>
                    <a:gd name="T47" fmla="*/ 19 h 62"/>
                    <a:gd name="T48" fmla="*/ 10 w 80"/>
                    <a:gd name="T49" fmla="*/ 26 h 62"/>
                    <a:gd name="T50" fmla="*/ 6 w 80"/>
                    <a:gd name="T51" fmla="*/ 30 h 62"/>
                    <a:gd name="T52" fmla="*/ 3 w 80"/>
                    <a:gd name="T53" fmla="*/ 34 h 62"/>
                    <a:gd name="T54" fmla="*/ 1 w 80"/>
                    <a:gd name="T55" fmla="*/ 39 h 62"/>
                    <a:gd name="T56" fmla="*/ 0 w 80"/>
                    <a:gd name="T57" fmla="*/ 43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8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0 w 106"/>
                    <a:gd name="T1" fmla="*/ 13 h 49"/>
                    <a:gd name="T2" fmla="*/ 72 w 106"/>
                    <a:gd name="T3" fmla="*/ 12 h 49"/>
                    <a:gd name="T4" fmla="*/ 66 w 106"/>
                    <a:gd name="T5" fmla="*/ 11 h 49"/>
                    <a:gd name="T6" fmla="*/ 59 w 106"/>
                    <a:gd name="T7" fmla="*/ 8 h 49"/>
                    <a:gd name="T8" fmla="*/ 53 w 106"/>
                    <a:gd name="T9" fmla="*/ 6 h 49"/>
                    <a:gd name="T10" fmla="*/ 47 w 106"/>
                    <a:gd name="T11" fmla="*/ 4 h 49"/>
                    <a:gd name="T12" fmla="*/ 41 w 106"/>
                    <a:gd name="T13" fmla="*/ 2 h 49"/>
                    <a:gd name="T14" fmla="*/ 34 w 106"/>
                    <a:gd name="T15" fmla="*/ 0 h 49"/>
                    <a:gd name="T16" fmla="*/ 26 w 106"/>
                    <a:gd name="T17" fmla="*/ 0 h 49"/>
                    <a:gd name="T18" fmla="*/ 15 w 106"/>
                    <a:gd name="T19" fmla="*/ 0 h 49"/>
                    <a:gd name="T20" fmla="*/ 0 w 106"/>
                    <a:gd name="T21" fmla="*/ 0 h 49"/>
                    <a:gd name="T22" fmla="*/ 9 w 106"/>
                    <a:gd name="T23" fmla="*/ 11 h 49"/>
                    <a:gd name="T24" fmla="*/ 17 w 106"/>
                    <a:gd name="T25" fmla="*/ 21 h 49"/>
                    <a:gd name="T26" fmla="*/ 26 w 106"/>
                    <a:gd name="T27" fmla="*/ 29 h 49"/>
                    <a:gd name="T28" fmla="*/ 34 w 106"/>
                    <a:gd name="T29" fmla="*/ 36 h 49"/>
                    <a:gd name="T30" fmla="*/ 42 w 106"/>
                    <a:gd name="T31" fmla="*/ 42 h 49"/>
                    <a:gd name="T32" fmla="*/ 52 w 106"/>
                    <a:gd name="T33" fmla="*/ 46 h 49"/>
                    <a:gd name="T34" fmla="*/ 61 w 106"/>
                    <a:gd name="T35" fmla="*/ 48 h 49"/>
                    <a:gd name="T36" fmla="*/ 72 w 106"/>
                    <a:gd name="T37" fmla="*/ 49 h 49"/>
                    <a:gd name="T38" fmla="*/ 79 w 106"/>
                    <a:gd name="T39" fmla="*/ 48 h 49"/>
                    <a:gd name="T40" fmla="*/ 87 w 106"/>
                    <a:gd name="T41" fmla="*/ 45 h 49"/>
                    <a:gd name="T42" fmla="*/ 97 w 106"/>
                    <a:gd name="T43" fmla="*/ 39 h 49"/>
                    <a:gd name="T44" fmla="*/ 106 w 106"/>
                    <a:gd name="T45" fmla="*/ 31 h 49"/>
                    <a:gd name="T46" fmla="*/ 101 w 106"/>
                    <a:gd name="T47" fmla="*/ 30 h 49"/>
                    <a:gd name="T48" fmla="*/ 98 w 106"/>
                    <a:gd name="T49" fmla="*/ 28 h 49"/>
                    <a:gd name="T50" fmla="*/ 93 w 106"/>
                    <a:gd name="T51" fmla="*/ 25 h 49"/>
                    <a:gd name="T52" fmla="*/ 90 w 106"/>
                    <a:gd name="T53" fmla="*/ 22 h 49"/>
                    <a:gd name="T54" fmla="*/ 88 w 106"/>
                    <a:gd name="T55" fmla="*/ 19 h 49"/>
                    <a:gd name="T56" fmla="*/ 84 w 106"/>
                    <a:gd name="T57" fmla="*/ 16 h 49"/>
                    <a:gd name="T58" fmla="*/ 82 w 106"/>
                    <a:gd name="T59" fmla="*/ 14 h 49"/>
                    <a:gd name="T60" fmla="*/ 80 w 106"/>
                    <a:gd name="T61" fmla="*/ 1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9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19 h 22"/>
                    <a:gd name="T2" fmla="*/ 5 w 47"/>
                    <a:gd name="T3" fmla="*/ 21 h 22"/>
                    <a:gd name="T4" fmla="*/ 12 w 47"/>
                    <a:gd name="T5" fmla="*/ 22 h 22"/>
                    <a:gd name="T6" fmla="*/ 18 w 47"/>
                    <a:gd name="T7" fmla="*/ 22 h 22"/>
                    <a:gd name="T8" fmla="*/ 26 w 47"/>
                    <a:gd name="T9" fmla="*/ 21 h 22"/>
                    <a:gd name="T10" fmla="*/ 33 w 47"/>
                    <a:gd name="T11" fmla="*/ 19 h 22"/>
                    <a:gd name="T12" fmla="*/ 38 w 47"/>
                    <a:gd name="T13" fmla="*/ 15 h 22"/>
                    <a:gd name="T14" fmla="*/ 41 w 47"/>
                    <a:gd name="T15" fmla="*/ 12 h 22"/>
                    <a:gd name="T16" fmla="*/ 44 w 47"/>
                    <a:gd name="T17" fmla="*/ 9 h 22"/>
                    <a:gd name="T18" fmla="*/ 45 w 47"/>
                    <a:gd name="T19" fmla="*/ 5 h 22"/>
                    <a:gd name="T20" fmla="*/ 47 w 47"/>
                    <a:gd name="T21" fmla="*/ 0 h 22"/>
                    <a:gd name="T22" fmla="*/ 0 w 47"/>
                    <a:gd name="T23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0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3 w 53"/>
                    <a:gd name="T1" fmla="*/ 0 h 32"/>
                    <a:gd name="T2" fmla="*/ 37 w 53"/>
                    <a:gd name="T3" fmla="*/ 9 h 32"/>
                    <a:gd name="T4" fmla="*/ 23 w 53"/>
                    <a:gd name="T5" fmla="*/ 18 h 32"/>
                    <a:gd name="T6" fmla="*/ 11 w 53"/>
                    <a:gd name="T7" fmla="*/ 26 h 32"/>
                    <a:gd name="T8" fmla="*/ 0 w 53"/>
                    <a:gd name="T9" fmla="*/ 32 h 32"/>
                    <a:gd name="T10" fmla="*/ 13 w 53"/>
                    <a:gd name="T11" fmla="*/ 32 h 32"/>
                    <a:gd name="T12" fmla="*/ 26 w 53"/>
                    <a:gd name="T13" fmla="*/ 32 h 32"/>
                    <a:gd name="T14" fmla="*/ 39 w 53"/>
                    <a:gd name="T15" fmla="*/ 32 h 32"/>
                    <a:gd name="T16" fmla="*/ 53 w 53"/>
                    <a:gd name="T17" fmla="*/ 32 h 32"/>
                    <a:gd name="T18" fmla="*/ 53 w 53"/>
                    <a:gd name="T19" fmla="*/ 24 h 32"/>
                    <a:gd name="T20" fmla="*/ 53 w 53"/>
                    <a:gd name="T21" fmla="*/ 16 h 32"/>
                    <a:gd name="T22" fmla="*/ 53 w 53"/>
                    <a:gd name="T23" fmla="*/ 9 h 32"/>
                    <a:gd name="T24" fmla="*/ 53 w 53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1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7 w 46"/>
                    <a:gd name="T1" fmla="*/ 3 h 34"/>
                    <a:gd name="T2" fmla="*/ 0 w 46"/>
                    <a:gd name="T3" fmla="*/ 16 h 34"/>
                    <a:gd name="T4" fmla="*/ 0 w 46"/>
                    <a:gd name="T5" fmla="*/ 34 h 34"/>
                    <a:gd name="T6" fmla="*/ 27 w 46"/>
                    <a:gd name="T7" fmla="*/ 34 h 34"/>
                    <a:gd name="T8" fmla="*/ 31 w 46"/>
                    <a:gd name="T9" fmla="*/ 32 h 34"/>
                    <a:gd name="T10" fmla="*/ 35 w 46"/>
                    <a:gd name="T11" fmla="*/ 28 h 34"/>
                    <a:gd name="T12" fmla="*/ 39 w 46"/>
                    <a:gd name="T13" fmla="*/ 25 h 34"/>
                    <a:gd name="T14" fmla="*/ 42 w 46"/>
                    <a:gd name="T15" fmla="*/ 21 h 34"/>
                    <a:gd name="T16" fmla="*/ 44 w 46"/>
                    <a:gd name="T17" fmla="*/ 17 h 34"/>
                    <a:gd name="T18" fmla="*/ 45 w 46"/>
                    <a:gd name="T19" fmla="*/ 13 h 34"/>
                    <a:gd name="T20" fmla="*/ 46 w 46"/>
                    <a:gd name="T21" fmla="*/ 8 h 34"/>
                    <a:gd name="T22" fmla="*/ 46 w 46"/>
                    <a:gd name="T23" fmla="*/ 3 h 34"/>
                    <a:gd name="T24" fmla="*/ 46 w 46"/>
                    <a:gd name="T25" fmla="*/ 1 h 34"/>
                    <a:gd name="T26" fmla="*/ 44 w 46"/>
                    <a:gd name="T27" fmla="*/ 0 h 34"/>
                    <a:gd name="T28" fmla="*/ 42 w 46"/>
                    <a:gd name="T29" fmla="*/ 0 h 34"/>
                    <a:gd name="T30" fmla="*/ 39 w 46"/>
                    <a:gd name="T31" fmla="*/ 0 h 34"/>
                    <a:gd name="T32" fmla="*/ 32 w 46"/>
                    <a:gd name="T33" fmla="*/ 2 h 34"/>
                    <a:gd name="T34" fmla="*/ 27 w 46"/>
                    <a:gd name="T35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2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25 h 25"/>
                    <a:gd name="T2" fmla="*/ 14 w 48"/>
                    <a:gd name="T3" fmla="*/ 25 h 25"/>
                    <a:gd name="T4" fmla="*/ 28 w 48"/>
                    <a:gd name="T5" fmla="*/ 25 h 25"/>
                    <a:gd name="T6" fmla="*/ 30 w 48"/>
                    <a:gd name="T7" fmla="*/ 24 h 25"/>
                    <a:gd name="T8" fmla="*/ 33 w 48"/>
                    <a:gd name="T9" fmla="*/ 22 h 25"/>
                    <a:gd name="T10" fmla="*/ 37 w 48"/>
                    <a:gd name="T11" fmla="*/ 18 h 25"/>
                    <a:gd name="T12" fmla="*/ 40 w 48"/>
                    <a:gd name="T13" fmla="*/ 15 h 25"/>
                    <a:gd name="T14" fmla="*/ 45 w 48"/>
                    <a:gd name="T15" fmla="*/ 7 h 25"/>
                    <a:gd name="T16" fmla="*/ 48 w 48"/>
                    <a:gd name="T17" fmla="*/ 0 h 25"/>
                    <a:gd name="T18" fmla="*/ 40 w 48"/>
                    <a:gd name="T19" fmla="*/ 1 h 25"/>
                    <a:gd name="T20" fmla="*/ 33 w 48"/>
                    <a:gd name="T21" fmla="*/ 2 h 25"/>
                    <a:gd name="T22" fmla="*/ 28 w 48"/>
                    <a:gd name="T23" fmla="*/ 5 h 25"/>
                    <a:gd name="T24" fmla="*/ 21 w 48"/>
                    <a:gd name="T25" fmla="*/ 8 h 25"/>
                    <a:gd name="T26" fmla="*/ 11 w 48"/>
                    <a:gd name="T27" fmla="*/ 16 h 25"/>
                    <a:gd name="T28" fmla="*/ 0 w 48"/>
                    <a:gd name="T2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3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7 h 37"/>
                    <a:gd name="T4" fmla="*/ 11 w 30"/>
                    <a:gd name="T5" fmla="*/ 36 h 37"/>
                    <a:gd name="T6" fmla="*/ 20 w 30"/>
                    <a:gd name="T7" fmla="*/ 34 h 37"/>
                    <a:gd name="T8" fmla="*/ 22 w 30"/>
                    <a:gd name="T9" fmla="*/ 33 h 37"/>
                    <a:gd name="T10" fmla="*/ 26 w 30"/>
                    <a:gd name="T11" fmla="*/ 32 h 37"/>
                    <a:gd name="T12" fmla="*/ 28 w 30"/>
                    <a:gd name="T13" fmla="*/ 30 h 37"/>
                    <a:gd name="T14" fmla="*/ 29 w 30"/>
                    <a:gd name="T15" fmla="*/ 28 h 37"/>
                    <a:gd name="T16" fmla="*/ 30 w 30"/>
                    <a:gd name="T17" fmla="*/ 23 h 37"/>
                    <a:gd name="T18" fmla="*/ 30 w 30"/>
                    <a:gd name="T19" fmla="*/ 16 h 37"/>
                    <a:gd name="T20" fmla="*/ 29 w 30"/>
                    <a:gd name="T21" fmla="*/ 9 h 37"/>
                    <a:gd name="T22" fmla="*/ 27 w 30"/>
                    <a:gd name="T23" fmla="*/ 0 h 37"/>
                    <a:gd name="T24" fmla="*/ 0 w 30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4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33 w 113"/>
                    <a:gd name="T1" fmla="*/ 3 h 46"/>
                    <a:gd name="T2" fmla="*/ 22 w 113"/>
                    <a:gd name="T3" fmla="*/ 3 h 46"/>
                    <a:gd name="T4" fmla="*/ 12 w 113"/>
                    <a:gd name="T5" fmla="*/ 5 h 46"/>
                    <a:gd name="T6" fmla="*/ 7 w 113"/>
                    <a:gd name="T7" fmla="*/ 7 h 46"/>
                    <a:gd name="T8" fmla="*/ 3 w 113"/>
                    <a:gd name="T9" fmla="*/ 11 h 46"/>
                    <a:gd name="T10" fmla="*/ 1 w 113"/>
                    <a:gd name="T11" fmla="*/ 15 h 46"/>
                    <a:gd name="T12" fmla="*/ 0 w 113"/>
                    <a:gd name="T13" fmla="*/ 21 h 46"/>
                    <a:gd name="T14" fmla="*/ 6 w 113"/>
                    <a:gd name="T15" fmla="*/ 27 h 46"/>
                    <a:gd name="T16" fmla="*/ 10 w 113"/>
                    <a:gd name="T17" fmla="*/ 33 h 46"/>
                    <a:gd name="T18" fmla="*/ 16 w 113"/>
                    <a:gd name="T19" fmla="*/ 37 h 46"/>
                    <a:gd name="T20" fmla="*/ 20 w 113"/>
                    <a:gd name="T21" fmla="*/ 41 h 46"/>
                    <a:gd name="T22" fmla="*/ 25 w 113"/>
                    <a:gd name="T23" fmla="*/ 43 h 46"/>
                    <a:gd name="T24" fmla="*/ 30 w 113"/>
                    <a:gd name="T25" fmla="*/ 45 h 46"/>
                    <a:gd name="T26" fmla="*/ 35 w 113"/>
                    <a:gd name="T27" fmla="*/ 46 h 46"/>
                    <a:gd name="T28" fmla="*/ 40 w 113"/>
                    <a:gd name="T29" fmla="*/ 46 h 46"/>
                    <a:gd name="T30" fmla="*/ 56 w 113"/>
                    <a:gd name="T31" fmla="*/ 46 h 46"/>
                    <a:gd name="T32" fmla="*/ 70 w 113"/>
                    <a:gd name="T33" fmla="*/ 43 h 46"/>
                    <a:gd name="T34" fmla="*/ 76 w 113"/>
                    <a:gd name="T35" fmla="*/ 41 h 46"/>
                    <a:gd name="T36" fmla="*/ 81 w 113"/>
                    <a:gd name="T37" fmla="*/ 38 h 46"/>
                    <a:gd name="T38" fmla="*/ 87 w 113"/>
                    <a:gd name="T39" fmla="*/ 36 h 46"/>
                    <a:gd name="T40" fmla="*/ 91 w 113"/>
                    <a:gd name="T41" fmla="*/ 33 h 46"/>
                    <a:gd name="T42" fmla="*/ 99 w 113"/>
                    <a:gd name="T43" fmla="*/ 27 h 46"/>
                    <a:gd name="T44" fmla="*/ 106 w 113"/>
                    <a:gd name="T45" fmla="*/ 20 h 46"/>
                    <a:gd name="T46" fmla="*/ 110 w 113"/>
                    <a:gd name="T47" fmla="*/ 12 h 46"/>
                    <a:gd name="T48" fmla="*/ 113 w 113"/>
                    <a:gd name="T49" fmla="*/ 3 h 46"/>
                    <a:gd name="T50" fmla="*/ 99 w 113"/>
                    <a:gd name="T51" fmla="*/ 1 h 46"/>
                    <a:gd name="T52" fmla="*/ 87 w 113"/>
                    <a:gd name="T53" fmla="*/ 0 h 46"/>
                    <a:gd name="T54" fmla="*/ 76 w 113"/>
                    <a:gd name="T55" fmla="*/ 0 h 46"/>
                    <a:gd name="T56" fmla="*/ 66 w 113"/>
                    <a:gd name="T57" fmla="*/ 1 h 46"/>
                    <a:gd name="T58" fmla="*/ 48 w 113"/>
                    <a:gd name="T59" fmla="*/ 2 h 46"/>
                    <a:gd name="T60" fmla="*/ 33 w 113"/>
                    <a:gd name="T61" fmla="*/ 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5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79 h 82"/>
                    <a:gd name="T2" fmla="*/ 2 w 153"/>
                    <a:gd name="T3" fmla="*/ 81 h 82"/>
                    <a:gd name="T4" fmla="*/ 6 w 153"/>
                    <a:gd name="T5" fmla="*/ 82 h 82"/>
                    <a:gd name="T6" fmla="*/ 10 w 153"/>
                    <a:gd name="T7" fmla="*/ 82 h 82"/>
                    <a:gd name="T8" fmla="*/ 14 w 153"/>
                    <a:gd name="T9" fmla="*/ 82 h 82"/>
                    <a:gd name="T10" fmla="*/ 23 w 153"/>
                    <a:gd name="T11" fmla="*/ 80 h 82"/>
                    <a:gd name="T12" fmla="*/ 33 w 153"/>
                    <a:gd name="T13" fmla="*/ 79 h 82"/>
                    <a:gd name="T14" fmla="*/ 40 w 153"/>
                    <a:gd name="T15" fmla="*/ 79 h 82"/>
                    <a:gd name="T16" fmla="*/ 47 w 153"/>
                    <a:gd name="T17" fmla="*/ 78 h 82"/>
                    <a:gd name="T18" fmla="*/ 56 w 153"/>
                    <a:gd name="T19" fmla="*/ 76 h 82"/>
                    <a:gd name="T20" fmla="*/ 65 w 153"/>
                    <a:gd name="T21" fmla="*/ 74 h 82"/>
                    <a:gd name="T22" fmla="*/ 83 w 153"/>
                    <a:gd name="T23" fmla="*/ 68 h 82"/>
                    <a:gd name="T24" fmla="*/ 103 w 153"/>
                    <a:gd name="T25" fmla="*/ 59 h 82"/>
                    <a:gd name="T26" fmla="*/ 112 w 153"/>
                    <a:gd name="T27" fmla="*/ 54 h 82"/>
                    <a:gd name="T28" fmla="*/ 121 w 153"/>
                    <a:gd name="T29" fmla="*/ 49 h 82"/>
                    <a:gd name="T30" fmla="*/ 129 w 153"/>
                    <a:gd name="T31" fmla="*/ 43 h 82"/>
                    <a:gd name="T32" fmla="*/ 136 w 153"/>
                    <a:gd name="T33" fmla="*/ 38 h 82"/>
                    <a:gd name="T34" fmla="*/ 142 w 153"/>
                    <a:gd name="T35" fmla="*/ 32 h 82"/>
                    <a:gd name="T36" fmla="*/ 147 w 153"/>
                    <a:gd name="T37" fmla="*/ 25 h 82"/>
                    <a:gd name="T38" fmla="*/ 150 w 153"/>
                    <a:gd name="T39" fmla="*/ 19 h 82"/>
                    <a:gd name="T40" fmla="*/ 153 w 153"/>
                    <a:gd name="T41" fmla="*/ 12 h 82"/>
                    <a:gd name="T42" fmla="*/ 134 w 153"/>
                    <a:gd name="T43" fmla="*/ 8 h 82"/>
                    <a:gd name="T44" fmla="*/ 115 w 153"/>
                    <a:gd name="T45" fmla="*/ 3 h 82"/>
                    <a:gd name="T46" fmla="*/ 96 w 153"/>
                    <a:gd name="T47" fmla="*/ 1 h 82"/>
                    <a:gd name="T48" fmla="*/ 77 w 153"/>
                    <a:gd name="T49" fmla="*/ 0 h 82"/>
                    <a:gd name="T50" fmla="*/ 68 w 153"/>
                    <a:gd name="T51" fmla="*/ 1 h 82"/>
                    <a:gd name="T52" fmla="*/ 60 w 153"/>
                    <a:gd name="T53" fmla="*/ 1 h 82"/>
                    <a:gd name="T54" fmla="*/ 52 w 153"/>
                    <a:gd name="T55" fmla="*/ 2 h 82"/>
                    <a:gd name="T56" fmla="*/ 45 w 153"/>
                    <a:gd name="T57" fmla="*/ 4 h 82"/>
                    <a:gd name="T58" fmla="*/ 38 w 153"/>
                    <a:gd name="T59" fmla="*/ 7 h 82"/>
                    <a:gd name="T60" fmla="*/ 34 w 153"/>
                    <a:gd name="T61" fmla="*/ 10 h 82"/>
                    <a:gd name="T62" fmla="*/ 30 w 153"/>
                    <a:gd name="T63" fmla="*/ 14 h 82"/>
                    <a:gd name="T64" fmla="*/ 26 w 153"/>
                    <a:gd name="T65" fmla="*/ 18 h 82"/>
                    <a:gd name="T66" fmla="*/ 32 w 153"/>
                    <a:gd name="T67" fmla="*/ 23 h 82"/>
                    <a:gd name="T68" fmla="*/ 36 w 153"/>
                    <a:gd name="T69" fmla="*/ 29 h 82"/>
                    <a:gd name="T70" fmla="*/ 38 w 153"/>
                    <a:gd name="T71" fmla="*/ 32 h 82"/>
                    <a:gd name="T72" fmla="*/ 42 w 153"/>
                    <a:gd name="T73" fmla="*/ 34 h 82"/>
                    <a:gd name="T74" fmla="*/ 44 w 153"/>
                    <a:gd name="T75" fmla="*/ 36 h 82"/>
                    <a:gd name="T76" fmla="*/ 46 w 153"/>
                    <a:gd name="T77" fmla="*/ 36 h 82"/>
                    <a:gd name="T78" fmla="*/ 40 w 153"/>
                    <a:gd name="T79" fmla="*/ 41 h 82"/>
                    <a:gd name="T80" fmla="*/ 33 w 153"/>
                    <a:gd name="T81" fmla="*/ 46 h 82"/>
                    <a:gd name="T82" fmla="*/ 29 w 153"/>
                    <a:gd name="T83" fmla="*/ 52 h 82"/>
                    <a:gd name="T84" fmla="*/ 23 w 153"/>
                    <a:gd name="T85" fmla="*/ 57 h 82"/>
                    <a:gd name="T86" fmla="*/ 18 w 153"/>
                    <a:gd name="T87" fmla="*/ 64 h 82"/>
                    <a:gd name="T88" fmla="*/ 13 w 153"/>
                    <a:gd name="T89" fmla="*/ 69 h 82"/>
                    <a:gd name="T90" fmla="*/ 7 w 153"/>
                    <a:gd name="T91" fmla="*/ 75 h 82"/>
                    <a:gd name="T92" fmla="*/ 0 w 153"/>
                    <a:gd name="T93" fmla="*/ 79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6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37 h 50"/>
                    <a:gd name="T2" fmla="*/ 5 w 86"/>
                    <a:gd name="T3" fmla="*/ 41 h 50"/>
                    <a:gd name="T4" fmla="*/ 11 w 86"/>
                    <a:gd name="T5" fmla="*/ 44 h 50"/>
                    <a:gd name="T6" fmla="*/ 16 w 86"/>
                    <a:gd name="T7" fmla="*/ 47 h 50"/>
                    <a:gd name="T8" fmla="*/ 23 w 86"/>
                    <a:gd name="T9" fmla="*/ 48 h 50"/>
                    <a:gd name="T10" fmla="*/ 35 w 86"/>
                    <a:gd name="T11" fmla="*/ 49 h 50"/>
                    <a:gd name="T12" fmla="*/ 46 w 86"/>
                    <a:gd name="T13" fmla="*/ 50 h 50"/>
                    <a:gd name="T14" fmla="*/ 58 w 86"/>
                    <a:gd name="T15" fmla="*/ 49 h 50"/>
                    <a:gd name="T16" fmla="*/ 67 w 86"/>
                    <a:gd name="T17" fmla="*/ 48 h 50"/>
                    <a:gd name="T18" fmla="*/ 73 w 86"/>
                    <a:gd name="T19" fmla="*/ 47 h 50"/>
                    <a:gd name="T20" fmla="*/ 79 w 86"/>
                    <a:gd name="T21" fmla="*/ 44 h 50"/>
                    <a:gd name="T22" fmla="*/ 82 w 86"/>
                    <a:gd name="T23" fmla="*/ 41 h 50"/>
                    <a:gd name="T24" fmla="*/ 84 w 86"/>
                    <a:gd name="T25" fmla="*/ 37 h 50"/>
                    <a:gd name="T26" fmla="*/ 85 w 86"/>
                    <a:gd name="T27" fmla="*/ 32 h 50"/>
                    <a:gd name="T28" fmla="*/ 86 w 86"/>
                    <a:gd name="T29" fmla="*/ 25 h 50"/>
                    <a:gd name="T30" fmla="*/ 85 w 86"/>
                    <a:gd name="T31" fmla="*/ 17 h 50"/>
                    <a:gd name="T32" fmla="*/ 84 w 86"/>
                    <a:gd name="T33" fmla="*/ 10 h 50"/>
                    <a:gd name="T34" fmla="*/ 83 w 86"/>
                    <a:gd name="T35" fmla="*/ 7 h 50"/>
                    <a:gd name="T36" fmla="*/ 81 w 86"/>
                    <a:gd name="T37" fmla="*/ 5 h 50"/>
                    <a:gd name="T38" fmla="*/ 77 w 86"/>
                    <a:gd name="T39" fmla="*/ 2 h 50"/>
                    <a:gd name="T40" fmla="*/ 73 w 86"/>
                    <a:gd name="T41" fmla="*/ 0 h 50"/>
                    <a:gd name="T42" fmla="*/ 0 w 86"/>
                    <a:gd name="T43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7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19 w 172"/>
                    <a:gd name="T1" fmla="*/ 61 h 74"/>
                    <a:gd name="T2" fmla="*/ 109 w 172"/>
                    <a:gd name="T3" fmla="*/ 61 h 74"/>
                    <a:gd name="T4" fmla="*/ 99 w 172"/>
                    <a:gd name="T5" fmla="*/ 61 h 74"/>
                    <a:gd name="T6" fmla="*/ 90 w 172"/>
                    <a:gd name="T7" fmla="*/ 61 h 74"/>
                    <a:gd name="T8" fmla="*/ 80 w 172"/>
                    <a:gd name="T9" fmla="*/ 61 h 74"/>
                    <a:gd name="T10" fmla="*/ 60 w 172"/>
                    <a:gd name="T11" fmla="*/ 74 h 74"/>
                    <a:gd name="T12" fmla="*/ 33 w 172"/>
                    <a:gd name="T13" fmla="*/ 74 h 74"/>
                    <a:gd name="T14" fmla="*/ 36 w 172"/>
                    <a:gd name="T15" fmla="*/ 61 h 74"/>
                    <a:gd name="T16" fmla="*/ 39 w 172"/>
                    <a:gd name="T17" fmla="*/ 49 h 74"/>
                    <a:gd name="T18" fmla="*/ 30 w 172"/>
                    <a:gd name="T19" fmla="*/ 49 h 74"/>
                    <a:gd name="T20" fmla="*/ 23 w 172"/>
                    <a:gd name="T21" fmla="*/ 48 h 74"/>
                    <a:gd name="T22" fmla="*/ 15 w 172"/>
                    <a:gd name="T23" fmla="*/ 47 h 74"/>
                    <a:gd name="T24" fmla="*/ 9 w 172"/>
                    <a:gd name="T25" fmla="*/ 45 h 74"/>
                    <a:gd name="T26" fmla="*/ 5 w 172"/>
                    <a:gd name="T27" fmla="*/ 42 h 74"/>
                    <a:gd name="T28" fmla="*/ 2 w 172"/>
                    <a:gd name="T29" fmla="*/ 39 h 74"/>
                    <a:gd name="T30" fmla="*/ 1 w 172"/>
                    <a:gd name="T31" fmla="*/ 35 h 74"/>
                    <a:gd name="T32" fmla="*/ 0 w 172"/>
                    <a:gd name="T33" fmla="*/ 31 h 74"/>
                    <a:gd name="T34" fmla="*/ 1 w 172"/>
                    <a:gd name="T35" fmla="*/ 26 h 74"/>
                    <a:gd name="T36" fmla="*/ 2 w 172"/>
                    <a:gd name="T37" fmla="*/ 21 h 74"/>
                    <a:gd name="T38" fmla="*/ 5 w 172"/>
                    <a:gd name="T39" fmla="*/ 17 h 74"/>
                    <a:gd name="T40" fmla="*/ 8 w 172"/>
                    <a:gd name="T41" fmla="*/ 14 h 74"/>
                    <a:gd name="T42" fmla="*/ 13 w 172"/>
                    <a:gd name="T43" fmla="*/ 10 h 74"/>
                    <a:gd name="T44" fmla="*/ 18 w 172"/>
                    <a:gd name="T45" fmla="*/ 7 h 74"/>
                    <a:gd name="T46" fmla="*/ 24 w 172"/>
                    <a:gd name="T47" fmla="*/ 5 h 74"/>
                    <a:gd name="T48" fmla="*/ 29 w 172"/>
                    <a:gd name="T49" fmla="*/ 4 h 74"/>
                    <a:gd name="T50" fmla="*/ 42 w 172"/>
                    <a:gd name="T51" fmla="*/ 1 h 74"/>
                    <a:gd name="T52" fmla="*/ 56 w 172"/>
                    <a:gd name="T53" fmla="*/ 0 h 74"/>
                    <a:gd name="T54" fmla="*/ 69 w 172"/>
                    <a:gd name="T55" fmla="*/ 0 h 74"/>
                    <a:gd name="T56" fmla="*/ 80 w 172"/>
                    <a:gd name="T57" fmla="*/ 0 h 74"/>
                    <a:gd name="T58" fmla="*/ 94 w 172"/>
                    <a:gd name="T59" fmla="*/ 1 h 74"/>
                    <a:gd name="T60" fmla="*/ 106 w 172"/>
                    <a:gd name="T61" fmla="*/ 4 h 74"/>
                    <a:gd name="T62" fmla="*/ 117 w 172"/>
                    <a:gd name="T63" fmla="*/ 7 h 74"/>
                    <a:gd name="T64" fmla="*/ 128 w 172"/>
                    <a:gd name="T65" fmla="*/ 13 h 74"/>
                    <a:gd name="T66" fmla="*/ 139 w 172"/>
                    <a:gd name="T67" fmla="*/ 17 h 74"/>
                    <a:gd name="T68" fmla="*/ 150 w 172"/>
                    <a:gd name="T69" fmla="*/ 21 h 74"/>
                    <a:gd name="T70" fmla="*/ 161 w 172"/>
                    <a:gd name="T71" fmla="*/ 24 h 74"/>
                    <a:gd name="T72" fmla="*/ 172 w 172"/>
                    <a:gd name="T73" fmla="*/ 25 h 74"/>
                    <a:gd name="T74" fmla="*/ 172 w 172"/>
                    <a:gd name="T75" fmla="*/ 43 h 74"/>
                    <a:gd name="T76" fmla="*/ 169 w 172"/>
                    <a:gd name="T77" fmla="*/ 48 h 74"/>
                    <a:gd name="T78" fmla="*/ 165 w 172"/>
                    <a:gd name="T79" fmla="*/ 53 h 74"/>
                    <a:gd name="T80" fmla="*/ 161 w 172"/>
                    <a:gd name="T81" fmla="*/ 57 h 74"/>
                    <a:gd name="T82" fmla="*/ 158 w 172"/>
                    <a:gd name="T83" fmla="*/ 60 h 74"/>
                    <a:gd name="T84" fmla="*/ 153 w 172"/>
                    <a:gd name="T85" fmla="*/ 62 h 74"/>
                    <a:gd name="T86" fmla="*/ 149 w 172"/>
                    <a:gd name="T87" fmla="*/ 63 h 74"/>
                    <a:gd name="T88" fmla="*/ 146 w 172"/>
                    <a:gd name="T89" fmla="*/ 65 h 74"/>
                    <a:gd name="T90" fmla="*/ 141 w 172"/>
                    <a:gd name="T91" fmla="*/ 65 h 74"/>
                    <a:gd name="T92" fmla="*/ 131 w 172"/>
                    <a:gd name="T93" fmla="*/ 65 h 74"/>
                    <a:gd name="T94" fmla="*/ 121 w 172"/>
                    <a:gd name="T95" fmla="*/ 63 h 74"/>
                    <a:gd name="T96" fmla="*/ 112 w 172"/>
                    <a:gd name="T97" fmla="*/ 59 h 74"/>
                    <a:gd name="T98" fmla="*/ 99 w 172"/>
                    <a:gd name="T99" fmla="*/ 55 h 74"/>
                    <a:gd name="T100" fmla="*/ 106 w 172"/>
                    <a:gd name="T101" fmla="*/ 55 h 74"/>
                    <a:gd name="T102" fmla="*/ 119 w 172"/>
                    <a:gd name="T103" fmla="*/ 61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8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27 w 120"/>
                    <a:gd name="T1" fmla="*/ 49 h 49"/>
                    <a:gd name="T2" fmla="*/ 47 w 120"/>
                    <a:gd name="T3" fmla="*/ 49 h 49"/>
                    <a:gd name="T4" fmla="*/ 64 w 120"/>
                    <a:gd name="T5" fmla="*/ 48 h 49"/>
                    <a:gd name="T6" fmla="*/ 78 w 120"/>
                    <a:gd name="T7" fmla="*/ 46 h 49"/>
                    <a:gd name="T8" fmla="*/ 90 w 120"/>
                    <a:gd name="T9" fmla="*/ 43 h 49"/>
                    <a:gd name="T10" fmla="*/ 96 w 120"/>
                    <a:gd name="T11" fmla="*/ 39 h 49"/>
                    <a:gd name="T12" fmla="*/ 100 w 120"/>
                    <a:gd name="T13" fmla="*/ 37 h 49"/>
                    <a:gd name="T14" fmla="*/ 104 w 120"/>
                    <a:gd name="T15" fmla="*/ 34 h 49"/>
                    <a:gd name="T16" fmla="*/ 108 w 120"/>
                    <a:gd name="T17" fmla="*/ 31 h 49"/>
                    <a:gd name="T18" fmla="*/ 114 w 120"/>
                    <a:gd name="T19" fmla="*/ 22 h 49"/>
                    <a:gd name="T20" fmla="*/ 120 w 120"/>
                    <a:gd name="T21" fmla="*/ 12 h 49"/>
                    <a:gd name="T22" fmla="*/ 102 w 120"/>
                    <a:gd name="T23" fmla="*/ 6 h 49"/>
                    <a:gd name="T24" fmla="*/ 84 w 120"/>
                    <a:gd name="T25" fmla="*/ 3 h 49"/>
                    <a:gd name="T26" fmla="*/ 66 w 120"/>
                    <a:gd name="T27" fmla="*/ 1 h 49"/>
                    <a:gd name="T28" fmla="*/ 50 w 120"/>
                    <a:gd name="T29" fmla="*/ 0 h 49"/>
                    <a:gd name="T30" fmla="*/ 34 w 120"/>
                    <a:gd name="T31" fmla="*/ 1 h 49"/>
                    <a:gd name="T32" fmla="*/ 20 w 120"/>
                    <a:gd name="T33" fmla="*/ 2 h 49"/>
                    <a:gd name="T34" fmla="*/ 9 w 120"/>
                    <a:gd name="T35" fmla="*/ 4 h 49"/>
                    <a:gd name="T36" fmla="*/ 0 w 120"/>
                    <a:gd name="T37" fmla="*/ 6 h 49"/>
                    <a:gd name="T38" fmla="*/ 0 w 120"/>
                    <a:gd name="T39" fmla="*/ 30 h 49"/>
                    <a:gd name="T40" fmla="*/ 2 w 120"/>
                    <a:gd name="T41" fmla="*/ 35 h 49"/>
                    <a:gd name="T42" fmla="*/ 6 w 120"/>
                    <a:gd name="T43" fmla="*/ 38 h 49"/>
                    <a:gd name="T44" fmla="*/ 9 w 120"/>
                    <a:gd name="T45" fmla="*/ 41 h 49"/>
                    <a:gd name="T46" fmla="*/ 13 w 120"/>
                    <a:gd name="T47" fmla="*/ 45 h 49"/>
                    <a:gd name="T48" fmla="*/ 20 w 120"/>
                    <a:gd name="T49" fmla="*/ 48 h 49"/>
                    <a:gd name="T50" fmla="*/ 27 w 120"/>
                    <a:gd name="T51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99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3 w 85"/>
                    <a:gd name="T1" fmla="*/ 0 h 61"/>
                    <a:gd name="T2" fmla="*/ 22 w 85"/>
                    <a:gd name="T3" fmla="*/ 5 h 61"/>
                    <a:gd name="T4" fmla="*/ 11 w 85"/>
                    <a:gd name="T5" fmla="*/ 12 h 61"/>
                    <a:gd name="T6" fmla="*/ 6 w 85"/>
                    <a:gd name="T7" fmla="*/ 17 h 61"/>
                    <a:gd name="T8" fmla="*/ 3 w 85"/>
                    <a:gd name="T9" fmla="*/ 21 h 61"/>
                    <a:gd name="T10" fmla="*/ 0 w 85"/>
                    <a:gd name="T11" fmla="*/ 25 h 61"/>
                    <a:gd name="T12" fmla="*/ 0 w 85"/>
                    <a:gd name="T13" fmla="*/ 31 h 61"/>
                    <a:gd name="T14" fmla="*/ 0 w 85"/>
                    <a:gd name="T15" fmla="*/ 34 h 61"/>
                    <a:gd name="T16" fmla="*/ 1 w 85"/>
                    <a:gd name="T17" fmla="*/ 37 h 61"/>
                    <a:gd name="T18" fmla="*/ 2 w 85"/>
                    <a:gd name="T19" fmla="*/ 40 h 61"/>
                    <a:gd name="T20" fmla="*/ 5 w 85"/>
                    <a:gd name="T21" fmla="*/ 43 h 61"/>
                    <a:gd name="T22" fmla="*/ 11 w 85"/>
                    <a:gd name="T23" fmla="*/ 48 h 61"/>
                    <a:gd name="T24" fmla="*/ 18 w 85"/>
                    <a:gd name="T25" fmla="*/ 53 h 61"/>
                    <a:gd name="T26" fmla="*/ 27 w 85"/>
                    <a:gd name="T27" fmla="*/ 56 h 61"/>
                    <a:gd name="T28" fmla="*/ 36 w 85"/>
                    <a:gd name="T29" fmla="*/ 59 h 61"/>
                    <a:gd name="T30" fmla="*/ 45 w 85"/>
                    <a:gd name="T31" fmla="*/ 61 h 61"/>
                    <a:gd name="T32" fmla="*/ 53 w 85"/>
                    <a:gd name="T33" fmla="*/ 61 h 61"/>
                    <a:gd name="T34" fmla="*/ 56 w 85"/>
                    <a:gd name="T35" fmla="*/ 61 h 61"/>
                    <a:gd name="T36" fmla="*/ 59 w 85"/>
                    <a:gd name="T37" fmla="*/ 60 h 61"/>
                    <a:gd name="T38" fmla="*/ 62 w 85"/>
                    <a:gd name="T39" fmla="*/ 59 h 61"/>
                    <a:gd name="T40" fmla="*/ 66 w 85"/>
                    <a:gd name="T41" fmla="*/ 57 h 61"/>
                    <a:gd name="T42" fmla="*/ 72 w 85"/>
                    <a:gd name="T43" fmla="*/ 52 h 61"/>
                    <a:gd name="T44" fmla="*/ 77 w 85"/>
                    <a:gd name="T45" fmla="*/ 47 h 61"/>
                    <a:gd name="T46" fmla="*/ 80 w 85"/>
                    <a:gd name="T47" fmla="*/ 40 h 61"/>
                    <a:gd name="T48" fmla="*/ 83 w 85"/>
                    <a:gd name="T49" fmla="*/ 33 h 61"/>
                    <a:gd name="T50" fmla="*/ 85 w 85"/>
                    <a:gd name="T51" fmla="*/ 25 h 61"/>
                    <a:gd name="T52" fmla="*/ 85 w 85"/>
                    <a:gd name="T53" fmla="*/ 18 h 61"/>
                    <a:gd name="T54" fmla="*/ 33 w 85"/>
                    <a:gd name="T5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0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6 h 19"/>
                    <a:gd name="T2" fmla="*/ 7 w 100"/>
                    <a:gd name="T3" fmla="*/ 11 h 19"/>
                    <a:gd name="T4" fmla="*/ 13 w 100"/>
                    <a:gd name="T5" fmla="*/ 15 h 19"/>
                    <a:gd name="T6" fmla="*/ 21 w 100"/>
                    <a:gd name="T7" fmla="*/ 18 h 19"/>
                    <a:gd name="T8" fmla="*/ 27 w 100"/>
                    <a:gd name="T9" fmla="*/ 19 h 19"/>
                    <a:gd name="T10" fmla="*/ 100 w 100"/>
                    <a:gd name="T11" fmla="*/ 6 h 19"/>
                    <a:gd name="T12" fmla="*/ 73 w 100"/>
                    <a:gd name="T13" fmla="*/ 2 h 19"/>
                    <a:gd name="T14" fmla="*/ 47 w 100"/>
                    <a:gd name="T15" fmla="*/ 0 h 19"/>
                    <a:gd name="T16" fmla="*/ 36 w 100"/>
                    <a:gd name="T17" fmla="*/ 0 h 19"/>
                    <a:gd name="T18" fmla="*/ 24 w 100"/>
                    <a:gd name="T19" fmla="*/ 1 h 19"/>
                    <a:gd name="T20" fmla="*/ 12 w 100"/>
                    <a:gd name="T21" fmla="*/ 3 h 19"/>
                    <a:gd name="T22" fmla="*/ 0 w 100"/>
                    <a:gd name="T23" fmla="*/ 6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1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27 h 45"/>
                    <a:gd name="T2" fmla="*/ 0 w 166"/>
                    <a:gd name="T3" fmla="*/ 29 h 45"/>
                    <a:gd name="T4" fmla="*/ 3 w 166"/>
                    <a:gd name="T5" fmla="*/ 31 h 45"/>
                    <a:gd name="T6" fmla="*/ 8 w 166"/>
                    <a:gd name="T7" fmla="*/ 33 h 45"/>
                    <a:gd name="T8" fmla="*/ 13 w 166"/>
                    <a:gd name="T9" fmla="*/ 35 h 45"/>
                    <a:gd name="T10" fmla="*/ 27 w 166"/>
                    <a:gd name="T11" fmla="*/ 38 h 45"/>
                    <a:gd name="T12" fmla="*/ 44 w 166"/>
                    <a:gd name="T13" fmla="*/ 41 h 45"/>
                    <a:gd name="T14" fmla="*/ 75 w 166"/>
                    <a:gd name="T15" fmla="*/ 44 h 45"/>
                    <a:gd name="T16" fmla="*/ 92 w 166"/>
                    <a:gd name="T17" fmla="*/ 45 h 45"/>
                    <a:gd name="T18" fmla="*/ 166 w 166"/>
                    <a:gd name="T19" fmla="*/ 27 h 45"/>
                    <a:gd name="T20" fmla="*/ 157 w 166"/>
                    <a:gd name="T21" fmla="*/ 25 h 45"/>
                    <a:gd name="T22" fmla="*/ 137 w 166"/>
                    <a:gd name="T23" fmla="*/ 19 h 45"/>
                    <a:gd name="T24" fmla="*/ 110 w 166"/>
                    <a:gd name="T25" fmla="*/ 11 h 45"/>
                    <a:gd name="T26" fmla="*/ 80 w 166"/>
                    <a:gd name="T27" fmla="*/ 4 h 45"/>
                    <a:gd name="T28" fmla="*/ 65 w 166"/>
                    <a:gd name="T29" fmla="*/ 2 h 45"/>
                    <a:gd name="T30" fmla="*/ 50 w 166"/>
                    <a:gd name="T31" fmla="*/ 1 h 45"/>
                    <a:gd name="T32" fmla="*/ 36 w 166"/>
                    <a:gd name="T33" fmla="*/ 0 h 45"/>
                    <a:gd name="T34" fmla="*/ 24 w 166"/>
                    <a:gd name="T35" fmla="*/ 2 h 45"/>
                    <a:gd name="T36" fmla="*/ 19 w 166"/>
                    <a:gd name="T37" fmla="*/ 3 h 45"/>
                    <a:gd name="T38" fmla="*/ 14 w 166"/>
                    <a:gd name="T39" fmla="*/ 5 h 45"/>
                    <a:gd name="T40" fmla="*/ 10 w 166"/>
                    <a:gd name="T41" fmla="*/ 7 h 45"/>
                    <a:gd name="T42" fmla="*/ 7 w 166"/>
                    <a:gd name="T43" fmla="*/ 10 h 45"/>
                    <a:gd name="T44" fmla="*/ 3 w 166"/>
                    <a:gd name="T45" fmla="*/ 13 h 45"/>
                    <a:gd name="T46" fmla="*/ 1 w 166"/>
                    <a:gd name="T47" fmla="*/ 17 h 45"/>
                    <a:gd name="T48" fmla="*/ 0 w 166"/>
                    <a:gd name="T49" fmla="*/ 22 h 45"/>
                    <a:gd name="T50" fmla="*/ 0 w 166"/>
                    <a:gd name="T51" fmla="*/ 2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2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9 h 25"/>
                    <a:gd name="T4" fmla="*/ 3 w 33"/>
                    <a:gd name="T5" fmla="*/ 15 h 25"/>
                    <a:gd name="T6" fmla="*/ 6 w 33"/>
                    <a:gd name="T7" fmla="*/ 20 h 25"/>
                    <a:gd name="T8" fmla="*/ 11 w 33"/>
                    <a:gd name="T9" fmla="*/ 22 h 25"/>
                    <a:gd name="T10" fmla="*/ 16 w 33"/>
                    <a:gd name="T11" fmla="*/ 24 h 25"/>
                    <a:gd name="T12" fmla="*/ 22 w 33"/>
                    <a:gd name="T13" fmla="*/ 25 h 25"/>
                    <a:gd name="T14" fmla="*/ 27 w 33"/>
                    <a:gd name="T15" fmla="*/ 25 h 25"/>
                    <a:gd name="T16" fmla="*/ 33 w 33"/>
                    <a:gd name="T17" fmla="*/ 25 h 25"/>
                    <a:gd name="T18" fmla="*/ 33 w 33"/>
                    <a:gd name="T19" fmla="*/ 0 h 25"/>
                    <a:gd name="T20" fmla="*/ 24 w 33"/>
                    <a:gd name="T21" fmla="*/ 0 h 25"/>
                    <a:gd name="T22" fmla="*/ 16 w 33"/>
                    <a:gd name="T23" fmla="*/ 0 h 25"/>
                    <a:gd name="T24" fmla="*/ 9 w 33"/>
                    <a:gd name="T25" fmla="*/ 0 h 25"/>
                    <a:gd name="T26" fmla="*/ 0 w 33"/>
                    <a:gd name="T2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3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2 h 62"/>
                    <a:gd name="T2" fmla="*/ 12 w 48"/>
                    <a:gd name="T3" fmla="*/ 56 h 62"/>
                    <a:gd name="T4" fmla="*/ 22 w 48"/>
                    <a:gd name="T5" fmla="*/ 50 h 62"/>
                    <a:gd name="T6" fmla="*/ 30 w 48"/>
                    <a:gd name="T7" fmla="*/ 43 h 62"/>
                    <a:gd name="T8" fmla="*/ 37 w 48"/>
                    <a:gd name="T9" fmla="*/ 36 h 62"/>
                    <a:gd name="T10" fmla="*/ 41 w 48"/>
                    <a:gd name="T11" fmla="*/ 28 h 62"/>
                    <a:gd name="T12" fmla="*/ 44 w 48"/>
                    <a:gd name="T13" fmla="*/ 19 h 62"/>
                    <a:gd name="T14" fmla="*/ 47 w 48"/>
                    <a:gd name="T15" fmla="*/ 9 h 62"/>
                    <a:gd name="T16" fmla="*/ 48 w 48"/>
                    <a:gd name="T17" fmla="*/ 0 h 62"/>
                    <a:gd name="T18" fmla="*/ 40 w 48"/>
                    <a:gd name="T19" fmla="*/ 3 h 62"/>
                    <a:gd name="T20" fmla="*/ 32 w 48"/>
                    <a:gd name="T21" fmla="*/ 6 h 62"/>
                    <a:gd name="T22" fmla="*/ 23 w 48"/>
                    <a:gd name="T23" fmla="*/ 10 h 62"/>
                    <a:gd name="T24" fmla="*/ 17 w 48"/>
                    <a:gd name="T25" fmla="*/ 15 h 62"/>
                    <a:gd name="T26" fmla="*/ 10 w 48"/>
                    <a:gd name="T27" fmla="*/ 21 h 62"/>
                    <a:gd name="T28" fmla="*/ 6 w 48"/>
                    <a:gd name="T29" fmla="*/ 27 h 62"/>
                    <a:gd name="T30" fmla="*/ 4 w 48"/>
                    <a:gd name="T31" fmla="*/ 31 h 62"/>
                    <a:gd name="T32" fmla="*/ 3 w 48"/>
                    <a:gd name="T33" fmla="*/ 35 h 62"/>
                    <a:gd name="T34" fmla="*/ 1 w 48"/>
                    <a:gd name="T35" fmla="*/ 39 h 62"/>
                    <a:gd name="T36" fmla="*/ 0 w 48"/>
                    <a:gd name="T37" fmla="*/ 43 h 62"/>
                    <a:gd name="T38" fmla="*/ 0 w 48"/>
                    <a:gd name="T39" fmla="*/ 52 h 62"/>
                    <a:gd name="T40" fmla="*/ 0 w 48"/>
                    <a:gd name="T41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4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47 w 113"/>
                    <a:gd name="T1" fmla="*/ 0 h 62"/>
                    <a:gd name="T2" fmla="*/ 36 w 113"/>
                    <a:gd name="T3" fmla="*/ 7 h 62"/>
                    <a:gd name="T4" fmla="*/ 23 w 113"/>
                    <a:gd name="T5" fmla="*/ 17 h 62"/>
                    <a:gd name="T6" fmla="*/ 11 w 113"/>
                    <a:gd name="T7" fmla="*/ 27 h 62"/>
                    <a:gd name="T8" fmla="*/ 0 w 113"/>
                    <a:gd name="T9" fmla="*/ 37 h 62"/>
                    <a:gd name="T10" fmla="*/ 22 w 113"/>
                    <a:gd name="T11" fmla="*/ 46 h 62"/>
                    <a:gd name="T12" fmla="*/ 41 w 113"/>
                    <a:gd name="T13" fmla="*/ 54 h 62"/>
                    <a:gd name="T14" fmla="*/ 51 w 113"/>
                    <a:gd name="T15" fmla="*/ 57 h 62"/>
                    <a:gd name="T16" fmla="*/ 62 w 113"/>
                    <a:gd name="T17" fmla="*/ 59 h 62"/>
                    <a:gd name="T18" fmla="*/ 73 w 113"/>
                    <a:gd name="T19" fmla="*/ 61 h 62"/>
                    <a:gd name="T20" fmla="*/ 87 w 113"/>
                    <a:gd name="T21" fmla="*/ 62 h 62"/>
                    <a:gd name="T22" fmla="*/ 97 w 113"/>
                    <a:gd name="T23" fmla="*/ 61 h 62"/>
                    <a:gd name="T24" fmla="*/ 106 w 113"/>
                    <a:gd name="T25" fmla="*/ 58 h 62"/>
                    <a:gd name="T26" fmla="*/ 109 w 113"/>
                    <a:gd name="T27" fmla="*/ 56 h 62"/>
                    <a:gd name="T28" fmla="*/ 111 w 113"/>
                    <a:gd name="T29" fmla="*/ 54 h 62"/>
                    <a:gd name="T30" fmla="*/ 113 w 113"/>
                    <a:gd name="T31" fmla="*/ 52 h 62"/>
                    <a:gd name="T32" fmla="*/ 113 w 113"/>
                    <a:gd name="T33" fmla="*/ 49 h 62"/>
                    <a:gd name="T34" fmla="*/ 91 w 113"/>
                    <a:gd name="T35" fmla="*/ 41 h 62"/>
                    <a:gd name="T36" fmla="*/ 70 w 113"/>
                    <a:gd name="T37" fmla="*/ 32 h 62"/>
                    <a:gd name="T38" fmla="*/ 65 w 113"/>
                    <a:gd name="T39" fmla="*/ 29 h 62"/>
                    <a:gd name="T40" fmla="*/ 61 w 113"/>
                    <a:gd name="T41" fmla="*/ 26 h 62"/>
                    <a:gd name="T42" fmla="*/ 57 w 113"/>
                    <a:gd name="T43" fmla="*/ 23 h 62"/>
                    <a:gd name="T44" fmla="*/ 54 w 113"/>
                    <a:gd name="T45" fmla="*/ 20 h 62"/>
                    <a:gd name="T46" fmla="*/ 51 w 113"/>
                    <a:gd name="T47" fmla="*/ 16 h 62"/>
                    <a:gd name="T48" fmla="*/ 48 w 113"/>
                    <a:gd name="T49" fmla="*/ 10 h 62"/>
                    <a:gd name="T50" fmla="*/ 47 w 113"/>
                    <a:gd name="T51" fmla="*/ 5 h 62"/>
                    <a:gd name="T52" fmla="*/ 47 w 113"/>
                    <a:gd name="T5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5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15 w 93"/>
                    <a:gd name="T3" fmla="*/ 0 h 50"/>
                    <a:gd name="T4" fmla="*/ 30 w 93"/>
                    <a:gd name="T5" fmla="*/ 1 h 50"/>
                    <a:gd name="T6" fmla="*/ 45 w 93"/>
                    <a:gd name="T7" fmla="*/ 2 h 50"/>
                    <a:gd name="T8" fmla="*/ 59 w 93"/>
                    <a:gd name="T9" fmla="*/ 5 h 50"/>
                    <a:gd name="T10" fmla="*/ 64 w 93"/>
                    <a:gd name="T11" fmla="*/ 7 h 50"/>
                    <a:gd name="T12" fmla="*/ 71 w 93"/>
                    <a:gd name="T13" fmla="*/ 9 h 50"/>
                    <a:gd name="T14" fmla="*/ 75 w 93"/>
                    <a:gd name="T15" fmla="*/ 12 h 50"/>
                    <a:gd name="T16" fmla="*/ 81 w 93"/>
                    <a:gd name="T17" fmla="*/ 16 h 50"/>
                    <a:gd name="T18" fmla="*/ 85 w 93"/>
                    <a:gd name="T19" fmla="*/ 20 h 50"/>
                    <a:gd name="T20" fmla="*/ 89 w 93"/>
                    <a:gd name="T21" fmla="*/ 25 h 50"/>
                    <a:gd name="T22" fmla="*/ 91 w 93"/>
                    <a:gd name="T23" fmla="*/ 30 h 50"/>
                    <a:gd name="T24" fmla="*/ 93 w 93"/>
                    <a:gd name="T25" fmla="*/ 37 h 50"/>
                    <a:gd name="T26" fmla="*/ 79 w 93"/>
                    <a:gd name="T27" fmla="*/ 37 h 50"/>
                    <a:gd name="T28" fmla="*/ 68 w 93"/>
                    <a:gd name="T29" fmla="*/ 39 h 50"/>
                    <a:gd name="T30" fmla="*/ 60 w 93"/>
                    <a:gd name="T31" fmla="*/ 41 h 50"/>
                    <a:gd name="T32" fmla="*/ 52 w 93"/>
                    <a:gd name="T33" fmla="*/ 43 h 50"/>
                    <a:gd name="T34" fmla="*/ 42 w 93"/>
                    <a:gd name="T35" fmla="*/ 47 h 50"/>
                    <a:gd name="T36" fmla="*/ 33 w 93"/>
                    <a:gd name="T37" fmla="*/ 50 h 50"/>
                    <a:gd name="T38" fmla="*/ 30 w 93"/>
                    <a:gd name="T39" fmla="*/ 50 h 50"/>
                    <a:gd name="T40" fmla="*/ 28 w 93"/>
                    <a:gd name="T41" fmla="*/ 48 h 50"/>
                    <a:gd name="T42" fmla="*/ 26 w 93"/>
                    <a:gd name="T43" fmla="*/ 47 h 50"/>
                    <a:gd name="T44" fmla="*/ 25 w 93"/>
                    <a:gd name="T45" fmla="*/ 45 h 50"/>
                    <a:gd name="T46" fmla="*/ 23 w 93"/>
                    <a:gd name="T47" fmla="*/ 41 h 50"/>
                    <a:gd name="T48" fmla="*/ 22 w 93"/>
                    <a:gd name="T49" fmla="*/ 36 h 50"/>
                    <a:gd name="T50" fmla="*/ 22 w 93"/>
                    <a:gd name="T51" fmla="*/ 31 h 50"/>
                    <a:gd name="T52" fmla="*/ 23 w 93"/>
                    <a:gd name="T53" fmla="*/ 26 h 50"/>
                    <a:gd name="T54" fmla="*/ 24 w 93"/>
                    <a:gd name="T55" fmla="*/ 22 h 50"/>
                    <a:gd name="T56" fmla="*/ 26 w 93"/>
                    <a:gd name="T57" fmla="*/ 19 h 50"/>
                    <a:gd name="T58" fmla="*/ 0 w 93"/>
                    <a:gd name="T59" fmla="*/ 19 h 50"/>
                    <a:gd name="T60" fmla="*/ 0 w 93"/>
                    <a:gd name="T61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6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0 w 1029"/>
                    <a:gd name="T1" fmla="*/ 112 h 604"/>
                    <a:gd name="T2" fmla="*/ 67 w 1029"/>
                    <a:gd name="T3" fmla="*/ 60 h 604"/>
                    <a:gd name="T4" fmla="*/ 266 w 1029"/>
                    <a:gd name="T5" fmla="*/ 0 h 604"/>
                    <a:gd name="T6" fmla="*/ 205 w 1029"/>
                    <a:gd name="T7" fmla="*/ 47 h 604"/>
                    <a:gd name="T8" fmla="*/ 180 w 1029"/>
                    <a:gd name="T9" fmla="*/ 105 h 604"/>
                    <a:gd name="T10" fmla="*/ 274 w 1029"/>
                    <a:gd name="T11" fmla="*/ 60 h 604"/>
                    <a:gd name="T12" fmla="*/ 397 w 1029"/>
                    <a:gd name="T13" fmla="*/ 14 h 604"/>
                    <a:gd name="T14" fmla="*/ 438 w 1029"/>
                    <a:gd name="T15" fmla="*/ 23 h 604"/>
                    <a:gd name="T16" fmla="*/ 433 w 1029"/>
                    <a:gd name="T17" fmla="*/ 71 h 604"/>
                    <a:gd name="T18" fmla="*/ 581 w 1029"/>
                    <a:gd name="T19" fmla="*/ 80 h 604"/>
                    <a:gd name="T20" fmla="*/ 675 w 1029"/>
                    <a:gd name="T21" fmla="*/ 89 h 604"/>
                    <a:gd name="T22" fmla="*/ 749 w 1029"/>
                    <a:gd name="T23" fmla="*/ 111 h 604"/>
                    <a:gd name="T24" fmla="*/ 749 w 1029"/>
                    <a:gd name="T25" fmla="*/ 134 h 604"/>
                    <a:gd name="T26" fmla="*/ 711 w 1029"/>
                    <a:gd name="T27" fmla="*/ 184 h 604"/>
                    <a:gd name="T28" fmla="*/ 799 w 1029"/>
                    <a:gd name="T29" fmla="*/ 168 h 604"/>
                    <a:gd name="T30" fmla="*/ 866 w 1029"/>
                    <a:gd name="T31" fmla="*/ 191 h 604"/>
                    <a:gd name="T32" fmla="*/ 856 w 1029"/>
                    <a:gd name="T33" fmla="*/ 239 h 604"/>
                    <a:gd name="T34" fmla="*/ 788 w 1029"/>
                    <a:gd name="T35" fmla="*/ 248 h 604"/>
                    <a:gd name="T36" fmla="*/ 859 w 1029"/>
                    <a:gd name="T37" fmla="*/ 284 h 604"/>
                    <a:gd name="T38" fmla="*/ 903 w 1029"/>
                    <a:gd name="T39" fmla="*/ 327 h 604"/>
                    <a:gd name="T40" fmla="*/ 977 w 1029"/>
                    <a:gd name="T41" fmla="*/ 329 h 604"/>
                    <a:gd name="T42" fmla="*/ 1029 w 1029"/>
                    <a:gd name="T43" fmla="*/ 351 h 604"/>
                    <a:gd name="T44" fmla="*/ 939 w 1029"/>
                    <a:gd name="T45" fmla="*/ 409 h 604"/>
                    <a:gd name="T46" fmla="*/ 899 w 1029"/>
                    <a:gd name="T47" fmla="*/ 417 h 604"/>
                    <a:gd name="T48" fmla="*/ 874 w 1029"/>
                    <a:gd name="T49" fmla="*/ 443 h 604"/>
                    <a:gd name="T50" fmla="*/ 830 w 1029"/>
                    <a:gd name="T51" fmla="*/ 414 h 604"/>
                    <a:gd name="T52" fmla="*/ 851 w 1029"/>
                    <a:gd name="T53" fmla="*/ 393 h 604"/>
                    <a:gd name="T54" fmla="*/ 792 w 1029"/>
                    <a:gd name="T55" fmla="*/ 379 h 604"/>
                    <a:gd name="T56" fmla="*/ 759 w 1029"/>
                    <a:gd name="T57" fmla="*/ 364 h 604"/>
                    <a:gd name="T58" fmla="*/ 744 w 1029"/>
                    <a:gd name="T59" fmla="*/ 394 h 604"/>
                    <a:gd name="T60" fmla="*/ 747 w 1029"/>
                    <a:gd name="T61" fmla="*/ 445 h 604"/>
                    <a:gd name="T62" fmla="*/ 795 w 1029"/>
                    <a:gd name="T63" fmla="*/ 523 h 604"/>
                    <a:gd name="T64" fmla="*/ 771 w 1029"/>
                    <a:gd name="T65" fmla="*/ 547 h 604"/>
                    <a:gd name="T66" fmla="*/ 708 w 1029"/>
                    <a:gd name="T67" fmla="*/ 556 h 604"/>
                    <a:gd name="T68" fmla="*/ 618 w 1029"/>
                    <a:gd name="T69" fmla="*/ 517 h 604"/>
                    <a:gd name="T70" fmla="*/ 668 w 1029"/>
                    <a:gd name="T71" fmla="*/ 567 h 604"/>
                    <a:gd name="T72" fmla="*/ 665 w 1029"/>
                    <a:gd name="T73" fmla="*/ 604 h 604"/>
                    <a:gd name="T74" fmla="*/ 518 w 1029"/>
                    <a:gd name="T75" fmla="*/ 570 h 604"/>
                    <a:gd name="T76" fmla="*/ 471 w 1029"/>
                    <a:gd name="T77" fmla="*/ 523 h 604"/>
                    <a:gd name="T78" fmla="*/ 410 w 1029"/>
                    <a:gd name="T79" fmla="*/ 473 h 604"/>
                    <a:gd name="T80" fmla="*/ 367 w 1029"/>
                    <a:gd name="T81" fmla="*/ 453 h 604"/>
                    <a:gd name="T82" fmla="*/ 392 w 1029"/>
                    <a:gd name="T83" fmla="*/ 433 h 604"/>
                    <a:gd name="T84" fmla="*/ 459 w 1029"/>
                    <a:gd name="T85" fmla="*/ 399 h 604"/>
                    <a:gd name="T86" fmla="*/ 500 w 1029"/>
                    <a:gd name="T87" fmla="*/ 378 h 604"/>
                    <a:gd name="T88" fmla="*/ 577 w 1029"/>
                    <a:gd name="T89" fmla="*/ 380 h 604"/>
                    <a:gd name="T90" fmla="*/ 614 w 1029"/>
                    <a:gd name="T91" fmla="*/ 395 h 604"/>
                    <a:gd name="T92" fmla="*/ 687 w 1029"/>
                    <a:gd name="T93" fmla="*/ 387 h 604"/>
                    <a:gd name="T94" fmla="*/ 581 w 1029"/>
                    <a:gd name="T95" fmla="*/ 355 h 604"/>
                    <a:gd name="T96" fmla="*/ 542 w 1029"/>
                    <a:gd name="T97" fmla="*/ 361 h 604"/>
                    <a:gd name="T98" fmla="*/ 539 w 1029"/>
                    <a:gd name="T99" fmla="*/ 350 h 604"/>
                    <a:gd name="T100" fmla="*/ 576 w 1029"/>
                    <a:gd name="T101" fmla="*/ 306 h 604"/>
                    <a:gd name="T102" fmla="*/ 576 w 1029"/>
                    <a:gd name="T103" fmla="*/ 274 h 604"/>
                    <a:gd name="T104" fmla="*/ 524 w 1029"/>
                    <a:gd name="T105" fmla="*/ 254 h 604"/>
                    <a:gd name="T106" fmla="*/ 473 w 1029"/>
                    <a:gd name="T107" fmla="*/ 198 h 604"/>
                    <a:gd name="T108" fmla="*/ 434 w 1029"/>
                    <a:gd name="T109" fmla="*/ 168 h 604"/>
                    <a:gd name="T110" fmla="*/ 408 w 1029"/>
                    <a:gd name="T111" fmla="*/ 163 h 604"/>
                    <a:gd name="T112" fmla="*/ 378 w 1029"/>
                    <a:gd name="T113" fmla="*/ 203 h 604"/>
                    <a:gd name="T114" fmla="*/ 207 w 1029"/>
                    <a:gd name="T115" fmla="*/ 174 h 604"/>
                    <a:gd name="T116" fmla="*/ 114 w 1029"/>
                    <a:gd name="T117" fmla="*/ 189 h 604"/>
                    <a:gd name="T118" fmla="*/ 79 w 1029"/>
                    <a:gd name="T119" fmla="*/ 187 h 604"/>
                    <a:gd name="T120" fmla="*/ 16 w 1029"/>
                    <a:gd name="T121" fmla="*/ 180 h 604"/>
                    <a:gd name="T122" fmla="*/ 9 w 1029"/>
                    <a:gd name="T123" fmla="*/ 158 h 604"/>
                    <a:gd name="T124" fmla="*/ 75 w 1029"/>
                    <a:gd name="T125" fmla="*/ 149 h 6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7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797 w 1268"/>
                    <a:gd name="T1" fmla="*/ 38 h 321"/>
                    <a:gd name="T2" fmla="*/ 813 w 1268"/>
                    <a:gd name="T3" fmla="*/ 16 h 321"/>
                    <a:gd name="T4" fmla="*/ 846 w 1268"/>
                    <a:gd name="T5" fmla="*/ 10 h 321"/>
                    <a:gd name="T6" fmla="*/ 865 w 1268"/>
                    <a:gd name="T7" fmla="*/ 25 h 321"/>
                    <a:gd name="T8" fmla="*/ 938 w 1268"/>
                    <a:gd name="T9" fmla="*/ 14 h 321"/>
                    <a:gd name="T10" fmla="*/ 1020 w 1268"/>
                    <a:gd name="T11" fmla="*/ 1 h 321"/>
                    <a:gd name="T12" fmla="*/ 1084 w 1268"/>
                    <a:gd name="T13" fmla="*/ 17 h 321"/>
                    <a:gd name="T14" fmla="*/ 1133 w 1268"/>
                    <a:gd name="T15" fmla="*/ 20 h 321"/>
                    <a:gd name="T16" fmla="*/ 1268 w 1268"/>
                    <a:gd name="T17" fmla="*/ 32 h 321"/>
                    <a:gd name="T18" fmla="*/ 1242 w 1268"/>
                    <a:gd name="T19" fmla="*/ 50 h 321"/>
                    <a:gd name="T20" fmla="*/ 1163 w 1268"/>
                    <a:gd name="T21" fmla="*/ 64 h 321"/>
                    <a:gd name="T22" fmla="*/ 1053 w 1268"/>
                    <a:gd name="T23" fmla="*/ 77 h 321"/>
                    <a:gd name="T24" fmla="*/ 1029 w 1268"/>
                    <a:gd name="T25" fmla="*/ 96 h 321"/>
                    <a:gd name="T26" fmla="*/ 999 w 1268"/>
                    <a:gd name="T27" fmla="*/ 104 h 321"/>
                    <a:gd name="T28" fmla="*/ 942 w 1268"/>
                    <a:gd name="T29" fmla="*/ 102 h 321"/>
                    <a:gd name="T30" fmla="*/ 930 w 1268"/>
                    <a:gd name="T31" fmla="*/ 118 h 321"/>
                    <a:gd name="T32" fmla="*/ 747 w 1268"/>
                    <a:gd name="T33" fmla="*/ 133 h 321"/>
                    <a:gd name="T34" fmla="*/ 666 w 1268"/>
                    <a:gd name="T35" fmla="*/ 156 h 321"/>
                    <a:gd name="T36" fmla="*/ 635 w 1268"/>
                    <a:gd name="T37" fmla="*/ 181 h 321"/>
                    <a:gd name="T38" fmla="*/ 591 w 1268"/>
                    <a:gd name="T39" fmla="*/ 167 h 321"/>
                    <a:gd name="T40" fmla="*/ 570 w 1268"/>
                    <a:gd name="T41" fmla="*/ 181 h 321"/>
                    <a:gd name="T42" fmla="*/ 590 w 1268"/>
                    <a:gd name="T43" fmla="*/ 207 h 321"/>
                    <a:gd name="T44" fmla="*/ 545 w 1268"/>
                    <a:gd name="T45" fmla="*/ 237 h 321"/>
                    <a:gd name="T46" fmla="*/ 483 w 1268"/>
                    <a:gd name="T47" fmla="*/ 236 h 321"/>
                    <a:gd name="T48" fmla="*/ 404 w 1268"/>
                    <a:gd name="T49" fmla="*/ 242 h 321"/>
                    <a:gd name="T50" fmla="*/ 405 w 1268"/>
                    <a:gd name="T51" fmla="*/ 257 h 321"/>
                    <a:gd name="T52" fmla="*/ 392 w 1268"/>
                    <a:gd name="T53" fmla="*/ 293 h 321"/>
                    <a:gd name="T54" fmla="*/ 333 w 1268"/>
                    <a:gd name="T55" fmla="*/ 320 h 321"/>
                    <a:gd name="T56" fmla="*/ 290 w 1268"/>
                    <a:gd name="T57" fmla="*/ 296 h 321"/>
                    <a:gd name="T58" fmla="*/ 253 w 1268"/>
                    <a:gd name="T59" fmla="*/ 285 h 321"/>
                    <a:gd name="T60" fmla="*/ 96 w 1268"/>
                    <a:gd name="T61" fmla="*/ 276 h 321"/>
                    <a:gd name="T62" fmla="*/ 0 w 1268"/>
                    <a:gd name="T63" fmla="*/ 285 h 321"/>
                    <a:gd name="T64" fmla="*/ 10 w 1268"/>
                    <a:gd name="T65" fmla="*/ 266 h 321"/>
                    <a:gd name="T66" fmla="*/ 56 w 1268"/>
                    <a:gd name="T67" fmla="*/ 246 h 321"/>
                    <a:gd name="T68" fmla="*/ 143 w 1268"/>
                    <a:gd name="T69" fmla="*/ 235 h 321"/>
                    <a:gd name="T70" fmla="*/ 170 w 1268"/>
                    <a:gd name="T71" fmla="*/ 225 h 321"/>
                    <a:gd name="T72" fmla="*/ 190 w 1268"/>
                    <a:gd name="T73" fmla="*/ 217 h 321"/>
                    <a:gd name="T74" fmla="*/ 219 w 1268"/>
                    <a:gd name="T75" fmla="*/ 232 h 321"/>
                    <a:gd name="T76" fmla="*/ 247 w 1268"/>
                    <a:gd name="T77" fmla="*/ 247 h 321"/>
                    <a:gd name="T78" fmla="*/ 208 w 1268"/>
                    <a:gd name="T79" fmla="*/ 207 h 321"/>
                    <a:gd name="T80" fmla="*/ 193 w 1268"/>
                    <a:gd name="T81" fmla="*/ 200 h 321"/>
                    <a:gd name="T82" fmla="*/ 197 w 1268"/>
                    <a:gd name="T83" fmla="*/ 181 h 321"/>
                    <a:gd name="T84" fmla="*/ 246 w 1268"/>
                    <a:gd name="T85" fmla="*/ 174 h 321"/>
                    <a:gd name="T86" fmla="*/ 365 w 1268"/>
                    <a:gd name="T87" fmla="*/ 186 h 321"/>
                    <a:gd name="T88" fmla="*/ 418 w 1268"/>
                    <a:gd name="T89" fmla="*/ 174 h 321"/>
                    <a:gd name="T90" fmla="*/ 322 w 1268"/>
                    <a:gd name="T91" fmla="*/ 169 h 321"/>
                    <a:gd name="T92" fmla="*/ 299 w 1268"/>
                    <a:gd name="T93" fmla="*/ 149 h 321"/>
                    <a:gd name="T94" fmla="*/ 378 w 1268"/>
                    <a:gd name="T95" fmla="*/ 137 h 321"/>
                    <a:gd name="T96" fmla="*/ 438 w 1268"/>
                    <a:gd name="T97" fmla="*/ 155 h 321"/>
                    <a:gd name="T98" fmla="*/ 478 w 1268"/>
                    <a:gd name="T99" fmla="*/ 124 h 321"/>
                    <a:gd name="T100" fmla="*/ 664 w 1268"/>
                    <a:gd name="T101" fmla="*/ 87 h 321"/>
                    <a:gd name="T102" fmla="*/ 589 w 1268"/>
                    <a:gd name="T103" fmla="*/ 110 h 321"/>
                    <a:gd name="T104" fmla="*/ 449 w 1268"/>
                    <a:gd name="T105" fmla="*/ 111 h 321"/>
                    <a:gd name="T106" fmla="*/ 312 w 1268"/>
                    <a:gd name="T107" fmla="*/ 116 h 321"/>
                    <a:gd name="T108" fmla="*/ 253 w 1268"/>
                    <a:gd name="T109" fmla="*/ 101 h 321"/>
                    <a:gd name="T110" fmla="*/ 219 w 1268"/>
                    <a:gd name="T111" fmla="*/ 80 h 321"/>
                    <a:gd name="T112" fmla="*/ 253 w 1268"/>
                    <a:gd name="T113" fmla="*/ 71 h 321"/>
                    <a:gd name="T114" fmla="*/ 446 w 1268"/>
                    <a:gd name="T115" fmla="*/ 47 h 321"/>
                    <a:gd name="T116" fmla="*/ 618 w 1268"/>
                    <a:gd name="T117" fmla="*/ 32 h 321"/>
                    <a:gd name="T118" fmla="*/ 674 w 1268"/>
                    <a:gd name="T119" fmla="*/ 20 h 321"/>
                    <a:gd name="T120" fmla="*/ 757 w 1268"/>
                    <a:gd name="T121" fmla="*/ 26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8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1 w 160"/>
                    <a:gd name="T3" fmla="*/ 10 h 117"/>
                    <a:gd name="T4" fmla="*/ 4 w 160"/>
                    <a:gd name="T5" fmla="*/ 19 h 117"/>
                    <a:gd name="T6" fmla="*/ 9 w 160"/>
                    <a:gd name="T7" fmla="*/ 29 h 117"/>
                    <a:gd name="T8" fmla="*/ 15 w 160"/>
                    <a:gd name="T9" fmla="*/ 39 h 117"/>
                    <a:gd name="T10" fmla="*/ 22 w 160"/>
                    <a:gd name="T11" fmla="*/ 48 h 117"/>
                    <a:gd name="T12" fmla="*/ 31 w 160"/>
                    <a:gd name="T13" fmla="*/ 59 h 117"/>
                    <a:gd name="T14" fmla="*/ 41 w 160"/>
                    <a:gd name="T15" fmla="*/ 68 h 117"/>
                    <a:gd name="T16" fmla="*/ 51 w 160"/>
                    <a:gd name="T17" fmla="*/ 77 h 117"/>
                    <a:gd name="T18" fmla="*/ 62 w 160"/>
                    <a:gd name="T19" fmla="*/ 85 h 117"/>
                    <a:gd name="T20" fmla="*/ 73 w 160"/>
                    <a:gd name="T21" fmla="*/ 93 h 117"/>
                    <a:gd name="T22" fmla="*/ 84 w 160"/>
                    <a:gd name="T23" fmla="*/ 99 h 117"/>
                    <a:gd name="T24" fmla="*/ 95 w 160"/>
                    <a:gd name="T25" fmla="*/ 105 h 117"/>
                    <a:gd name="T26" fmla="*/ 106 w 160"/>
                    <a:gd name="T27" fmla="*/ 111 h 117"/>
                    <a:gd name="T28" fmla="*/ 116 w 160"/>
                    <a:gd name="T29" fmla="*/ 114 h 117"/>
                    <a:gd name="T30" fmla="*/ 124 w 160"/>
                    <a:gd name="T31" fmla="*/ 117 h 117"/>
                    <a:gd name="T32" fmla="*/ 133 w 160"/>
                    <a:gd name="T33" fmla="*/ 117 h 117"/>
                    <a:gd name="T34" fmla="*/ 139 w 160"/>
                    <a:gd name="T35" fmla="*/ 116 h 117"/>
                    <a:gd name="T36" fmla="*/ 146 w 160"/>
                    <a:gd name="T37" fmla="*/ 113 h 117"/>
                    <a:gd name="T38" fmla="*/ 153 w 160"/>
                    <a:gd name="T39" fmla="*/ 110 h 117"/>
                    <a:gd name="T40" fmla="*/ 160 w 160"/>
                    <a:gd name="T41" fmla="*/ 104 h 117"/>
                    <a:gd name="T42" fmla="*/ 150 w 160"/>
                    <a:gd name="T43" fmla="*/ 91 h 117"/>
                    <a:gd name="T44" fmla="*/ 141 w 160"/>
                    <a:gd name="T45" fmla="*/ 79 h 117"/>
                    <a:gd name="T46" fmla="*/ 138 w 160"/>
                    <a:gd name="T47" fmla="*/ 73 h 117"/>
                    <a:gd name="T48" fmla="*/ 135 w 160"/>
                    <a:gd name="T49" fmla="*/ 66 h 117"/>
                    <a:gd name="T50" fmla="*/ 133 w 160"/>
                    <a:gd name="T51" fmla="*/ 58 h 117"/>
                    <a:gd name="T52" fmla="*/ 133 w 160"/>
                    <a:gd name="T53" fmla="*/ 49 h 117"/>
                    <a:gd name="T54" fmla="*/ 127 w 160"/>
                    <a:gd name="T55" fmla="*/ 48 h 117"/>
                    <a:gd name="T56" fmla="*/ 118 w 160"/>
                    <a:gd name="T57" fmla="*/ 45 h 117"/>
                    <a:gd name="T58" fmla="*/ 108 w 160"/>
                    <a:gd name="T59" fmla="*/ 40 h 117"/>
                    <a:gd name="T60" fmla="*/ 97 w 160"/>
                    <a:gd name="T61" fmla="*/ 34 h 117"/>
                    <a:gd name="T62" fmla="*/ 87 w 160"/>
                    <a:gd name="T63" fmla="*/ 28 h 117"/>
                    <a:gd name="T64" fmla="*/ 77 w 160"/>
                    <a:gd name="T65" fmla="*/ 21 h 117"/>
                    <a:gd name="T66" fmla="*/ 74 w 160"/>
                    <a:gd name="T67" fmla="*/ 17 h 117"/>
                    <a:gd name="T68" fmla="*/ 71 w 160"/>
                    <a:gd name="T69" fmla="*/ 13 h 117"/>
                    <a:gd name="T70" fmla="*/ 68 w 160"/>
                    <a:gd name="T71" fmla="*/ 10 h 117"/>
                    <a:gd name="T72" fmla="*/ 66 w 160"/>
                    <a:gd name="T73" fmla="*/ 6 h 117"/>
                    <a:gd name="T74" fmla="*/ 60 w 160"/>
                    <a:gd name="T75" fmla="*/ 6 h 117"/>
                    <a:gd name="T76" fmla="*/ 52 w 160"/>
                    <a:gd name="T77" fmla="*/ 6 h 117"/>
                    <a:gd name="T78" fmla="*/ 43 w 160"/>
                    <a:gd name="T79" fmla="*/ 4 h 117"/>
                    <a:gd name="T80" fmla="*/ 33 w 160"/>
                    <a:gd name="T81" fmla="*/ 0 h 117"/>
                    <a:gd name="T82" fmla="*/ 0 w 160"/>
                    <a:gd name="T83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09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0 w 80"/>
                    <a:gd name="T1" fmla="*/ 123 h 141"/>
                    <a:gd name="T2" fmla="*/ 80 w 80"/>
                    <a:gd name="T3" fmla="*/ 36 h 141"/>
                    <a:gd name="T4" fmla="*/ 80 w 80"/>
                    <a:gd name="T5" fmla="*/ 18 h 141"/>
                    <a:gd name="T6" fmla="*/ 68 w 80"/>
                    <a:gd name="T7" fmla="*/ 17 h 141"/>
                    <a:gd name="T8" fmla="*/ 59 w 80"/>
                    <a:gd name="T9" fmla="*/ 16 h 141"/>
                    <a:gd name="T10" fmla="*/ 53 w 80"/>
                    <a:gd name="T11" fmla="*/ 14 h 141"/>
                    <a:gd name="T12" fmla="*/ 47 w 80"/>
                    <a:gd name="T13" fmla="*/ 11 h 141"/>
                    <a:gd name="T14" fmla="*/ 44 w 80"/>
                    <a:gd name="T15" fmla="*/ 8 h 141"/>
                    <a:gd name="T16" fmla="*/ 42 w 80"/>
                    <a:gd name="T17" fmla="*/ 5 h 141"/>
                    <a:gd name="T18" fmla="*/ 41 w 80"/>
                    <a:gd name="T19" fmla="*/ 2 h 141"/>
                    <a:gd name="T20" fmla="*/ 4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23 h 141"/>
                    <a:gd name="T26" fmla="*/ 0 w 80"/>
                    <a:gd name="T27" fmla="*/ 40 h 141"/>
                    <a:gd name="T28" fmla="*/ 0 w 80"/>
                    <a:gd name="T29" fmla="*/ 52 h 141"/>
                    <a:gd name="T30" fmla="*/ 0 w 80"/>
                    <a:gd name="T31" fmla="*/ 61 h 141"/>
                    <a:gd name="T32" fmla="*/ 1 w 80"/>
                    <a:gd name="T33" fmla="*/ 69 h 141"/>
                    <a:gd name="T34" fmla="*/ 3 w 80"/>
                    <a:gd name="T35" fmla="*/ 78 h 141"/>
                    <a:gd name="T36" fmla="*/ 7 w 80"/>
                    <a:gd name="T37" fmla="*/ 88 h 141"/>
                    <a:gd name="T38" fmla="*/ 11 w 80"/>
                    <a:gd name="T39" fmla="*/ 99 h 141"/>
                    <a:gd name="T40" fmla="*/ 20 w 80"/>
                    <a:gd name="T41" fmla="*/ 121 h 141"/>
                    <a:gd name="T42" fmla="*/ 27 w 80"/>
                    <a:gd name="T43" fmla="*/ 141 h 141"/>
                    <a:gd name="T44" fmla="*/ 31 w 80"/>
                    <a:gd name="T45" fmla="*/ 135 h 141"/>
                    <a:gd name="T46" fmla="*/ 33 w 80"/>
                    <a:gd name="T47" fmla="*/ 129 h 141"/>
                    <a:gd name="T48" fmla="*/ 34 w 80"/>
                    <a:gd name="T49" fmla="*/ 127 h 141"/>
                    <a:gd name="T50" fmla="*/ 36 w 80"/>
                    <a:gd name="T51" fmla="*/ 125 h 141"/>
                    <a:gd name="T52" fmla="*/ 38 w 80"/>
                    <a:gd name="T53" fmla="*/ 123 h 141"/>
                    <a:gd name="T54" fmla="*/ 40 w 80"/>
                    <a:gd name="T55" fmla="*/ 12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0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93 h 124"/>
                    <a:gd name="T2" fmla="*/ 0 w 259"/>
                    <a:gd name="T3" fmla="*/ 96 h 124"/>
                    <a:gd name="T4" fmla="*/ 2 w 259"/>
                    <a:gd name="T5" fmla="*/ 100 h 124"/>
                    <a:gd name="T6" fmla="*/ 4 w 259"/>
                    <a:gd name="T7" fmla="*/ 103 h 124"/>
                    <a:gd name="T8" fmla="*/ 6 w 259"/>
                    <a:gd name="T9" fmla="*/ 106 h 124"/>
                    <a:gd name="T10" fmla="*/ 14 w 259"/>
                    <a:gd name="T11" fmla="*/ 111 h 124"/>
                    <a:gd name="T12" fmla="*/ 23 w 259"/>
                    <a:gd name="T13" fmla="*/ 115 h 124"/>
                    <a:gd name="T14" fmla="*/ 31 w 259"/>
                    <a:gd name="T15" fmla="*/ 120 h 124"/>
                    <a:gd name="T16" fmla="*/ 41 w 259"/>
                    <a:gd name="T17" fmla="*/ 122 h 124"/>
                    <a:gd name="T18" fmla="*/ 51 w 259"/>
                    <a:gd name="T19" fmla="*/ 124 h 124"/>
                    <a:gd name="T20" fmla="*/ 60 w 259"/>
                    <a:gd name="T21" fmla="*/ 124 h 124"/>
                    <a:gd name="T22" fmla="*/ 68 w 259"/>
                    <a:gd name="T23" fmla="*/ 124 h 124"/>
                    <a:gd name="T24" fmla="*/ 75 w 259"/>
                    <a:gd name="T25" fmla="*/ 123 h 124"/>
                    <a:gd name="T26" fmla="*/ 81 w 259"/>
                    <a:gd name="T27" fmla="*/ 122 h 124"/>
                    <a:gd name="T28" fmla="*/ 87 w 259"/>
                    <a:gd name="T29" fmla="*/ 120 h 124"/>
                    <a:gd name="T30" fmla="*/ 97 w 259"/>
                    <a:gd name="T31" fmla="*/ 114 h 124"/>
                    <a:gd name="T32" fmla="*/ 106 w 259"/>
                    <a:gd name="T33" fmla="*/ 108 h 124"/>
                    <a:gd name="T34" fmla="*/ 115 w 259"/>
                    <a:gd name="T35" fmla="*/ 103 h 124"/>
                    <a:gd name="T36" fmla="*/ 125 w 259"/>
                    <a:gd name="T37" fmla="*/ 98 h 124"/>
                    <a:gd name="T38" fmla="*/ 130 w 259"/>
                    <a:gd name="T39" fmla="*/ 96 h 124"/>
                    <a:gd name="T40" fmla="*/ 137 w 259"/>
                    <a:gd name="T41" fmla="*/ 94 h 124"/>
                    <a:gd name="T42" fmla="*/ 145 w 259"/>
                    <a:gd name="T43" fmla="*/ 93 h 124"/>
                    <a:gd name="T44" fmla="*/ 152 w 259"/>
                    <a:gd name="T45" fmla="*/ 93 h 124"/>
                    <a:gd name="T46" fmla="*/ 162 w 259"/>
                    <a:gd name="T47" fmla="*/ 94 h 124"/>
                    <a:gd name="T48" fmla="*/ 171 w 259"/>
                    <a:gd name="T49" fmla="*/ 96 h 124"/>
                    <a:gd name="T50" fmla="*/ 180 w 259"/>
                    <a:gd name="T51" fmla="*/ 99 h 124"/>
                    <a:gd name="T52" fmla="*/ 188 w 259"/>
                    <a:gd name="T53" fmla="*/ 103 h 124"/>
                    <a:gd name="T54" fmla="*/ 204 w 259"/>
                    <a:gd name="T55" fmla="*/ 111 h 124"/>
                    <a:gd name="T56" fmla="*/ 219 w 259"/>
                    <a:gd name="T57" fmla="*/ 117 h 124"/>
                    <a:gd name="T58" fmla="*/ 259 w 259"/>
                    <a:gd name="T59" fmla="*/ 117 h 124"/>
                    <a:gd name="T60" fmla="*/ 259 w 259"/>
                    <a:gd name="T61" fmla="*/ 99 h 124"/>
                    <a:gd name="T62" fmla="*/ 252 w 259"/>
                    <a:gd name="T63" fmla="*/ 98 h 124"/>
                    <a:gd name="T64" fmla="*/ 244 w 259"/>
                    <a:gd name="T65" fmla="*/ 96 h 124"/>
                    <a:gd name="T66" fmla="*/ 236 w 259"/>
                    <a:gd name="T67" fmla="*/ 94 h 124"/>
                    <a:gd name="T68" fmla="*/ 226 w 259"/>
                    <a:gd name="T69" fmla="*/ 93 h 124"/>
                    <a:gd name="T70" fmla="*/ 230 w 259"/>
                    <a:gd name="T71" fmla="*/ 85 h 124"/>
                    <a:gd name="T72" fmla="*/ 236 w 259"/>
                    <a:gd name="T73" fmla="*/ 79 h 124"/>
                    <a:gd name="T74" fmla="*/ 240 w 259"/>
                    <a:gd name="T75" fmla="*/ 74 h 124"/>
                    <a:gd name="T76" fmla="*/ 246 w 259"/>
                    <a:gd name="T77" fmla="*/ 69 h 124"/>
                    <a:gd name="T78" fmla="*/ 238 w 259"/>
                    <a:gd name="T79" fmla="*/ 61 h 124"/>
                    <a:gd name="T80" fmla="*/ 230 w 259"/>
                    <a:gd name="T81" fmla="*/ 56 h 124"/>
                    <a:gd name="T82" fmla="*/ 222 w 259"/>
                    <a:gd name="T83" fmla="*/ 50 h 124"/>
                    <a:gd name="T84" fmla="*/ 214 w 259"/>
                    <a:gd name="T85" fmla="*/ 46 h 124"/>
                    <a:gd name="T86" fmla="*/ 197 w 259"/>
                    <a:gd name="T87" fmla="*/ 37 h 124"/>
                    <a:gd name="T88" fmla="*/ 182 w 259"/>
                    <a:gd name="T89" fmla="*/ 30 h 124"/>
                    <a:gd name="T90" fmla="*/ 166 w 259"/>
                    <a:gd name="T91" fmla="*/ 23 h 124"/>
                    <a:gd name="T92" fmla="*/ 153 w 259"/>
                    <a:gd name="T93" fmla="*/ 17 h 124"/>
                    <a:gd name="T94" fmla="*/ 147 w 259"/>
                    <a:gd name="T95" fmla="*/ 13 h 124"/>
                    <a:gd name="T96" fmla="*/ 141 w 259"/>
                    <a:gd name="T97" fmla="*/ 10 h 124"/>
                    <a:gd name="T98" fmla="*/ 137 w 259"/>
                    <a:gd name="T99" fmla="*/ 5 h 124"/>
                    <a:gd name="T100" fmla="*/ 132 w 259"/>
                    <a:gd name="T101" fmla="*/ 0 h 124"/>
                    <a:gd name="T102" fmla="*/ 124 w 259"/>
                    <a:gd name="T103" fmla="*/ 3 h 124"/>
                    <a:gd name="T104" fmla="*/ 114 w 259"/>
                    <a:gd name="T105" fmla="*/ 7 h 124"/>
                    <a:gd name="T106" fmla="*/ 105 w 259"/>
                    <a:gd name="T107" fmla="*/ 12 h 124"/>
                    <a:gd name="T108" fmla="*/ 95 w 259"/>
                    <a:gd name="T109" fmla="*/ 17 h 124"/>
                    <a:gd name="T110" fmla="*/ 75 w 259"/>
                    <a:gd name="T111" fmla="*/ 29 h 124"/>
                    <a:gd name="T112" fmla="*/ 57 w 259"/>
                    <a:gd name="T113" fmla="*/ 42 h 124"/>
                    <a:gd name="T114" fmla="*/ 38 w 259"/>
                    <a:gd name="T115" fmla="*/ 56 h 124"/>
                    <a:gd name="T116" fmla="*/ 23 w 259"/>
                    <a:gd name="T117" fmla="*/ 70 h 124"/>
                    <a:gd name="T118" fmla="*/ 9 w 259"/>
                    <a:gd name="T119" fmla="*/ 83 h 124"/>
                    <a:gd name="T120" fmla="*/ 0 w 259"/>
                    <a:gd name="T121" fmla="*/ 9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1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32 h 57"/>
                    <a:gd name="T2" fmla="*/ 7 w 119"/>
                    <a:gd name="T3" fmla="*/ 35 h 57"/>
                    <a:gd name="T4" fmla="*/ 14 w 119"/>
                    <a:gd name="T5" fmla="*/ 38 h 57"/>
                    <a:gd name="T6" fmla="*/ 20 w 119"/>
                    <a:gd name="T7" fmla="*/ 42 h 57"/>
                    <a:gd name="T8" fmla="*/ 26 w 119"/>
                    <a:gd name="T9" fmla="*/ 47 h 57"/>
                    <a:gd name="T10" fmla="*/ 32 w 119"/>
                    <a:gd name="T11" fmla="*/ 51 h 57"/>
                    <a:gd name="T12" fmla="*/ 36 w 119"/>
                    <a:gd name="T13" fmla="*/ 54 h 57"/>
                    <a:gd name="T14" fmla="*/ 41 w 119"/>
                    <a:gd name="T15" fmla="*/ 56 h 57"/>
                    <a:gd name="T16" fmla="*/ 47 w 119"/>
                    <a:gd name="T17" fmla="*/ 57 h 57"/>
                    <a:gd name="T18" fmla="*/ 55 w 119"/>
                    <a:gd name="T19" fmla="*/ 57 h 57"/>
                    <a:gd name="T20" fmla="*/ 62 w 119"/>
                    <a:gd name="T21" fmla="*/ 56 h 57"/>
                    <a:gd name="T22" fmla="*/ 70 w 119"/>
                    <a:gd name="T23" fmla="*/ 55 h 57"/>
                    <a:gd name="T24" fmla="*/ 77 w 119"/>
                    <a:gd name="T25" fmla="*/ 53 h 57"/>
                    <a:gd name="T26" fmla="*/ 83 w 119"/>
                    <a:gd name="T27" fmla="*/ 50 h 57"/>
                    <a:gd name="T28" fmla="*/ 89 w 119"/>
                    <a:gd name="T29" fmla="*/ 48 h 57"/>
                    <a:gd name="T30" fmla="*/ 93 w 119"/>
                    <a:gd name="T31" fmla="*/ 44 h 57"/>
                    <a:gd name="T32" fmla="*/ 97 w 119"/>
                    <a:gd name="T33" fmla="*/ 40 h 57"/>
                    <a:gd name="T34" fmla="*/ 106 w 119"/>
                    <a:gd name="T35" fmla="*/ 32 h 57"/>
                    <a:gd name="T36" fmla="*/ 112 w 119"/>
                    <a:gd name="T37" fmla="*/ 23 h 57"/>
                    <a:gd name="T38" fmla="*/ 116 w 119"/>
                    <a:gd name="T39" fmla="*/ 13 h 57"/>
                    <a:gd name="T40" fmla="*/ 119 w 119"/>
                    <a:gd name="T41" fmla="*/ 1 h 57"/>
                    <a:gd name="T42" fmla="*/ 101 w 119"/>
                    <a:gd name="T43" fmla="*/ 0 h 57"/>
                    <a:gd name="T44" fmla="*/ 82 w 119"/>
                    <a:gd name="T45" fmla="*/ 0 h 57"/>
                    <a:gd name="T46" fmla="*/ 63 w 119"/>
                    <a:gd name="T47" fmla="*/ 2 h 57"/>
                    <a:gd name="T48" fmla="*/ 45 w 119"/>
                    <a:gd name="T49" fmla="*/ 5 h 57"/>
                    <a:gd name="T50" fmla="*/ 36 w 119"/>
                    <a:gd name="T51" fmla="*/ 7 h 57"/>
                    <a:gd name="T52" fmla="*/ 28 w 119"/>
                    <a:gd name="T53" fmla="*/ 10 h 57"/>
                    <a:gd name="T54" fmla="*/ 22 w 119"/>
                    <a:gd name="T55" fmla="*/ 13 h 57"/>
                    <a:gd name="T56" fmla="*/ 15 w 119"/>
                    <a:gd name="T57" fmla="*/ 16 h 57"/>
                    <a:gd name="T58" fmla="*/ 10 w 119"/>
                    <a:gd name="T59" fmla="*/ 19 h 57"/>
                    <a:gd name="T60" fmla="*/ 5 w 119"/>
                    <a:gd name="T61" fmla="*/ 23 h 57"/>
                    <a:gd name="T62" fmla="*/ 2 w 119"/>
                    <a:gd name="T63" fmla="*/ 27 h 57"/>
                    <a:gd name="T64" fmla="*/ 0 w 119"/>
                    <a:gd name="T65" fmla="*/ 3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2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0 h 52"/>
                    <a:gd name="T2" fmla="*/ 6 w 107"/>
                    <a:gd name="T3" fmla="*/ 51 h 52"/>
                    <a:gd name="T4" fmla="*/ 9 w 107"/>
                    <a:gd name="T5" fmla="*/ 52 h 52"/>
                    <a:gd name="T6" fmla="*/ 13 w 107"/>
                    <a:gd name="T7" fmla="*/ 52 h 52"/>
                    <a:gd name="T8" fmla="*/ 17 w 107"/>
                    <a:gd name="T9" fmla="*/ 52 h 52"/>
                    <a:gd name="T10" fmla="*/ 24 w 107"/>
                    <a:gd name="T11" fmla="*/ 50 h 52"/>
                    <a:gd name="T12" fmla="*/ 34 w 107"/>
                    <a:gd name="T13" fmla="*/ 50 h 52"/>
                    <a:gd name="T14" fmla="*/ 43 w 107"/>
                    <a:gd name="T15" fmla="*/ 49 h 52"/>
                    <a:gd name="T16" fmla="*/ 53 w 107"/>
                    <a:gd name="T17" fmla="*/ 48 h 52"/>
                    <a:gd name="T18" fmla="*/ 62 w 107"/>
                    <a:gd name="T19" fmla="*/ 47 h 52"/>
                    <a:gd name="T20" fmla="*/ 70 w 107"/>
                    <a:gd name="T21" fmla="*/ 43 h 52"/>
                    <a:gd name="T22" fmla="*/ 79 w 107"/>
                    <a:gd name="T23" fmla="*/ 40 h 52"/>
                    <a:gd name="T24" fmla="*/ 88 w 107"/>
                    <a:gd name="T25" fmla="*/ 36 h 52"/>
                    <a:gd name="T26" fmla="*/ 97 w 107"/>
                    <a:gd name="T27" fmla="*/ 31 h 52"/>
                    <a:gd name="T28" fmla="*/ 107 w 107"/>
                    <a:gd name="T29" fmla="*/ 24 h 52"/>
                    <a:gd name="T30" fmla="*/ 107 w 107"/>
                    <a:gd name="T31" fmla="*/ 0 h 52"/>
                    <a:gd name="T32" fmla="*/ 98 w 107"/>
                    <a:gd name="T33" fmla="*/ 1 h 52"/>
                    <a:gd name="T34" fmla="*/ 86 w 107"/>
                    <a:gd name="T35" fmla="*/ 3 h 52"/>
                    <a:gd name="T36" fmla="*/ 72 w 107"/>
                    <a:gd name="T37" fmla="*/ 7 h 52"/>
                    <a:gd name="T38" fmla="*/ 56 w 107"/>
                    <a:gd name="T39" fmla="*/ 13 h 52"/>
                    <a:gd name="T40" fmla="*/ 41 w 107"/>
                    <a:gd name="T41" fmla="*/ 20 h 52"/>
                    <a:gd name="T42" fmla="*/ 25 w 107"/>
                    <a:gd name="T43" fmla="*/ 28 h 52"/>
                    <a:gd name="T44" fmla="*/ 19 w 107"/>
                    <a:gd name="T45" fmla="*/ 33 h 52"/>
                    <a:gd name="T46" fmla="*/ 12 w 107"/>
                    <a:gd name="T47" fmla="*/ 38 h 52"/>
                    <a:gd name="T48" fmla="*/ 6 w 107"/>
                    <a:gd name="T49" fmla="*/ 43 h 52"/>
                    <a:gd name="T50" fmla="*/ 0 w 107"/>
                    <a:gd name="T51" fmla="*/ 5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3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27 w 246"/>
                    <a:gd name="T1" fmla="*/ 99 h 99"/>
                    <a:gd name="T2" fmla="*/ 22 w 246"/>
                    <a:gd name="T3" fmla="*/ 97 h 99"/>
                    <a:gd name="T4" fmla="*/ 17 w 246"/>
                    <a:gd name="T5" fmla="*/ 96 h 99"/>
                    <a:gd name="T6" fmla="*/ 12 w 246"/>
                    <a:gd name="T7" fmla="*/ 93 h 99"/>
                    <a:gd name="T8" fmla="*/ 9 w 246"/>
                    <a:gd name="T9" fmla="*/ 90 h 99"/>
                    <a:gd name="T10" fmla="*/ 6 w 246"/>
                    <a:gd name="T11" fmla="*/ 86 h 99"/>
                    <a:gd name="T12" fmla="*/ 2 w 246"/>
                    <a:gd name="T13" fmla="*/ 82 h 99"/>
                    <a:gd name="T14" fmla="*/ 1 w 246"/>
                    <a:gd name="T15" fmla="*/ 78 h 99"/>
                    <a:gd name="T16" fmla="*/ 0 w 246"/>
                    <a:gd name="T17" fmla="*/ 73 h 99"/>
                    <a:gd name="T18" fmla="*/ 0 w 246"/>
                    <a:gd name="T19" fmla="*/ 69 h 99"/>
                    <a:gd name="T20" fmla="*/ 1 w 246"/>
                    <a:gd name="T21" fmla="*/ 65 h 99"/>
                    <a:gd name="T22" fmla="*/ 3 w 246"/>
                    <a:gd name="T23" fmla="*/ 60 h 99"/>
                    <a:gd name="T24" fmla="*/ 5 w 246"/>
                    <a:gd name="T25" fmla="*/ 56 h 99"/>
                    <a:gd name="T26" fmla="*/ 10 w 246"/>
                    <a:gd name="T27" fmla="*/ 49 h 99"/>
                    <a:gd name="T28" fmla="*/ 18 w 246"/>
                    <a:gd name="T29" fmla="*/ 41 h 99"/>
                    <a:gd name="T30" fmla="*/ 25 w 246"/>
                    <a:gd name="T31" fmla="*/ 34 h 99"/>
                    <a:gd name="T32" fmla="*/ 35 w 246"/>
                    <a:gd name="T33" fmla="*/ 28 h 99"/>
                    <a:gd name="T34" fmla="*/ 46 w 246"/>
                    <a:gd name="T35" fmla="*/ 23 h 99"/>
                    <a:gd name="T36" fmla="*/ 57 w 246"/>
                    <a:gd name="T37" fmla="*/ 18 h 99"/>
                    <a:gd name="T38" fmla="*/ 69 w 246"/>
                    <a:gd name="T39" fmla="*/ 14 h 99"/>
                    <a:gd name="T40" fmla="*/ 81 w 246"/>
                    <a:gd name="T41" fmla="*/ 10 h 99"/>
                    <a:gd name="T42" fmla="*/ 92 w 246"/>
                    <a:gd name="T43" fmla="*/ 7 h 99"/>
                    <a:gd name="T44" fmla="*/ 104 w 246"/>
                    <a:gd name="T45" fmla="*/ 4 h 99"/>
                    <a:gd name="T46" fmla="*/ 124 w 246"/>
                    <a:gd name="T47" fmla="*/ 1 h 99"/>
                    <a:gd name="T48" fmla="*/ 140 w 246"/>
                    <a:gd name="T49" fmla="*/ 0 h 99"/>
                    <a:gd name="T50" fmla="*/ 168 w 246"/>
                    <a:gd name="T51" fmla="*/ 0 h 99"/>
                    <a:gd name="T52" fmla="*/ 193 w 246"/>
                    <a:gd name="T53" fmla="*/ 1 h 99"/>
                    <a:gd name="T54" fmla="*/ 219 w 246"/>
                    <a:gd name="T55" fmla="*/ 2 h 99"/>
                    <a:gd name="T56" fmla="*/ 246 w 246"/>
                    <a:gd name="T57" fmla="*/ 6 h 99"/>
                    <a:gd name="T58" fmla="*/ 244 w 246"/>
                    <a:gd name="T59" fmla="*/ 11 h 99"/>
                    <a:gd name="T60" fmla="*/ 241 w 246"/>
                    <a:gd name="T61" fmla="*/ 15 h 99"/>
                    <a:gd name="T62" fmla="*/ 236 w 246"/>
                    <a:gd name="T63" fmla="*/ 20 h 99"/>
                    <a:gd name="T64" fmla="*/ 231 w 246"/>
                    <a:gd name="T65" fmla="*/ 26 h 99"/>
                    <a:gd name="T66" fmla="*/ 215 w 246"/>
                    <a:gd name="T67" fmla="*/ 36 h 99"/>
                    <a:gd name="T68" fmla="*/ 199 w 246"/>
                    <a:gd name="T69" fmla="*/ 46 h 99"/>
                    <a:gd name="T70" fmla="*/ 180 w 246"/>
                    <a:gd name="T71" fmla="*/ 55 h 99"/>
                    <a:gd name="T72" fmla="*/ 162 w 246"/>
                    <a:gd name="T73" fmla="*/ 61 h 99"/>
                    <a:gd name="T74" fmla="*/ 152 w 246"/>
                    <a:gd name="T75" fmla="*/ 64 h 99"/>
                    <a:gd name="T76" fmla="*/ 143 w 246"/>
                    <a:gd name="T77" fmla="*/ 66 h 99"/>
                    <a:gd name="T78" fmla="*/ 134 w 246"/>
                    <a:gd name="T79" fmla="*/ 67 h 99"/>
                    <a:gd name="T80" fmla="*/ 126 w 246"/>
                    <a:gd name="T81" fmla="*/ 67 h 99"/>
                    <a:gd name="T82" fmla="*/ 120 w 246"/>
                    <a:gd name="T83" fmla="*/ 67 h 99"/>
                    <a:gd name="T84" fmla="*/ 110 w 246"/>
                    <a:gd name="T85" fmla="*/ 67 h 99"/>
                    <a:gd name="T86" fmla="*/ 100 w 246"/>
                    <a:gd name="T87" fmla="*/ 67 h 99"/>
                    <a:gd name="T88" fmla="*/ 93 w 246"/>
                    <a:gd name="T89" fmla="*/ 67 h 99"/>
                    <a:gd name="T90" fmla="*/ 88 w 246"/>
                    <a:gd name="T91" fmla="*/ 69 h 99"/>
                    <a:gd name="T92" fmla="*/ 80 w 246"/>
                    <a:gd name="T93" fmla="*/ 72 h 99"/>
                    <a:gd name="T94" fmla="*/ 72 w 246"/>
                    <a:gd name="T95" fmla="*/ 77 h 99"/>
                    <a:gd name="T96" fmla="*/ 63 w 246"/>
                    <a:gd name="T97" fmla="*/ 83 h 99"/>
                    <a:gd name="T98" fmla="*/ 53 w 246"/>
                    <a:gd name="T99" fmla="*/ 88 h 99"/>
                    <a:gd name="T100" fmla="*/ 44 w 246"/>
                    <a:gd name="T101" fmla="*/ 93 h 99"/>
                    <a:gd name="T102" fmla="*/ 35 w 246"/>
                    <a:gd name="T103" fmla="*/ 96 h 99"/>
                    <a:gd name="T104" fmla="*/ 27 w 246"/>
                    <a:gd name="T10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4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33 w 233"/>
                    <a:gd name="T1" fmla="*/ 88 h 123"/>
                    <a:gd name="T2" fmla="*/ 10 w 233"/>
                    <a:gd name="T3" fmla="*/ 78 h 123"/>
                    <a:gd name="T4" fmla="*/ 0 w 233"/>
                    <a:gd name="T5" fmla="*/ 55 h 123"/>
                    <a:gd name="T6" fmla="*/ 20 w 233"/>
                    <a:gd name="T7" fmla="*/ 37 h 123"/>
                    <a:gd name="T8" fmla="*/ 40 w 233"/>
                    <a:gd name="T9" fmla="*/ 37 h 123"/>
                    <a:gd name="T10" fmla="*/ 61 w 233"/>
                    <a:gd name="T11" fmla="*/ 37 h 123"/>
                    <a:gd name="T12" fmla="*/ 72 w 233"/>
                    <a:gd name="T13" fmla="*/ 36 h 123"/>
                    <a:gd name="T14" fmla="*/ 83 w 233"/>
                    <a:gd name="T15" fmla="*/ 33 h 123"/>
                    <a:gd name="T16" fmla="*/ 104 w 233"/>
                    <a:gd name="T17" fmla="*/ 23 h 123"/>
                    <a:gd name="T18" fmla="*/ 123 w 233"/>
                    <a:gd name="T19" fmla="*/ 11 h 123"/>
                    <a:gd name="T20" fmla="*/ 146 w 233"/>
                    <a:gd name="T21" fmla="*/ 0 h 123"/>
                    <a:gd name="T22" fmla="*/ 161 w 233"/>
                    <a:gd name="T23" fmla="*/ 8 h 123"/>
                    <a:gd name="T24" fmla="*/ 181 w 233"/>
                    <a:gd name="T25" fmla="*/ 12 h 123"/>
                    <a:gd name="T26" fmla="*/ 190 w 233"/>
                    <a:gd name="T27" fmla="*/ 10 h 123"/>
                    <a:gd name="T28" fmla="*/ 201 w 233"/>
                    <a:gd name="T29" fmla="*/ 6 h 123"/>
                    <a:gd name="T30" fmla="*/ 213 w 233"/>
                    <a:gd name="T31" fmla="*/ 0 h 123"/>
                    <a:gd name="T32" fmla="*/ 232 w 233"/>
                    <a:gd name="T33" fmla="*/ 6 h 123"/>
                    <a:gd name="T34" fmla="*/ 228 w 233"/>
                    <a:gd name="T35" fmla="*/ 18 h 123"/>
                    <a:gd name="T36" fmla="*/ 219 w 233"/>
                    <a:gd name="T37" fmla="*/ 25 h 123"/>
                    <a:gd name="T38" fmla="*/ 207 w 233"/>
                    <a:gd name="T39" fmla="*/ 30 h 123"/>
                    <a:gd name="T40" fmla="*/ 201 w 233"/>
                    <a:gd name="T41" fmla="*/ 43 h 123"/>
                    <a:gd name="T42" fmla="*/ 206 w 233"/>
                    <a:gd name="T43" fmla="*/ 62 h 123"/>
                    <a:gd name="T44" fmla="*/ 185 w 233"/>
                    <a:gd name="T45" fmla="*/ 85 h 123"/>
                    <a:gd name="T46" fmla="*/ 157 w 233"/>
                    <a:gd name="T47" fmla="*/ 96 h 123"/>
                    <a:gd name="T48" fmla="*/ 139 w 233"/>
                    <a:gd name="T49" fmla="*/ 98 h 123"/>
                    <a:gd name="T50" fmla="*/ 116 w 233"/>
                    <a:gd name="T51" fmla="*/ 100 h 123"/>
                    <a:gd name="T52" fmla="*/ 96 w 233"/>
                    <a:gd name="T53" fmla="*/ 106 h 123"/>
                    <a:gd name="T54" fmla="*/ 82 w 233"/>
                    <a:gd name="T55" fmla="*/ 115 h 123"/>
                    <a:gd name="T56" fmla="*/ 67 w 233"/>
                    <a:gd name="T57" fmla="*/ 122 h 123"/>
                    <a:gd name="T58" fmla="*/ 58 w 233"/>
                    <a:gd name="T59" fmla="*/ 122 h 123"/>
                    <a:gd name="T60" fmla="*/ 53 w 233"/>
                    <a:gd name="T61" fmla="*/ 115 h 123"/>
                    <a:gd name="T62" fmla="*/ 48 w 233"/>
                    <a:gd name="T63" fmla="*/ 10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5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47 h 172"/>
                    <a:gd name="T2" fmla="*/ 3 w 484"/>
                    <a:gd name="T3" fmla="*/ 156 h 172"/>
                    <a:gd name="T4" fmla="*/ 9 w 484"/>
                    <a:gd name="T5" fmla="*/ 162 h 172"/>
                    <a:gd name="T6" fmla="*/ 17 w 484"/>
                    <a:gd name="T7" fmla="*/ 167 h 172"/>
                    <a:gd name="T8" fmla="*/ 31 w 484"/>
                    <a:gd name="T9" fmla="*/ 170 h 172"/>
                    <a:gd name="T10" fmla="*/ 51 w 484"/>
                    <a:gd name="T11" fmla="*/ 172 h 172"/>
                    <a:gd name="T12" fmla="*/ 73 w 484"/>
                    <a:gd name="T13" fmla="*/ 172 h 172"/>
                    <a:gd name="T14" fmla="*/ 99 w 484"/>
                    <a:gd name="T15" fmla="*/ 167 h 172"/>
                    <a:gd name="T16" fmla="*/ 139 w 484"/>
                    <a:gd name="T17" fmla="*/ 156 h 172"/>
                    <a:gd name="T18" fmla="*/ 189 w 484"/>
                    <a:gd name="T19" fmla="*/ 135 h 172"/>
                    <a:gd name="T20" fmla="*/ 240 w 484"/>
                    <a:gd name="T21" fmla="*/ 113 h 172"/>
                    <a:gd name="T22" fmla="*/ 287 w 484"/>
                    <a:gd name="T23" fmla="*/ 100 h 172"/>
                    <a:gd name="T24" fmla="*/ 350 w 484"/>
                    <a:gd name="T25" fmla="*/ 87 h 172"/>
                    <a:gd name="T26" fmla="*/ 401 w 484"/>
                    <a:gd name="T27" fmla="*/ 75 h 172"/>
                    <a:gd name="T28" fmla="*/ 434 w 484"/>
                    <a:gd name="T29" fmla="*/ 64 h 172"/>
                    <a:gd name="T30" fmla="*/ 461 w 484"/>
                    <a:gd name="T31" fmla="*/ 52 h 172"/>
                    <a:gd name="T32" fmla="*/ 475 w 484"/>
                    <a:gd name="T33" fmla="*/ 42 h 172"/>
                    <a:gd name="T34" fmla="*/ 482 w 484"/>
                    <a:gd name="T35" fmla="*/ 35 h 172"/>
                    <a:gd name="T36" fmla="*/ 449 w 484"/>
                    <a:gd name="T37" fmla="*/ 26 h 172"/>
                    <a:gd name="T38" fmla="*/ 387 w 484"/>
                    <a:gd name="T39" fmla="*/ 16 h 172"/>
                    <a:gd name="T40" fmla="*/ 331 w 484"/>
                    <a:gd name="T41" fmla="*/ 6 h 172"/>
                    <a:gd name="T42" fmla="*/ 272 w 484"/>
                    <a:gd name="T43" fmla="*/ 0 h 172"/>
                    <a:gd name="T44" fmla="*/ 225 w 484"/>
                    <a:gd name="T45" fmla="*/ 0 h 172"/>
                    <a:gd name="T46" fmla="*/ 203 w 484"/>
                    <a:gd name="T47" fmla="*/ 4 h 172"/>
                    <a:gd name="T48" fmla="*/ 186 w 484"/>
                    <a:gd name="T49" fmla="*/ 8 h 172"/>
                    <a:gd name="T50" fmla="*/ 176 w 484"/>
                    <a:gd name="T51" fmla="*/ 6 h 172"/>
                    <a:gd name="T52" fmla="*/ 169 w 484"/>
                    <a:gd name="T53" fmla="*/ 3 h 172"/>
                    <a:gd name="T54" fmla="*/ 165 w 484"/>
                    <a:gd name="T55" fmla="*/ 8 h 172"/>
                    <a:gd name="T56" fmla="*/ 161 w 484"/>
                    <a:gd name="T57" fmla="*/ 24 h 172"/>
                    <a:gd name="T58" fmla="*/ 154 w 484"/>
                    <a:gd name="T59" fmla="*/ 36 h 172"/>
                    <a:gd name="T60" fmla="*/ 144 w 484"/>
                    <a:gd name="T61" fmla="*/ 46 h 172"/>
                    <a:gd name="T62" fmla="*/ 127 w 484"/>
                    <a:gd name="T63" fmla="*/ 58 h 172"/>
                    <a:gd name="T64" fmla="*/ 97 w 484"/>
                    <a:gd name="T65" fmla="*/ 69 h 172"/>
                    <a:gd name="T66" fmla="*/ 66 w 484"/>
                    <a:gd name="T67" fmla="*/ 78 h 172"/>
                    <a:gd name="T68" fmla="*/ 38 w 484"/>
                    <a:gd name="T69" fmla="*/ 88 h 172"/>
                    <a:gd name="T70" fmla="*/ 19 w 484"/>
                    <a:gd name="T71" fmla="*/ 98 h 172"/>
                    <a:gd name="T72" fmla="*/ 10 w 484"/>
                    <a:gd name="T73" fmla="*/ 107 h 172"/>
                    <a:gd name="T74" fmla="*/ 3 w 484"/>
                    <a:gd name="T75" fmla="*/ 119 h 172"/>
                    <a:gd name="T76" fmla="*/ 0 w 484"/>
                    <a:gd name="T77" fmla="*/ 134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6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17 w 684"/>
                    <a:gd name="T1" fmla="*/ 5 h 240"/>
                    <a:gd name="T2" fmla="*/ 304 w 684"/>
                    <a:gd name="T3" fmla="*/ 27 h 240"/>
                    <a:gd name="T4" fmla="*/ 297 w 684"/>
                    <a:gd name="T5" fmla="*/ 41 h 240"/>
                    <a:gd name="T6" fmla="*/ 299 w 684"/>
                    <a:gd name="T7" fmla="*/ 43 h 240"/>
                    <a:gd name="T8" fmla="*/ 337 w 684"/>
                    <a:gd name="T9" fmla="*/ 39 h 240"/>
                    <a:gd name="T10" fmla="*/ 372 w 684"/>
                    <a:gd name="T11" fmla="*/ 19 h 240"/>
                    <a:gd name="T12" fmla="*/ 379 w 684"/>
                    <a:gd name="T13" fmla="*/ 38 h 240"/>
                    <a:gd name="T14" fmla="*/ 377 w 684"/>
                    <a:gd name="T15" fmla="*/ 55 h 240"/>
                    <a:gd name="T16" fmla="*/ 405 w 684"/>
                    <a:gd name="T17" fmla="*/ 69 h 240"/>
                    <a:gd name="T18" fmla="*/ 511 w 684"/>
                    <a:gd name="T19" fmla="*/ 51 h 240"/>
                    <a:gd name="T20" fmla="*/ 514 w 684"/>
                    <a:gd name="T21" fmla="*/ 70 h 240"/>
                    <a:gd name="T22" fmla="*/ 541 w 684"/>
                    <a:gd name="T23" fmla="*/ 63 h 240"/>
                    <a:gd name="T24" fmla="*/ 557 w 684"/>
                    <a:gd name="T25" fmla="*/ 45 h 240"/>
                    <a:gd name="T26" fmla="*/ 558 w 684"/>
                    <a:gd name="T27" fmla="*/ 19 h 240"/>
                    <a:gd name="T28" fmla="*/ 563 w 684"/>
                    <a:gd name="T29" fmla="*/ 8 h 240"/>
                    <a:gd name="T30" fmla="*/ 579 w 684"/>
                    <a:gd name="T31" fmla="*/ 0 h 240"/>
                    <a:gd name="T32" fmla="*/ 624 w 684"/>
                    <a:gd name="T33" fmla="*/ 3 h 240"/>
                    <a:gd name="T34" fmla="*/ 645 w 684"/>
                    <a:gd name="T35" fmla="*/ 0 h 240"/>
                    <a:gd name="T36" fmla="*/ 657 w 684"/>
                    <a:gd name="T37" fmla="*/ 39 h 240"/>
                    <a:gd name="T38" fmla="*/ 653 w 684"/>
                    <a:gd name="T39" fmla="*/ 70 h 240"/>
                    <a:gd name="T40" fmla="*/ 637 w 684"/>
                    <a:gd name="T41" fmla="*/ 101 h 240"/>
                    <a:gd name="T42" fmla="*/ 618 w 684"/>
                    <a:gd name="T43" fmla="*/ 124 h 240"/>
                    <a:gd name="T44" fmla="*/ 648 w 684"/>
                    <a:gd name="T45" fmla="*/ 137 h 240"/>
                    <a:gd name="T46" fmla="*/ 672 w 684"/>
                    <a:gd name="T47" fmla="*/ 145 h 240"/>
                    <a:gd name="T48" fmla="*/ 684 w 684"/>
                    <a:gd name="T49" fmla="*/ 180 h 240"/>
                    <a:gd name="T50" fmla="*/ 639 w 684"/>
                    <a:gd name="T51" fmla="*/ 185 h 240"/>
                    <a:gd name="T52" fmla="*/ 608 w 684"/>
                    <a:gd name="T53" fmla="*/ 181 h 240"/>
                    <a:gd name="T54" fmla="*/ 574 w 684"/>
                    <a:gd name="T55" fmla="*/ 180 h 240"/>
                    <a:gd name="T56" fmla="*/ 564 w 684"/>
                    <a:gd name="T57" fmla="*/ 184 h 240"/>
                    <a:gd name="T58" fmla="*/ 542 w 684"/>
                    <a:gd name="T59" fmla="*/ 200 h 240"/>
                    <a:gd name="T60" fmla="*/ 524 w 684"/>
                    <a:gd name="T61" fmla="*/ 209 h 240"/>
                    <a:gd name="T62" fmla="*/ 493 w 684"/>
                    <a:gd name="T63" fmla="*/ 209 h 240"/>
                    <a:gd name="T64" fmla="*/ 452 w 684"/>
                    <a:gd name="T65" fmla="*/ 204 h 240"/>
                    <a:gd name="T66" fmla="*/ 422 w 684"/>
                    <a:gd name="T67" fmla="*/ 198 h 240"/>
                    <a:gd name="T68" fmla="*/ 337 w 684"/>
                    <a:gd name="T69" fmla="*/ 211 h 240"/>
                    <a:gd name="T70" fmla="*/ 231 w 684"/>
                    <a:gd name="T71" fmla="*/ 230 h 240"/>
                    <a:gd name="T72" fmla="*/ 169 w 684"/>
                    <a:gd name="T73" fmla="*/ 238 h 240"/>
                    <a:gd name="T74" fmla="*/ 124 w 684"/>
                    <a:gd name="T75" fmla="*/ 238 h 240"/>
                    <a:gd name="T76" fmla="*/ 100 w 684"/>
                    <a:gd name="T77" fmla="*/ 228 h 240"/>
                    <a:gd name="T78" fmla="*/ 67 w 684"/>
                    <a:gd name="T79" fmla="*/ 208 h 240"/>
                    <a:gd name="T80" fmla="*/ 29 w 684"/>
                    <a:gd name="T81" fmla="*/ 196 h 240"/>
                    <a:gd name="T82" fmla="*/ 0 w 684"/>
                    <a:gd name="T83" fmla="*/ 173 h 240"/>
                    <a:gd name="T84" fmla="*/ 64 w 684"/>
                    <a:gd name="T85" fmla="*/ 159 h 240"/>
                    <a:gd name="T86" fmla="*/ 100 w 684"/>
                    <a:gd name="T87" fmla="*/ 154 h 240"/>
                    <a:gd name="T88" fmla="*/ 156 w 684"/>
                    <a:gd name="T89" fmla="*/ 160 h 240"/>
                    <a:gd name="T90" fmla="*/ 201 w 684"/>
                    <a:gd name="T91" fmla="*/ 165 h 240"/>
                    <a:gd name="T92" fmla="*/ 224 w 684"/>
                    <a:gd name="T93" fmla="*/ 162 h 240"/>
                    <a:gd name="T94" fmla="*/ 26 w 684"/>
                    <a:gd name="T95" fmla="*/ 136 h 240"/>
                    <a:gd name="T96" fmla="*/ 52 w 684"/>
                    <a:gd name="T97" fmla="*/ 128 h 240"/>
                    <a:gd name="T98" fmla="*/ 109 w 684"/>
                    <a:gd name="T99" fmla="*/ 117 h 240"/>
                    <a:gd name="T100" fmla="*/ 165 w 684"/>
                    <a:gd name="T101" fmla="*/ 108 h 240"/>
                    <a:gd name="T102" fmla="*/ 187 w 684"/>
                    <a:gd name="T103" fmla="*/ 99 h 240"/>
                    <a:gd name="T104" fmla="*/ 166 w 684"/>
                    <a:gd name="T105" fmla="*/ 93 h 240"/>
                    <a:gd name="T106" fmla="*/ 125 w 684"/>
                    <a:gd name="T107" fmla="*/ 98 h 240"/>
                    <a:gd name="T108" fmla="*/ 71 w 684"/>
                    <a:gd name="T109" fmla="*/ 110 h 240"/>
                    <a:gd name="T110" fmla="*/ 52 w 684"/>
                    <a:gd name="T111" fmla="*/ 106 h 240"/>
                    <a:gd name="T112" fmla="*/ 55 w 684"/>
                    <a:gd name="T113" fmla="*/ 90 h 240"/>
                    <a:gd name="T114" fmla="*/ 54 w 684"/>
                    <a:gd name="T115" fmla="*/ 81 h 240"/>
                    <a:gd name="T116" fmla="*/ 59 w 684"/>
                    <a:gd name="T117" fmla="*/ 78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7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80 w 332"/>
                    <a:gd name="T1" fmla="*/ 38 h 287"/>
                    <a:gd name="T2" fmla="*/ 202 w 332"/>
                    <a:gd name="T3" fmla="*/ 24 h 287"/>
                    <a:gd name="T4" fmla="*/ 226 w 332"/>
                    <a:gd name="T5" fmla="*/ 7 h 287"/>
                    <a:gd name="T6" fmla="*/ 240 w 332"/>
                    <a:gd name="T7" fmla="*/ 1 h 287"/>
                    <a:gd name="T8" fmla="*/ 246 w 332"/>
                    <a:gd name="T9" fmla="*/ 1 h 287"/>
                    <a:gd name="T10" fmla="*/ 245 w 332"/>
                    <a:gd name="T11" fmla="*/ 12 h 287"/>
                    <a:gd name="T12" fmla="*/ 234 w 332"/>
                    <a:gd name="T13" fmla="*/ 33 h 287"/>
                    <a:gd name="T14" fmla="*/ 217 w 332"/>
                    <a:gd name="T15" fmla="*/ 55 h 287"/>
                    <a:gd name="T16" fmla="*/ 202 w 332"/>
                    <a:gd name="T17" fmla="*/ 67 h 287"/>
                    <a:gd name="T18" fmla="*/ 191 w 332"/>
                    <a:gd name="T19" fmla="*/ 71 h 287"/>
                    <a:gd name="T20" fmla="*/ 191 w 332"/>
                    <a:gd name="T21" fmla="*/ 73 h 287"/>
                    <a:gd name="T22" fmla="*/ 201 w 332"/>
                    <a:gd name="T23" fmla="*/ 74 h 287"/>
                    <a:gd name="T24" fmla="*/ 216 w 332"/>
                    <a:gd name="T25" fmla="*/ 72 h 287"/>
                    <a:gd name="T26" fmla="*/ 224 w 332"/>
                    <a:gd name="T27" fmla="*/ 77 h 287"/>
                    <a:gd name="T28" fmla="*/ 217 w 332"/>
                    <a:gd name="T29" fmla="*/ 88 h 287"/>
                    <a:gd name="T30" fmla="*/ 214 w 332"/>
                    <a:gd name="T31" fmla="*/ 97 h 287"/>
                    <a:gd name="T32" fmla="*/ 217 w 332"/>
                    <a:gd name="T33" fmla="*/ 105 h 287"/>
                    <a:gd name="T34" fmla="*/ 249 w 332"/>
                    <a:gd name="T35" fmla="*/ 113 h 287"/>
                    <a:gd name="T36" fmla="*/ 308 w 332"/>
                    <a:gd name="T37" fmla="*/ 124 h 287"/>
                    <a:gd name="T38" fmla="*/ 322 w 332"/>
                    <a:gd name="T39" fmla="*/ 131 h 287"/>
                    <a:gd name="T40" fmla="*/ 315 w 332"/>
                    <a:gd name="T41" fmla="*/ 140 h 287"/>
                    <a:gd name="T42" fmla="*/ 303 w 332"/>
                    <a:gd name="T43" fmla="*/ 149 h 287"/>
                    <a:gd name="T44" fmla="*/ 299 w 332"/>
                    <a:gd name="T45" fmla="*/ 154 h 287"/>
                    <a:gd name="T46" fmla="*/ 302 w 332"/>
                    <a:gd name="T47" fmla="*/ 160 h 287"/>
                    <a:gd name="T48" fmla="*/ 308 w 332"/>
                    <a:gd name="T49" fmla="*/ 168 h 287"/>
                    <a:gd name="T50" fmla="*/ 319 w 332"/>
                    <a:gd name="T51" fmla="*/ 176 h 287"/>
                    <a:gd name="T52" fmla="*/ 329 w 332"/>
                    <a:gd name="T53" fmla="*/ 184 h 287"/>
                    <a:gd name="T54" fmla="*/ 290 w 332"/>
                    <a:gd name="T55" fmla="*/ 211 h 287"/>
                    <a:gd name="T56" fmla="*/ 241 w 332"/>
                    <a:gd name="T57" fmla="*/ 241 h 287"/>
                    <a:gd name="T58" fmla="*/ 207 w 332"/>
                    <a:gd name="T59" fmla="*/ 268 h 287"/>
                    <a:gd name="T60" fmla="*/ 173 w 332"/>
                    <a:gd name="T61" fmla="*/ 244 h 287"/>
                    <a:gd name="T62" fmla="*/ 182 w 332"/>
                    <a:gd name="T63" fmla="*/ 243 h 287"/>
                    <a:gd name="T64" fmla="*/ 189 w 332"/>
                    <a:gd name="T65" fmla="*/ 240 h 287"/>
                    <a:gd name="T66" fmla="*/ 200 w 332"/>
                    <a:gd name="T67" fmla="*/ 232 h 287"/>
                    <a:gd name="T68" fmla="*/ 149 w 332"/>
                    <a:gd name="T69" fmla="*/ 232 h 287"/>
                    <a:gd name="T70" fmla="*/ 101 w 332"/>
                    <a:gd name="T71" fmla="*/ 232 h 287"/>
                    <a:gd name="T72" fmla="*/ 58 w 332"/>
                    <a:gd name="T73" fmla="*/ 232 h 287"/>
                    <a:gd name="T74" fmla="*/ 27 w 332"/>
                    <a:gd name="T75" fmla="*/ 232 h 287"/>
                    <a:gd name="T76" fmla="*/ 11 w 332"/>
                    <a:gd name="T77" fmla="*/ 227 h 287"/>
                    <a:gd name="T78" fmla="*/ 3 w 332"/>
                    <a:gd name="T79" fmla="*/ 222 h 287"/>
                    <a:gd name="T80" fmla="*/ 0 w 332"/>
                    <a:gd name="T81" fmla="*/ 213 h 287"/>
                    <a:gd name="T82" fmla="*/ 4 w 332"/>
                    <a:gd name="T83" fmla="*/ 205 h 287"/>
                    <a:gd name="T84" fmla="*/ 13 w 332"/>
                    <a:gd name="T85" fmla="*/ 197 h 287"/>
                    <a:gd name="T86" fmla="*/ 41 w 332"/>
                    <a:gd name="T87" fmla="*/ 179 h 287"/>
                    <a:gd name="T88" fmla="*/ 73 w 332"/>
                    <a:gd name="T89" fmla="*/ 162 h 287"/>
                    <a:gd name="T90" fmla="*/ 85 w 332"/>
                    <a:gd name="T91" fmla="*/ 152 h 287"/>
                    <a:gd name="T92" fmla="*/ 93 w 332"/>
                    <a:gd name="T93" fmla="*/ 145 h 287"/>
                    <a:gd name="T94" fmla="*/ 106 w 332"/>
                    <a:gd name="T95" fmla="*/ 130 h 287"/>
                    <a:gd name="T96" fmla="*/ 116 w 332"/>
                    <a:gd name="T97" fmla="*/ 114 h 287"/>
                    <a:gd name="T98" fmla="*/ 130 w 332"/>
                    <a:gd name="T99" fmla="*/ 79 h 287"/>
                    <a:gd name="T100" fmla="*/ 138 w 332"/>
                    <a:gd name="T101" fmla="*/ 64 h 287"/>
                    <a:gd name="T102" fmla="*/ 147 w 332"/>
                    <a:gd name="T103" fmla="*/ 52 h 287"/>
                    <a:gd name="T104" fmla="*/ 158 w 332"/>
                    <a:gd name="T105" fmla="*/ 43 h 287"/>
                    <a:gd name="T106" fmla="*/ 173 w 332"/>
                    <a:gd name="T107" fmla="*/ 4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3177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8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06 w 345"/>
                    <a:gd name="T1" fmla="*/ 86 h 86"/>
                    <a:gd name="T2" fmla="*/ 119 w 345"/>
                    <a:gd name="T3" fmla="*/ 81 h 86"/>
                    <a:gd name="T4" fmla="*/ 133 w 345"/>
                    <a:gd name="T5" fmla="*/ 76 h 86"/>
                    <a:gd name="T6" fmla="*/ 148 w 345"/>
                    <a:gd name="T7" fmla="*/ 72 h 86"/>
                    <a:gd name="T8" fmla="*/ 164 w 345"/>
                    <a:gd name="T9" fmla="*/ 69 h 86"/>
                    <a:gd name="T10" fmla="*/ 197 w 345"/>
                    <a:gd name="T11" fmla="*/ 63 h 86"/>
                    <a:gd name="T12" fmla="*/ 231 w 345"/>
                    <a:gd name="T13" fmla="*/ 57 h 86"/>
                    <a:gd name="T14" fmla="*/ 247 w 345"/>
                    <a:gd name="T15" fmla="*/ 53 h 86"/>
                    <a:gd name="T16" fmla="*/ 264 w 345"/>
                    <a:gd name="T17" fmla="*/ 50 h 86"/>
                    <a:gd name="T18" fmla="*/ 279 w 345"/>
                    <a:gd name="T19" fmla="*/ 46 h 86"/>
                    <a:gd name="T20" fmla="*/ 294 w 345"/>
                    <a:gd name="T21" fmla="*/ 40 h 86"/>
                    <a:gd name="T22" fmla="*/ 309 w 345"/>
                    <a:gd name="T23" fmla="*/ 35 h 86"/>
                    <a:gd name="T24" fmla="*/ 322 w 345"/>
                    <a:gd name="T25" fmla="*/ 28 h 86"/>
                    <a:gd name="T26" fmla="*/ 334 w 345"/>
                    <a:gd name="T27" fmla="*/ 21 h 86"/>
                    <a:gd name="T28" fmla="*/ 345 w 345"/>
                    <a:gd name="T29" fmla="*/ 13 h 86"/>
                    <a:gd name="T30" fmla="*/ 335 w 345"/>
                    <a:gd name="T31" fmla="*/ 12 h 86"/>
                    <a:gd name="T32" fmla="*/ 326 w 345"/>
                    <a:gd name="T33" fmla="*/ 11 h 86"/>
                    <a:gd name="T34" fmla="*/ 317 w 345"/>
                    <a:gd name="T35" fmla="*/ 9 h 86"/>
                    <a:gd name="T36" fmla="*/ 309 w 345"/>
                    <a:gd name="T37" fmla="*/ 6 h 86"/>
                    <a:gd name="T38" fmla="*/ 300 w 345"/>
                    <a:gd name="T39" fmla="*/ 4 h 86"/>
                    <a:gd name="T40" fmla="*/ 291 w 345"/>
                    <a:gd name="T41" fmla="*/ 2 h 86"/>
                    <a:gd name="T42" fmla="*/ 281 w 345"/>
                    <a:gd name="T43" fmla="*/ 1 h 86"/>
                    <a:gd name="T44" fmla="*/ 272 w 345"/>
                    <a:gd name="T45" fmla="*/ 0 h 86"/>
                    <a:gd name="T46" fmla="*/ 259 w 345"/>
                    <a:gd name="T47" fmla="*/ 1 h 86"/>
                    <a:gd name="T48" fmla="*/ 245 w 345"/>
                    <a:gd name="T49" fmla="*/ 3 h 86"/>
                    <a:gd name="T50" fmla="*/ 227 w 345"/>
                    <a:gd name="T51" fmla="*/ 5 h 86"/>
                    <a:gd name="T52" fmla="*/ 209 w 345"/>
                    <a:gd name="T53" fmla="*/ 9 h 86"/>
                    <a:gd name="T54" fmla="*/ 168 w 345"/>
                    <a:gd name="T55" fmla="*/ 18 h 86"/>
                    <a:gd name="T56" fmla="*/ 126 w 345"/>
                    <a:gd name="T57" fmla="*/ 29 h 86"/>
                    <a:gd name="T58" fmla="*/ 104 w 345"/>
                    <a:gd name="T59" fmla="*/ 36 h 86"/>
                    <a:gd name="T60" fmla="*/ 85 w 345"/>
                    <a:gd name="T61" fmla="*/ 42 h 86"/>
                    <a:gd name="T62" fmla="*/ 66 w 345"/>
                    <a:gd name="T63" fmla="*/ 50 h 86"/>
                    <a:gd name="T64" fmla="*/ 47 w 345"/>
                    <a:gd name="T65" fmla="*/ 58 h 86"/>
                    <a:gd name="T66" fmla="*/ 32 w 345"/>
                    <a:gd name="T67" fmla="*/ 65 h 86"/>
                    <a:gd name="T68" fmla="*/ 19 w 345"/>
                    <a:gd name="T69" fmla="*/ 72 h 86"/>
                    <a:gd name="T70" fmla="*/ 8 w 345"/>
                    <a:gd name="T71" fmla="*/ 79 h 86"/>
                    <a:gd name="T72" fmla="*/ 0 w 345"/>
                    <a:gd name="T73" fmla="*/ 86 h 86"/>
                    <a:gd name="T74" fmla="*/ 106 w 345"/>
                    <a:gd name="T7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19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19 w 464"/>
                    <a:gd name="T1" fmla="*/ 86 h 130"/>
                    <a:gd name="T2" fmla="*/ 77 w 464"/>
                    <a:gd name="T3" fmla="*/ 81 h 130"/>
                    <a:gd name="T4" fmla="*/ 103 w 464"/>
                    <a:gd name="T5" fmla="*/ 81 h 130"/>
                    <a:gd name="T6" fmla="*/ 92 w 464"/>
                    <a:gd name="T7" fmla="*/ 89 h 130"/>
                    <a:gd name="T8" fmla="*/ 81 w 464"/>
                    <a:gd name="T9" fmla="*/ 100 h 130"/>
                    <a:gd name="T10" fmla="*/ 73 w 464"/>
                    <a:gd name="T11" fmla="*/ 112 h 130"/>
                    <a:gd name="T12" fmla="*/ 73 w 464"/>
                    <a:gd name="T13" fmla="*/ 119 h 130"/>
                    <a:gd name="T14" fmla="*/ 79 w 464"/>
                    <a:gd name="T15" fmla="*/ 124 h 130"/>
                    <a:gd name="T16" fmla="*/ 92 w 464"/>
                    <a:gd name="T17" fmla="*/ 129 h 130"/>
                    <a:gd name="T18" fmla="*/ 109 w 464"/>
                    <a:gd name="T19" fmla="*/ 129 h 130"/>
                    <a:gd name="T20" fmla="*/ 128 w 464"/>
                    <a:gd name="T21" fmla="*/ 127 h 130"/>
                    <a:gd name="T22" fmla="*/ 157 w 464"/>
                    <a:gd name="T23" fmla="*/ 119 h 130"/>
                    <a:gd name="T24" fmla="*/ 196 w 464"/>
                    <a:gd name="T25" fmla="*/ 108 h 130"/>
                    <a:gd name="T26" fmla="*/ 226 w 464"/>
                    <a:gd name="T27" fmla="*/ 101 h 130"/>
                    <a:gd name="T28" fmla="*/ 248 w 464"/>
                    <a:gd name="T29" fmla="*/ 99 h 130"/>
                    <a:gd name="T30" fmla="*/ 266 w 464"/>
                    <a:gd name="T31" fmla="*/ 99 h 130"/>
                    <a:gd name="T32" fmla="*/ 304 w 464"/>
                    <a:gd name="T33" fmla="*/ 99 h 130"/>
                    <a:gd name="T34" fmla="*/ 333 w 464"/>
                    <a:gd name="T35" fmla="*/ 98 h 130"/>
                    <a:gd name="T36" fmla="*/ 376 w 464"/>
                    <a:gd name="T37" fmla="*/ 93 h 130"/>
                    <a:gd name="T38" fmla="*/ 415 w 464"/>
                    <a:gd name="T39" fmla="*/ 83 h 130"/>
                    <a:gd name="T40" fmla="*/ 449 w 464"/>
                    <a:gd name="T41" fmla="*/ 66 h 130"/>
                    <a:gd name="T42" fmla="*/ 455 w 464"/>
                    <a:gd name="T43" fmla="*/ 51 h 130"/>
                    <a:gd name="T44" fmla="*/ 439 w 464"/>
                    <a:gd name="T45" fmla="*/ 48 h 130"/>
                    <a:gd name="T46" fmla="*/ 413 w 464"/>
                    <a:gd name="T47" fmla="*/ 48 h 130"/>
                    <a:gd name="T48" fmla="*/ 396 w 464"/>
                    <a:gd name="T49" fmla="*/ 46 h 130"/>
                    <a:gd name="T50" fmla="*/ 406 w 464"/>
                    <a:gd name="T51" fmla="*/ 36 h 130"/>
                    <a:gd name="T52" fmla="*/ 413 w 464"/>
                    <a:gd name="T53" fmla="*/ 22 h 130"/>
                    <a:gd name="T54" fmla="*/ 418 w 464"/>
                    <a:gd name="T55" fmla="*/ 7 h 130"/>
                    <a:gd name="T56" fmla="*/ 378 w 464"/>
                    <a:gd name="T57" fmla="*/ 0 h 130"/>
                    <a:gd name="T58" fmla="*/ 360 w 464"/>
                    <a:gd name="T59" fmla="*/ 19 h 130"/>
                    <a:gd name="T60" fmla="*/ 343 w 464"/>
                    <a:gd name="T61" fmla="*/ 41 h 130"/>
                    <a:gd name="T62" fmla="*/ 323 w 464"/>
                    <a:gd name="T63" fmla="*/ 59 h 130"/>
                    <a:gd name="T64" fmla="*/ 312 w 464"/>
                    <a:gd name="T65" fmla="*/ 65 h 130"/>
                    <a:gd name="T66" fmla="*/ 298 w 464"/>
                    <a:gd name="T67" fmla="*/ 68 h 130"/>
                    <a:gd name="T68" fmla="*/ 278 w 464"/>
                    <a:gd name="T69" fmla="*/ 66 h 130"/>
                    <a:gd name="T70" fmla="*/ 262 w 464"/>
                    <a:gd name="T71" fmla="*/ 63 h 130"/>
                    <a:gd name="T72" fmla="*/ 239 w 464"/>
                    <a:gd name="T73" fmla="*/ 54 h 130"/>
                    <a:gd name="T74" fmla="*/ 205 w 464"/>
                    <a:gd name="T75" fmla="*/ 31 h 130"/>
                    <a:gd name="T76" fmla="*/ 180 w 464"/>
                    <a:gd name="T77" fmla="*/ 29 h 130"/>
                    <a:gd name="T78" fmla="*/ 150 w 464"/>
                    <a:gd name="T79" fmla="*/ 31 h 130"/>
                    <a:gd name="T80" fmla="*/ 117 w 464"/>
                    <a:gd name="T81" fmla="*/ 37 h 130"/>
                    <a:gd name="T82" fmla="*/ 85 w 464"/>
                    <a:gd name="T83" fmla="*/ 45 h 130"/>
                    <a:gd name="T84" fmla="*/ 54 w 464"/>
                    <a:gd name="T85" fmla="*/ 54 h 130"/>
                    <a:gd name="T86" fmla="*/ 29 w 464"/>
                    <a:gd name="T87" fmla="*/ 65 h 130"/>
                    <a:gd name="T88" fmla="*/ 9 w 464"/>
                    <a:gd name="T89" fmla="*/ 77 h 130"/>
                    <a:gd name="T90" fmla="*/ 0 w 464"/>
                    <a:gd name="T91" fmla="*/ 86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0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3 w 472"/>
                    <a:gd name="T1" fmla="*/ 0 h 92"/>
                    <a:gd name="T2" fmla="*/ 44 w 472"/>
                    <a:gd name="T3" fmla="*/ 0 h 92"/>
                    <a:gd name="T4" fmla="*/ 24 w 472"/>
                    <a:gd name="T5" fmla="*/ 0 h 92"/>
                    <a:gd name="T6" fmla="*/ 12 w 472"/>
                    <a:gd name="T7" fmla="*/ 3 h 92"/>
                    <a:gd name="T8" fmla="*/ 7 w 472"/>
                    <a:gd name="T9" fmla="*/ 8 h 92"/>
                    <a:gd name="T10" fmla="*/ 7 w 472"/>
                    <a:gd name="T11" fmla="*/ 16 h 92"/>
                    <a:gd name="T12" fmla="*/ 10 w 472"/>
                    <a:gd name="T13" fmla="*/ 23 h 92"/>
                    <a:gd name="T14" fmla="*/ 15 w 472"/>
                    <a:gd name="T15" fmla="*/ 32 h 92"/>
                    <a:gd name="T16" fmla="*/ 14 w 472"/>
                    <a:gd name="T17" fmla="*/ 41 h 92"/>
                    <a:gd name="T18" fmla="*/ 4 w 472"/>
                    <a:gd name="T19" fmla="*/ 50 h 92"/>
                    <a:gd name="T20" fmla="*/ 1 w 472"/>
                    <a:gd name="T21" fmla="*/ 57 h 92"/>
                    <a:gd name="T22" fmla="*/ 2 w 472"/>
                    <a:gd name="T23" fmla="*/ 64 h 92"/>
                    <a:gd name="T24" fmla="*/ 14 w 472"/>
                    <a:gd name="T25" fmla="*/ 69 h 92"/>
                    <a:gd name="T26" fmla="*/ 48 w 472"/>
                    <a:gd name="T27" fmla="*/ 76 h 92"/>
                    <a:gd name="T28" fmla="*/ 109 w 472"/>
                    <a:gd name="T29" fmla="*/ 85 h 92"/>
                    <a:gd name="T30" fmla="*/ 167 w 472"/>
                    <a:gd name="T31" fmla="*/ 91 h 92"/>
                    <a:gd name="T32" fmla="*/ 365 w 472"/>
                    <a:gd name="T33" fmla="*/ 92 h 92"/>
                    <a:gd name="T34" fmla="*/ 374 w 472"/>
                    <a:gd name="T35" fmla="*/ 81 h 92"/>
                    <a:gd name="T36" fmla="*/ 385 w 472"/>
                    <a:gd name="T37" fmla="*/ 75 h 92"/>
                    <a:gd name="T38" fmla="*/ 397 w 472"/>
                    <a:gd name="T39" fmla="*/ 73 h 92"/>
                    <a:gd name="T40" fmla="*/ 411 w 472"/>
                    <a:gd name="T41" fmla="*/ 73 h 92"/>
                    <a:gd name="T42" fmla="*/ 441 w 472"/>
                    <a:gd name="T43" fmla="*/ 76 h 92"/>
                    <a:gd name="T44" fmla="*/ 456 w 472"/>
                    <a:gd name="T45" fmla="*/ 76 h 92"/>
                    <a:gd name="T46" fmla="*/ 472 w 472"/>
                    <a:gd name="T47" fmla="*/ 73 h 92"/>
                    <a:gd name="T48" fmla="*/ 465 w 472"/>
                    <a:gd name="T49" fmla="*/ 33 h 92"/>
                    <a:gd name="T50" fmla="*/ 453 w 472"/>
                    <a:gd name="T51" fmla="*/ 26 h 92"/>
                    <a:gd name="T52" fmla="*/ 443 w 472"/>
                    <a:gd name="T53" fmla="*/ 18 h 92"/>
                    <a:gd name="T54" fmla="*/ 432 w 472"/>
                    <a:gd name="T55" fmla="*/ 13 h 92"/>
                    <a:gd name="T56" fmla="*/ 416 w 472"/>
                    <a:gd name="T57" fmla="*/ 12 h 92"/>
                    <a:gd name="T58" fmla="*/ 396 w 472"/>
                    <a:gd name="T59" fmla="*/ 15 h 92"/>
                    <a:gd name="T60" fmla="*/ 367 w 472"/>
                    <a:gd name="T61" fmla="*/ 22 h 92"/>
                    <a:gd name="T62" fmla="*/ 328 w 472"/>
                    <a:gd name="T63" fmla="*/ 33 h 92"/>
                    <a:gd name="T64" fmla="*/ 298 w 472"/>
                    <a:gd name="T65" fmla="*/ 39 h 92"/>
                    <a:gd name="T66" fmla="*/ 276 w 472"/>
                    <a:gd name="T67" fmla="*/ 42 h 92"/>
                    <a:gd name="T68" fmla="*/ 236 w 472"/>
                    <a:gd name="T69" fmla="*/ 42 h 92"/>
                    <a:gd name="T70" fmla="*/ 191 w 472"/>
                    <a:gd name="T71" fmla="*/ 42 h 92"/>
                    <a:gd name="T72" fmla="*/ 156 w 472"/>
                    <a:gd name="T73" fmla="*/ 42 h 92"/>
                    <a:gd name="T74" fmla="*/ 120 w 472"/>
                    <a:gd name="T75" fmla="*/ 42 h 92"/>
                    <a:gd name="T76" fmla="*/ 91 w 472"/>
                    <a:gd name="T77" fmla="*/ 41 h 92"/>
                    <a:gd name="T78" fmla="*/ 78 w 472"/>
                    <a:gd name="T79" fmla="*/ 36 h 92"/>
                    <a:gd name="T80" fmla="*/ 70 w 472"/>
                    <a:gd name="T81" fmla="*/ 27 h 92"/>
                    <a:gd name="T82" fmla="*/ 67 w 472"/>
                    <a:gd name="T83" fmla="*/ 17 h 92"/>
                    <a:gd name="T84" fmla="*/ 69 w 472"/>
                    <a:gd name="T85" fmla="*/ 8 h 92"/>
                    <a:gd name="T86" fmla="*/ 74 w 472"/>
                    <a:gd name="T87" fmla="*/ 2 h 92"/>
                    <a:gd name="T88" fmla="*/ 74 w 472"/>
                    <a:gd name="T89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1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45 w 326"/>
                    <a:gd name="T1" fmla="*/ 107 h 135"/>
                    <a:gd name="T2" fmla="*/ 203 w 326"/>
                    <a:gd name="T3" fmla="*/ 97 h 135"/>
                    <a:gd name="T4" fmla="*/ 262 w 326"/>
                    <a:gd name="T5" fmla="*/ 84 h 135"/>
                    <a:gd name="T6" fmla="*/ 300 w 326"/>
                    <a:gd name="T7" fmla="*/ 74 h 135"/>
                    <a:gd name="T8" fmla="*/ 318 w 326"/>
                    <a:gd name="T9" fmla="*/ 66 h 135"/>
                    <a:gd name="T10" fmla="*/ 322 w 326"/>
                    <a:gd name="T11" fmla="*/ 56 h 135"/>
                    <a:gd name="T12" fmla="*/ 312 w 326"/>
                    <a:gd name="T13" fmla="*/ 48 h 135"/>
                    <a:gd name="T14" fmla="*/ 300 w 326"/>
                    <a:gd name="T15" fmla="*/ 41 h 135"/>
                    <a:gd name="T16" fmla="*/ 286 w 326"/>
                    <a:gd name="T17" fmla="*/ 37 h 135"/>
                    <a:gd name="T18" fmla="*/ 263 w 326"/>
                    <a:gd name="T19" fmla="*/ 32 h 135"/>
                    <a:gd name="T20" fmla="*/ 230 w 326"/>
                    <a:gd name="T21" fmla="*/ 30 h 135"/>
                    <a:gd name="T22" fmla="*/ 209 w 326"/>
                    <a:gd name="T23" fmla="*/ 30 h 135"/>
                    <a:gd name="T24" fmla="*/ 202 w 326"/>
                    <a:gd name="T25" fmla="*/ 24 h 135"/>
                    <a:gd name="T26" fmla="*/ 196 w 326"/>
                    <a:gd name="T27" fmla="*/ 17 h 135"/>
                    <a:gd name="T28" fmla="*/ 191 w 326"/>
                    <a:gd name="T29" fmla="*/ 9 h 135"/>
                    <a:gd name="T30" fmla="*/ 180 w 326"/>
                    <a:gd name="T31" fmla="*/ 5 h 135"/>
                    <a:gd name="T32" fmla="*/ 162 w 326"/>
                    <a:gd name="T33" fmla="*/ 1 h 135"/>
                    <a:gd name="T34" fmla="*/ 135 w 326"/>
                    <a:gd name="T35" fmla="*/ 1 h 135"/>
                    <a:gd name="T36" fmla="*/ 87 w 326"/>
                    <a:gd name="T37" fmla="*/ 8 h 135"/>
                    <a:gd name="T38" fmla="*/ 49 w 326"/>
                    <a:gd name="T39" fmla="*/ 17 h 135"/>
                    <a:gd name="T40" fmla="*/ 27 w 326"/>
                    <a:gd name="T41" fmla="*/ 26 h 135"/>
                    <a:gd name="T42" fmla="*/ 11 w 326"/>
                    <a:gd name="T43" fmla="*/ 37 h 135"/>
                    <a:gd name="T44" fmla="*/ 3 w 326"/>
                    <a:gd name="T45" fmla="*/ 46 h 135"/>
                    <a:gd name="T46" fmla="*/ 1 w 326"/>
                    <a:gd name="T47" fmla="*/ 52 h 135"/>
                    <a:gd name="T48" fmla="*/ 34 w 326"/>
                    <a:gd name="T49" fmla="*/ 74 h 135"/>
                    <a:gd name="T50" fmla="*/ 56 w 326"/>
                    <a:gd name="T51" fmla="*/ 81 h 135"/>
                    <a:gd name="T52" fmla="*/ 41 w 326"/>
                    <a:gd name="T53" fmla="*/ 90 h 135"/>
                    <a:gd name="T54" fmla="*/ 38 w 326"/>
                    <a:gd name="T55" fmla="*/ 99 h 135"/>
                    <a:gd name="T56" fmla="*/ 44 w 326"/>
                    <a:gd name="T57" fmla="*/ 114 h 135"/>
                    <a:gd name="T58" fmla="*/ 48 w 326"/>
                    <a:gd name="T59" fmla="*/ 128 h 135"/>
                    <a:gd name="T60" fmla="*/ 55 w 326"/>
                    <a:gd name="T61" fmla="*/ 134 h 135"/>
                    <a:gd name="T62" fmla="*/ 69 w 326"/>
                    <a:gd name="T63" fmla="*/ 135 h 135"/>
                    <a:gd name="T64" fmla="*/ 86 w 326"/>
                    <a:gd name="T65" fmla="*/ 131 h 135"/>
                    <a:gd name="T66" fmla="*/ 101 w 326"/>
                    <a:gd name="T67" fmla="*/ 127 h 135"/>
                    <a:gd name="T68" fmla="*/ 117 w 326"/>
                    <a:gd name="T69" fmla="*/ 124 h 135"/>
                    <a:gd name="T70" fmla="*/ 120 w 326"/>
                    <a:gd name="T71" fmla="*/ 1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2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46 w 159"/>
                    <a:gd name="T1" fmla="*/ 53 h 56"/>
                    <a:gd name="T2" fmla="*/ 40 w 159"/>
                    <a:gd name="T3" fmla="*/ 52 h 56"/>
                    <a:gd name="T4" fmla="*/ 34 w 159"/>
                    <a:gd name="T5" fmla="*/ 49 h 56"/>
                    <a:gd name="T6" fmla="*/ 26 w 159"/>
                    <a:gd name="T7" fmla="*/ 45 h 56"/>
                    <a:gd name="T8" fmla="*/ 18 w 159"/>
                    <a:gd name="T9" fmla="*/ 38 h 56"/>
                    <a:gd name="T10" fmla="*/ 10 w 159"/>
                    <a:gd name="T11" fmla="*/ 31 h 56"/>
                    <a:gd name="T12" fmla="*/ 5 w 159"/>
                    <a:gd name="T13" fmla="*/ 24 h 56"/>
                    <a:gd name="T14" fmla="*/ 3 w 159"/>
                    <a:gd name="T15" fmla="*/ 21 h 56"/>
                    <a:gd name="T16" fmla="*/ 1 w 159"/>
                    <a:gd name="T17" fmla="*/ 17 h 56"/>
                    <a:gd name="T18" fmla="*/ 0 w 159"/>
                    <a:gd name="T19" fmla="*/ 13 h 56"/>
                    <a:gd name="T20" fmla="*/ 0 w 159"/>
                    <a:gd name="T21" fmla="*/ 10 h 56"/>
                    <a:gd name="T22" fmla="*/ 21 w 159"/>
                    <a:gd name="T23" fmla="*/ 10 h 56"/>
                    <a:gd name="T24" fmla="*/ 39 w 159"/>
                    <a:gd name="T25" fmla="*/ 10 h 56"/>
                    <a:gd name="T26" fmla="*/ 52 w 159"/>
                    <a:gd name="T27" fmla="*/ 10 h 56"/>
                    <a:gd name="T28" fmla="*/ 59 w 159"/>
                    <a:gd name="T29" fmla="*/ 10 h 56"/>
                    <a:gd name="T30" fmla="*/ 83 w 159"/>
                    <a:gd name="T31" fmla="*/ 6 h 56"/>
                    <a:gd name="T32" fmla="*/ 117 w 159"/>
                    <a:gd name="T33" fmla="*/ 0 h 56"/>
                    <a:gd name="T34" fmla="*/ 125 w 159"/>
                    <a:gd name="T35" fmla="*/ 0 h 56"/>
                    <a:gd name="T36" fmla="*/ 132 w 159"/>
                    <a:gd name="T37" fmla="*/ 0 h 56"/>
                    <a:gd name="T38" fmla="*/ 140 w 159"/>
                    <a:gd name="T39" fmla="*/ 0 h 56"/>
                    <a:gd name="T40" fmla="*/ 147 w 159"/>
                    <a:gd name="T41" fmla="*/ 2 h 56"/>
                    <a:gd name="T42" fmla="*/ 151 w 159"/>
                    <a:gd name="T43" fmla="*/ 5 h 56"/>
                    <a:gd name="T44" fmla="*/ 155 w 159"/>
                    <a:gd name="T45" fmla="*/ 9 h 56"/>
                    <a:gd name="T46" fmla="*/ 158 w 159"/>
                    <a:gd name="T47" fmla="*/ 15 h 56"/>
                    <a:gd name="T48" fmla="*/ 159 w 159"/>
                    <a:gd name="T49" fmla="*/ 22 h 56"/>
                    <a:gd name="T50" fmla="*/ 158 w 159"/>
                    <a:gd name="T51" fmla="*/ 30 h 56"/>
                    <a:gd name="T52" fmla="*/ 155 w 159"/>
                    <a:gd name="T53" fmla="*/ 37 h 56"/>
                    <a:gd name="T54" fmla="*/ 151 w 159"/>
                    <a:gd name="T55" fmla="*/ 44 h 56"/>
                    <a:gd name="T56" fmla="*/ 146 w 159"/>
                    <a:gd name="T57" fmla="*/ 48 h 56"/>
                    <a:gd name="T58" fmla="*/ 139 w 159"/>
                    <a:gd name="T59" fmla="*/ 52 h 56"/>
                    <a:gd name="T60" fmla="*/ 132 w 159"/>
                    <a:gd name="T61" fmla="*/ 54 h 56"/>
                    <a:gd name="T62" fmla="*/ 124 w 159"/>
                    <a:gd name="T63" fmla="*/ 55 h 56"/>
                    <a:gd name="T64" fmla="*/ 115 w 159"/>
                    <a:gd name="T65" fmla="*/ 56 h 56"/>
                    <a:gd name="T66" fmla="*/ 77 w 159"/>
                    <a:gd name="T67" fmla="*/ 55 h 56"/>
                    <a:gd name="T68" fmla="*/ 46 w 159"/>
                    <a:gd name="T69" fmla="*/ 53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23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2931 w 3734"/>
                    <a:gd name="T1" fmla="*/ 1362 h 1644"/>
                    <a:gd name="T2" fmla="*/ 2556 w 3734"/>
                    <a:gd name="T3" fmla="*/ 1522 h 1644"/>
                    <a:gd name="T4" fmla="*/ 2312 w 3734"/>
                    <a:gd name="T5" fmla="*/ 1592 h 1644"/>
                    <a:gd name="T6" fmla="*/ 2294 w 3734"/>
                    <a:gd name="T7" fmla="*/ 1634 h 1644"/>
                    <a:gd name="T8" fmla="*/ 2177 w 3734"/>
                    <a:gd name="T9" fmla="*/ 1607 h 1644"/>
                    <a:gd name="T10" fmla="*/ 2279 w 3734"/>
                    <a:gd name="T11" fmla="*/ 1512 h 1644"/>
                    <a:gd name="T12" fmla="*/ 2166 w 3734"/>
                    <a:gd name="T13" fmla="*/ 1416 h 1644"/>
                    <a:gd name="T14" fmla="*/ 2094 w 3734"/>
                    <a:gd name="T15" fmla="*/ 1295 h 1644"/>
                    <a:gd name="T16" fmla="*/ 1947 w 3734"/>
                    <a:gd name="T17" fmla="*/ 1317 h 1644"/>
                    <a:gd name="T18" fmla="*/ 1771 w 3734"/>
                    <a:gd name="T19" fmla="*/ 1281 h 1644"/>
                    <a:gd name="T20" fmla="*/ 261 w 3734"/>
                    <a:gd name="T21" fmla="*/ 1235 h 1644"/>
                    <a:gd name="T22" fmla="*/ 127 w 3734"/>
                    <a:gd name="T23" fmla="*/ 1125 h 1644"/>
                    <a:gd name="T24" fmla="*/ 151 w 3734"/>
                    <a:gd name="T25" fmla="*/ 1040 h 1644"/>
                    <a:gd name="T26" fmla="*/ 147 w 3734"/>
                    <a:gd name="T27" fmla="*/ 927 h 1644"/>
                    <a:gd name="T28" fmla="*/ 259 w 3734"/>
                    <a:gd name="T29" fmla="*/ 859 h 1644"/>
                    <a:gd name="T30" fmla="*/ 250 w 3734"/>
                    <a:gd name="T31" fmla="*/ 747 h 1644"/>
                    <a:gd name="T32" fmla="*/ 128 w 3734"/>
                    <a:gd name="T33" fmla="*/ 665 h 1644"/>
                    <a:gd name="T34" fmla="*/ 602 w 3734"/>
                    <a:gd name="T35" fmla="*/ 114 h 1644"/>
                    <a:gd name="T36" fmla="*/ 1146 w 3734"/>
                    <a:gd name="T37" fmla="*/ 105 h 1644"/>
                    <a:gd name="T38" fmla="*/ 1296 w 3734"/>
                    <a:gd name="T39" fmla="*/ 117 h 1644"/>
                    <a:gd name="T40" fmla="*/ 1641 w 3734"/>
                    <a:gd name="T41" fmla="*/ 166 h 1644"/>
                    <a:gd name="T42" fmla="*/ 1771 w 3734"/>
                    <a:gd name="T43" fmla="*/ 206 h 1644"/>
                    <a:gd name="T44" fmla="*/ 2076 w 3734"/>
                    <a:gd name="T45" fmla="*/ 193 h 1644"/>
                    <a:gd name="T46" fmla="*/ 2286 w 3734"/>
                    <a:gd name="T47" fmla="*/ 216 h 1644"/>
                    <a:gd name="T48" fmla="*/ 2365 w 3734"/>
                    <a:gd name="T49" fmla="*/ 216 h 1644"/>
                    <a:gd name="T50" fmla="*/ 2518 w 3734"/>
                    <a:gd name="T51" fmla="*/ 123 h 1644"/>
                    <a:gd name="T52" fmla="*/ 2587 w 3734"/>
                    <a:gd name="T53" fmla="*/ 2 h 1644"/>
                    <a:gd name="T54" fmla="*/ 2644 w 3734"/>
                    <a:gd name="T55" fmla="*/ 105 h 1644"/>
                    <a:gd name="T56" fmla="*/ 2664 w 3734"/>
                    <a:gd name="T57" fmla="*/ 166 h 1644"/>
                    <a:gd name="T58" fmla="*/ 2716 w 3734"/>
                    <a:gd name="T59" fmla="*/ 196 h 1644"/>
                    <a:gd name="T60" fmla="*/ 2891 w 3734"/>
                    <a:gd name="T61" fmla="*/ 121 h 1644"/>
                    <a:gd name="T62" fmla="*/ 3036 w 3734"/>
                    <a:gd name="T63" fmla="*/ 135 h 1644"/>
                    <a:gd name="T64" fmla="*/ 2883 w 3734"/>
                    <a:gd name="T65" fmla="*/ 271 h 1644"/>
                    <a:gd name="T66" fmla="*/ 2790 w 3734"/>
                    <a:gd name="T67" fmla="*/ 289 h 1644"/>
                    <a:gd name="T68" fmla="*/ 2569 w 3734"/>
                    <a:gd name="T69" fmla="*/ 304 h 1644"/>
                    <a:gd name="T70" fmla="*/ 2501 w 3734"/>
                    <a:gd name="T71" fmla="*/ 402 h 1644"/>
                    <a:gd name="T72" fmla="*/ 2333 w 3734"/>
                    <a:gd name="T73" fmla="*/ 471 h 1644"/>
                    <a:gd name="T74" fmla="*/ 2087 w 3734"/>
                    <a:gd name="T75" fmla="*/ 625 h 1644"/>
                    <a:gd name="T76" fmla="*/ 2106 w 3734"/>
                    <a:gd name="T77" fmla="*/ 793 h 1644"/>
                    <a:gd name="T78" fmla="*/ 2360 w 3734"/>
                    <a:gd name="T79" fmla="*/ 907 h 1644"/>
                    <a:gd name="T80" fmla="*/ 2443 w 3734"/>
                    <a:gd name="T81" fmla="*/ 1059 h 1644"/>
                    <a:gd name="T82" fmla="*/ 2614 w 3734"/>
                    <a:gd name="T83" fmla="*/ 987 h 1644"/>
                    <a:gd name="T84" fmla="*/ 2848 w 3734"/>
                    <a:gd name="T85" fmla="*/ 785 h 1644"/>
                    <a:gd name="T86" fmla="*/ 2896 w 3734"/>
                    <a:gd name="T87" fmla="*/ 597 h 1644"/>
                    <a:gd name="T88" fmla="*/ 3156 w 3734"/>
                    <a:gd name="T89" fmla="*/ 500 h 1644"/>
                    <a:gd name="T90" fmla="*/ 3276 w 3734"/>
                    <a:gd name="T91" fmla="*/ 592 h 1644"/>
                    <a:gd name="T92" fmla="*/ 3226 w 3734"/>
                    <a:gd name="T93" fmla="*/ 736 h 1644"/>
                    <a:gd name="T94" fmla="*/ 3492 w 3734"/>
                    <a:gd name="T95" fmla="*/ 613 h 1644"/>
                    <a:gd name="T96" fmla="*/ 3545 w 3734"/>
                    <a:gd name="T97" fmla="*/ 774 h 1644"/>
                    <a:gd name="T98" fmla="*/ 3662 w 3734"/>
                    <a:gd name="T99" fmla="*/ 924 h 1644"/>
                    <a:gd name="T100" fmla="*/ 3616 w 3734"/>
                    <a:gd name="T101" fmla="*/ 961 h 1644"/>
                    <a:gd name="T102" fmla="*/ 3694 w 3734"/>
                    <a:gd name="T103" fmla="*/ 1028 h 1644"/>
                    <a:gd name="T104" fmla="*/ 3556 w 3734"/>
                    <a:gd name="T105" fmla="*/ 1108 h 1644"/>
                    <a:gd name="T106" fmla="*/ 3151 w 3734"/>
                    <a:gd name="T107" fmla="*/ 1168 h 1644"/>
                    <a:gd name="T108" fmla="*/ 2853 w 3734"/>
                    <a:gd name="T109" fmla="*/ 1335 h 1644"/>
                    <a:gd name="T110" fmla="*/ 2905 w 3734"/>
                    <a:gd name="T111" fmla="*/ 1337 h 1644"/>
                    <a:gd name="T112" fmla="*/ 3216 w 3734"/>
                    <a:gd name="T113" fmla="*/ 1256 h 1644"/>
                    <a:gd name="T114" fmla="*/ 3066 w 3734"/>
                    <a:gd name="T115" fmla="*/ 1298 h 1644"/>
                    <a:gd name="T116" fmla="*/ 3138 w 3734"/>
                    <a:gd name="T117" fmla="*/ 1391 h 1644"/>
                    <a:gd name="T118" fmla="*/ 3248 w 3734"/>
                    <a:gd name="T119" fmla="*/ 1473 h 1644"/>
                    <a:gd name="T120" fmla="*/ 3018 w 3734"/>
                    <a:gd name="T121" fmla="*/ 1564 h 1644"/>
                    <a:gd name="T122" fmla="*/ 3189 w 3734"/>
                    <a:gd name="T123" fmla="*/ 1466 h 1644"/>
                    <a:gd name="T124" fmla="*/ 3016 w 3734"/>
                    <a:gd name="T125" fmla="*/ 1484 h 1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56" name="Freeform 434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6475789" y="3853627"/>
                <a:ext cx="168914" cy="158787"/>
              </a:xfrm>
              <a:custGeom>
                <a:avLst/>
                <a:gdLst>
                  <a:gd name="T0" fmla="*/ 265 w 292"/>
                  <a:gd name="T1" fmla="*/ 10 h 308"/>
                  <a:gd name="T2" fmla="*/ 276 w 292"/>
                  <a:gd name="T3" fmla="*/ 37 h 308"/>
                  <a:gd name="T4" fmla="*/ 286 w 292"/>
                  <a:gd name="T5" fmla="*/ 91 h 308"/>
                  <a:gd name="T6" fmla="*/ 292 w 292"/>
                  <a:gd name="T7" fmla="*/ 144 h 308"/>
                  <a:gd name="T8" fmla="*/ 291 w 292"/>
                  <a:gd name="T9" fmla="*/ 161 h 308"/>
                  <a:gd name="T10" fmla="*/ 286 w 292"/>
                  <a:gd name="T11" fmla="*/ 179 h 308"/>
                  <a:gd name="T12" fmla="*/ 269 w 292"/>
                  <a:gd name="T13" fmla="*/ 206 h 308"/>
                  <a:gd name="T14" fmla="*/ 231 w 292"/>
                  <a:gd name="T15" fmla="*/ 185 h 308"/>
                  <a:gd name="T16" fmla="*/ 165 w 292"/>
                  <a:gd name="T17" fmla="*/ 258 h 308"/>
                  <a:gd name="T18" fmla="*/ 132 w 292"/>
                  <a:gd name="T19" fmla="*/ 278 h 308"/>
                  <a:gd name="T20" fmla="*/ 59 w 292"/>
                  <a:gd name="T21" fmla="*/ 296 h 308"/>
                  <a:gd name="T22" fmla="*/ 32 w 292"/>
                  <a:gd name="T23" fmla="*/ 308 h 308"/>
                  <a:gd name="T24" fmla="*/ 6 w 292"/>
                  <a:gd name="T25" fmla="*/ 308 h 308"/>
                  <a:gd name="T26" fmla="*/ 9 w 292"/>
                  <a:gd name="T27" fmla="*/ 297 h 308"/>
                  <a:gd name="T28" fmla="*/ 11 w 292"/>
                  <a:gd name="T29" fmla="*/ 286 h 308"/>
                  <a:gd name="T30" fmla="*/ 7 w 292"/>
                  <a:gd name="T31" fmla="*/ 265 h 308"/>
                  <a:gd name="T32" fmla="*/ 2 w 292"/>
                  <a:gd name="T33" fmla="*/ 246 h 308"/>
                  <a:gd name="T34" fmla="*/ 0 w 292"/>
                  <a:gd name="T35" fmla="*/ 228 h 308"/>
                  <a:gd name="T36" fmla="*/ 3 w 292"/>
                  <a:gd name="T37" fmla="*/ 205 h 308"/>
                  <a:gd name="T38" fmla="*/ 12 w 292"/>
                  <a:gd name="T39" fmla="*/ 188 h 308"/>
                  <a:gd name="T40" fmla="*/ 26 w 292"/>
                  <a:gd name="T41" fmla="*/ 174 h 308"/>
                  <a:gd name="T42" fmla="*/ 42 w 292"/>
                  <a:gd name="T43" fmla="*/ 161 h 308"/>
                  <a:gd name="T44" fmla="*/ 77 w 292"/>
                  <a:gd name="T45" fmla="*/ 135 h 308"/>
                  <a:gd name="T46" fmla="*/ 93 w 292"/>
                  <a:gd name="T47" fmla="*/ 119 h 308"/>
                  <a:gd name="T48" fmla="*/ 105 w 292"/>
                  <a:gd name="T49" fmla="*/ 98 h 308"/>
                  <a:gd name="T50" fmla="*/ 98 w 292"/>
                  <a:gd name="T51" fmla="*/ 96 h 308"/>
                  <a:gd name="T52" fmla="*/ 92 w 292"/>
                  <a:gd name="T53" fmla="*/ 91 h 308"/>
                  <a:gd name="T54" fmla="*/ 82 w 292"/>
                  <a:gd name="T55" fmla="*/ 73 h 308"/>
                  <a:gd name="T56" fmla="*/ 74 w 292"/>
                  <a:gd name="T57" fmla="*/ 50 h 308"/>
                  <a:gd name="T58" fmla="*/ 72 w 292"/>
                  <a:gd name="T59" fmla="*/ 24 h 308"/>
                  <a:gd name="T60" fmla="*/ 90 w 292"/>
                  <a:gd name="T61" fmla="*/ 19 h 308"/>
                  <a:gd name="T62" fmla="*/ 105 w 292"/>
                  <a:gd name="T63" fmla="*/ 20 h 308"/>
                  <a:gd name="T64" fmla="*/ 132 w 292"/>
                  <a:gd name="T65" fmla="*/ 24 h 308"/>
                  <a:gd name="T66" fmla="*/ 169 w 292"/>
                  <a:gd name="T67" fmla="*/ 21 h 308"/>
                  <a:gd name="T68" fmla="*/ 210 w 292"/>
                  <a:gd name="T69" fmla="*/ 12 h 308"/>
                  <a:gd name="T70" fmla="*/ 259 w 292"/>
                  <a:gd name="T71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7" name="Freeform 435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6617254" y="4004474"/>
                <a:ext cx="8446" cy="57162"/>
              </a:xfrm>
              <a:custGeom>
                <a:avLst/>
                <a:gdLst>
                  <a:gd name="T0" fmla="*/ 11 w 14"/>
                  <a:gd name="T1" fmla="*/ 0 h 7"/>
                  <a:gd name="T2" fmla="*/ 13 w 14"/>
                  <a:gd name="T3" fmla="*/ 3 h 7"/>
                  <a:gd name="T4" fmla="*/ 14 w 14"/>
                  <a:gd name="T5" fmla="*/ 7 h 7"/>
                  <a:gd name="T6" fmla="*/ 0 w 14"/>
                  <a:gd name="T7" fmla="*/ 7 h 7"/>
                  <a:gd name="T8" fmla="*/ 11 w 1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8" name="Freeform 436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5939486" y="3240710"/>
                <a:ext cx="331495" cy="500178"/>
              </a:xfrm>
              <a:custGeom>
                <a:avLst/>
                <a:gdLst>
                  <a:gd name="T0" fmla="*/ 81 w 581"/>
                  <a:gd name="T1" fmla="*/ 115 h 955"/>
                  <a:gd name="T2" fmla="*/ 104 w 581"/>
                  <a:gd name="T3" fmla="*/ 152 h 955"/>
                  <a:gd name="T4" fmla="*/ 111 w 581"/>
                  <a:gd name="T5" fmla="*/ 180 h 955"/>
                  <a:gd name="T6" fmla="*/ 95 w 581"/>
                  <a:gd name="T7" fmla="*/ 234 h 955"/>
                  <a:gd name="T8" fmla="*/ 96 w 581"/>
                  <a:gd name="T9" fmla="*/ 325 h 955"/>
                  <a:gd name="T10" fmla="*/ 93 w 581"/>
                  <a:gd name="T11" fmla="*/ 363 h 955"/>
                  <a:gd name="T12" fmla="*/ 82 w 581"/>
                  <a:gd name="T13" fmla="*/ 396 h 955"/>
                  <a:gd name="T14" fmla="*/ 59 w 581"/>
                  <a:gd name="T15" fmla="*/ 429 h 955"/>
                  <a:gd name="T16" fmla="*/ 31 w 581"/>
                  <a:gd name="T17" fmla="*/ 461 h 955"/>
                  <a:gd name="T18" fmla="*/ 17 w 581"/>
                  <a:gd name="T19" fmla="*/ 481 h 955"/>
                  <a:gd name="T20" fmla="*/ 2 w 581"/>
                  <a:gd name="T21" fmla="*/ 542 h 955"/>
                  <a:gd name="T22" fmla="*/ 69 w 581"/>
                  <a:gd name="T23" fmla="*/ 616 h 955"/>
                  <a:gd name="T24" fmla="*/ 69 w 581"/>
                  <a:gd name="T25" fmla="*/ 634 h 955"/>
                  <a:gd name="T26" fmla="*/ 74 w 581"/>
                  <a:gd name="T27" fmla="*/ 665 h 955"/>
                  <a:gd name="T28" fmla="*/ 74 w 581"/>
                  <a:gd name="T29" fmla="*/ 696 h 955"/>
                  <a:gd name="T30" fmla="*/ 78 w 581"/>
                  <a:gd name="T31" fmla="*/ 733 h 955"/>
                  <a:gd name="T32" fmla="*/ 94 w 581"/>
                  <a:gd name="T33" fmla="*/ 778 h 955"/>
                  <a:gd name="T34" fmla="*/ 105 w 581"/>
                  <a:gd name="T35" fmla="*/ 792 h 955"/>
                  <a:gd name="T36" fmla="*/ 68 w 581"/>
                  <a:gd name="T37" fmla="*/ 794 h 955"/>
                  <a:gd name="T38" fmla="*/ 42 w 581"/>
                  <a:gd name="T39" fmla="*/ 802 h 955"/>
                  <a:gd name="T40" fmla="*/ 36 w 581"/>
                  <a:gd name="T41" fmla="*/ 812 h 955"/>
                  <a:gd name="T42" fmla="*/ 42 w 581"/>
                  <a:gd name="T43" fmla="*/ 842 h 955"/>
                  <a:gd name="T44" fmla="*/ 69 w 581"/>
                  <a:gd name="T45" fmla="*/ 876 h 955"/>
                  <a:gd name="T46" fmla="*/ 87 w 581"/>
                  <a:gd name="T47" fmla="*/ 899 h 955"/>
                  <a:gd name="T48" fmla="*/ 100 w 581"/>
                  <a:gd name="T49" fmla="*/ 927 h 955"/>
                  <a:gd name="T50" fmla="*/ 156 w 581"/>
                  <a:gd name="T51" fmla="*/ 955 h 955"/>
                  <a:gd name="T52" fmla="*/ 189 w 581"/>
                  <a:gd name="T53" fmla="*/ 942 h 955"/>
                  <a:gd name="T54" fmla="*/ 248 w 581"/>
                  <a:gd name="T55" fmla="*/ 929 h 955"/>
                  <a:gd name="T56" fmla="*/ 279 w 581"/>
                  <a:gd name="T57" fmla="*/ 921 h 955"/>
                  <a:gd name="T58" fmla="*/ 297 w 581"/>
                  <a:gd name="T59" fmla="*/ 904 h 955"/>
                  <a:gd name="T60" fmla="*/ 302 w 581"/>
                  <a:gd name="T61" fmla="*/ 892 h 955"/>
                  <a:gd name="T62" fmla="*/ 302 w 581"/>
                  <a:gd name="T63" fmla="*/ 868 h 955"/>
                  <a:gd name="T64" fmla="*/ 338 w 581"/>
                  <a:gd name="T65" fmla="*/ 871 h 955"/>
                  <a:gd name="T66" fmla="*/ 367 w 581"/>
                  <a:gd name="T67" fmla="*/ 866 h 955"/>
                  <a:gd name="T68" fmla="*/ 389 w 581"/>
                  <a:gd name="T69" fmla="*/ 856 h 955"/>
                  <a:gd name="T70" fmla="*/ 405 w 581"/>
                  <a:gd name="T71" fmla="*/ 842 h 955"/>
                  <a:gd name="T72" fmla="*/ 432 w 581"/>
                  <a:gd name="T73" fmla="*/ 807 h 955"/>
                  <a:gd name="T74" fmla="*/ 460 w 581"/>
                  <a:gd name="T75" fmla="*/ 773 h 955"/>
                  <a:gd name="T76" fmla="*/ 477 w 581"/>
                  <a:gd name="T77" fmla="*/ 760 h 955"/>
                  <a:gd name="T78" fmla="*/ 502 w 581"/>
                  <a:gd name="T79" fmla="*/ 752 h 955"/>
                  <a:gd name="T80" fmla="*/ 521 w 581"/>
                  <a:gd name="T81" fmla="*/ 745 h 955"/>
                  <a:gd name="T82" fmla="*/ 499 w 581"/>
                  <a:gd name="T83" fmla="*/ 697 h 955"/>
                  <a:gd name="T84" fmla="*/ 484 w 581"/>
                  <a:gd name="T85" fmla="*/ 653 h 955"/>
                  <a:gd name="T86" fmla="*/ 472 w 581"/>
                  <a:gd name="T87" fmla="*/ 623 h 955"/>
                  <a:gd name="T88" fmla="*/ 481 w 581"/>
                  <a:gd name="T89" fmla="*/ 610 h 955"/>
                  <a:gd name="T90" fmla="*/ 487 w 581"/>
                  <a:gd name="T91" fmla="*/ 579 h 955"/>
                  <a:gd name="T92" fmla="*/ 494 w 581"/>
                  <a:gd name="T93" fmla="*/ 541 h 955"/>
                  <a:gd name="T94" fmla="*/ 505 w 581"/>
                  <a:gd name="T95" fmla="*/ 519 h 955"/>
                  <a:gd name="T96" fmla="*/ 532 w 581"/>
                  <a:gd name="T97" fmla="*/ 486 h 955"/>
                  <a:gd name="T98" fmla="*/ 570 w 581"/>
                  <a:gd name="T99" fmla="*/ 461 h 955"/>
                  <a:gd name="T100" fmla="*/ 129 w 581"/>
                  <a:gd name="T101" fmla="*/ 0 h 955"/>
                  <a:gd name="T102" fmla="*/ 98 w 581"/>
                  <a:gd name="T103" fmla="*/ 5 h 955"/>
                  <a:gd name="T104" fmla="*/ 69 w 581"/>
                  <a:gd name="T105" fmla="*/ 24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859" name="Group 438"/>
              <p:cNvGrpSpPr>
                <a:grpSpLocks/>
              </p:cNvGrpSpPr>
              <p:nvPr>
                <p:custDataLst>
                  <p:tags r:id="rId271"/>
                </p:custDataLst>
              </p:nvPr>
            </p:nvGrpSpPr>
            <p:grpSpPr bwMode="auto">
              <a:xfrm>
                <a:off x="3501970" y="4684082"/>
                <a:ext cx="510966" cy="1032113"/>
                <a:chOff x="1589" y="3126"/>
                <a:chExt cx="290" cy="657"/>
              </a:xfrm>
              <a:grpFill/>
            </p:grpSpPr>
            <p:sp>
              <p:nvSpPr>
                <p:cNvPr id="979" name="Freeform 439"/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46 w 46"/>
                    <a:gd name="T1" fmla="*/ 12 h 51"/>
                    <a:gd name="T2" fmla="*/ 19 w 46"/>
                    <a:gd name="T3" fmla="*/ 0 h 51"/>
                    <a:gd name="T4" fmla="*/ 13 w 46"/>
                    <a:gd name="T5" fmla="*/ 5 h 51"/>
                    <a:gd name="T6" fmla="*/ 7 w 46"/>
                    <a:gd name="T7" fmla="*/ 9 h 51"/>
                    <a:gd name="T8" fmla="*/ 4 w 46"/>
                    <a:gd name="T9" fmla="*/ 12 h 51"/>
                    <a:gd name="T10" fmla="*/ 2 w 46"/>
                    <a:gd name="T11" fmla="*/ 14 h 51"/>
                    <a:gd name="T12" fmla="*/ 0 w 46"/>
                    <a:gd name="T13" fmla="*/ 16 h 51"/>
                    <a:gd name="T14" fmla="*/ 0 w 46"/>
                    <a:gd name="T15" fmla="*/ 19 h 51"/>
                    <a:gd name="T16" fmla="*/ 0 w 46"/>
                    <a:gd name="T17" fmla="*/ 24 h 51"/>
                    <a:gd name="T18" fmla="*/ 2 w 46"/>
                    <a:gd name="T19" fmla="*/ 29 h 51"/>
                    <a:gd name="T20" fmla="*/ 4 w 46"/>
                    <a:gd name="T21" fmla="*/ 36 h 51"/>
                    <a:gd name="T22" fmla="*/ 7 w 46"/>
                    <a:gd name="T23" fmla="*/ 41 h 51"/>
                    <a:gd name="T24" fmla="*/ 10 w 46"/>
                    <a:gd name="T25" fmla="*/ 46 h 51"/>
                    <a:gd name="T26" fmla="*/ 13 w 46"/>
                    <a:gd name="T27" fmla="*/ 49 h 51"/>
                    <a:gd name="T28" fmla="*/ 15 w 46"/>
                    <a:gd name="T29" fmla="*/ 50 h 51"/>
                    <a:gd name="T30" fmla="*/ 16 w 46"/>
                    <a:gd name="T31" fmla="*/ 51 h 51"/>
                    <a:gd name="T32" fmla="*/ 18 w 46"/>
                    <a:gd name="T33" fmla="*/ 51 h 51"/>
                    <a:gd name="T34" fmla="*/ 19 w 46"/>
                    <a:gd name="T35" fmla="*/ 50 h 51"/>
                    <a:gd name="T36" fmla="*/ 35 w 46"/>
                    <a:gd name="T37" fmla="*/ 50 h 51"/>
                    <a:gd name="T38" fmla="*/ 46 w 46"/>
                    <a:gd name="T39" fmla="*/ 50 h 51"/>
                    <a:gd name="T40" fmla="*/ 46 w 46"/>
                    <a:gd name="T41" fmla="*/ 37 h 51"/>
                    <a:gd name="T42" fmla="*/ 46 w 46"/>
                    <a:gd name="T43" fmla="*/ 26 h 51"/>
                    <a:gd name="T44" fmla="*/ 46 w 46"/>
                    <a:gd name="T45" fmla="*/ 18 h 51"/>
                    <a:gd name="T46" fmla="*/ 46 w 46"/>
                    <a:gd name="T47" fmla="*/ 1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0" name="Freeform 440"/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14 h 158"/>
                    <a:gd name="T4" fmla="*/ 2 w 192"/>
                    <a:gd name="T5" fmla="*/ 26 h 158"/>
                    <a:gd name="T6" fmla="*/ 4 w 192"/>
                    <a:gd name="T7" fmla="*/ 38 h 158"/>
                    <a:gd name="T8" fmla="*/ 7 w 192"/>
                    <a:gd name="T9" fmla="*/ 50 h 158"/>
                    <a:gd name="T10" fmla="*/ 11 w 192"/>
                    <a:gd name="T11" fmla="*/ 61 h 158"/>
                    <a:gd name="T12" fmla="*/ 15 w 192"/>
                    <a:gd name="T13" fmla="*/ 71 h 158"/>
                    <a:gd name="T14" fmla="*/ 21 w 192"/>
                    <a:gd name="T15" fmla="*/ 81 h 158"/>
                    <a:gd name="T16" fmla="*/ 25 w 192"/>
                    <a:gd name="T17" fmla="*/ 90 h 158"/>
                    <a:gd name="T18" fmla="*/ 47 w 192"/>
                    <a:gd name="T19" fmla="*/ 122 h 158"/>
                    <a:gd name="T20" fmla="*/ 66 w 192"/>
                    <a:gd name="T21" fmla="*/ 148 h 158"/>
                    <a:gd name="T22" fmla="*/ 72 w 192"/>
                    <a:gd name="T23" fmla="*/ 151 h 158"/>
                    <a:gd name="T24" fmla="*/ 79 w 192"/>
                    <a:gd name="T25" fmla="*/ 153 h 158"/>
                    <a:gd name="T26" fmla="*/ 85 w 192"/>
                    <a:gd name="T27" fmla="*/ 155 h 158"/>
                    <a:gd name="T28" fmla="*/ 92 w 192"/>
                    <a:gd name="T29" fmla="*/ 156 h 158"/>
                    <a:gd name="T30" fmla="*/ 105 w 192"/>
                    <a:gd name="T31" fmla="*/ 158 h 158"/>
                    <a:gd name="T32" fmla="*/ 119 w 192"/>
                    <a:gd name="T33" fmla="*/ 158 h 158"/>
                    <a:gd name="T34" fmla="*/ 152 w 192"/>
                    <a:gd name="T35" fmla="*/ 155 h 158"/>
                    <a:gd name="T36" fmla="*/ 192 w 192"/>
                    <a:gd name="T37" fmla="*/ 154 h 158"/>
                    <a:gd name="T38" fmla="*/ 184 w 192"/>
                    <a:gd name="T39" fmla="*/ 153 h 158"/>
                    <a:gd name="T40" fmla="*/ 176 w 192"/>
                    <a:gd name="T41" fmla="*/ 152 h 158"/>
                    <a:gd name="T42" fmla="*/ 168 w 192"/>
                    <a:gd name="T43" fmla="*/ 151 h 158"/>
                    <a:gd name="T44" fmla="*/ 160 w 192"/>
                    <a:gd name="T45" fmla="*/ 149 h 158"/>
                    <a:gd name="T46" fmla="*/ 145 w 192"/>
                    <a:gd name="T47" fmla="*/ 144 h 158"/>
                    <a:gd name="T48" fmla="*/ 129 w 192"/>
                    <a:gd name="T49" fmla="*/ 138 h 158"/>
                    <a:gd name="T50" fmla="*/ 115 w 192"/>
                    <a:gd name="T51" fmla="*/ 130 h 158"/>
                    <a:gd name="T52" fmla="*/ 101 w 192"/>
                    <a:gd name="T53" fmla="*/ 120 h 158"/>
                    <a:gd name="T54" fmla="*/ 87 w 192"/>
                    <a:gd name="T55" fmla="*/ 110 h 158"/>
                    <a:gd name="T56" fmla="*/ 75 w 192"/>
                    <a:gd name="T57" fmla="*/ 98 h 158"/>
                    <a:gd name="T58" fmla="*/ 63 w 192"/>
                    <a:gd name="T59" fmla="*/ 87 h 158"/>
                    <a:gd name="T60" fmla="*/ 52 w 192"/>
                    <a:gd name="T61" fmla="*/ 75 h 158"/>
                    <a:gd name="T62" fmla="*/ 42 w 192"/>
                    <a:gd name="T63" fmla="*/ 63 h 158"/>
                    <a:gd name="T64" fmla="*/ 35 w 192"/>
                    <a:gd name="T65" fmla="*/ 50 h 158"/>
                    <a:gd name="T66" fmla="*/ 27 w 192"/>
                    <a:gd name="T67" fmla="*/ 38 h 158"/>
                    <a:gd name="T68" fmla="*/ 21 w 192"/>
                    <a:gd name="T69" fmla="*/ 26 h 158"/>
                    <a:gd name="T70" fmla="*/ 16 w 192"/>
                    <a:gd name="T71" fmla="*/ 16 h 158"/>
                    <a:gd name="T72" fmla="*/ 13 w 192"/>
                    <a:gd name="T73" fmla="*/ 6 h 158"/>
                    <a:gd name="T74" fmla="*/ 0 w 192"/>
                    <a:gd name="T75" fmla="*/ 0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81" name="Freeform 441"/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772 w 884"/>
                    <a:gd name="T1" fmla="*/ 415 h 1818"/>
                    <a:gd name="T2" fmla="*/ 873 w 884"/>
                    <a:gd name="T3" fmla="*/ 342 h 1818"/>
                    <a:gd name="T4" fmla="*/ 884 w 884"/>
                    <a:gd name="T5" fmla="*/ 232 h 1818"/>
                    <a:gd name="T6" fmla="*/ 840 w 884"/>
                    <a:gd name="T7" fmla="*/ 192 h 1818"/>
                    <a:gd name="T8" fmla="*/ 841 w 884"/>
                    <a:gd name="T9" fmla="*/ 262 h 1818"/>
                    <a:gd name="T10" fmla="*/ 774 w 884"/>
                    <a:gd name="T11" fmla="*/ 328 h 1818"/>
                    <a:gd name="T12" fmla="*/ 667 w 884"/>
                    <a:gd name="T13" fmla="*/ 331 h 1818"/>
                    <a:gd name="T14" fmla="*/ 625 w 884"/>
                    <a:gd name="T15" fmla="*/ 290 h 1818"/>
                    <a:gd name="T16" fmla="*/ 658 w 884"/>
                    <a:gd name="T17" fmla="*/ 215 h 1818"/>
                    <a:gd name="T18" fmla="*/ 544 w 884"/>
                    <a:gd name="T19" fmla="*/ 148 h 1818"/>
                    <a:gd name="T20" fmla="*/ 425 w 884"/>
                    <a:gd name="T21" fmla="*/ 87 h 1818"/>
                    <a:gd name="T22" fmla="*/ 373 w 884"/>
                    <a:gd name="T23" fmla="*/ 10 h 1818"/>
                    <a:gd name="T24" fmla="*/ 286 w 884"/>
                    <a:gd name="T25" fmla="*/ 22 h 1818"/>
                    <a:gd name="T26" fmla="*/ 234 w 884"/>
                    <a:gd name="T27" fmla="*/ 24 h 1818"/>
                    <a:gd name="T28" fmla="*/ 171 w 884"/>
                    <a:gd name="T29" fmla="*/ 8 h 1818"/>
                    <a:gd name="T30" fmla="*/ 98 w 884"/>
                    <a:gd name="T31" fmla="*/ 54 h 1818"/>
                    <a:gd name="T32" fmla="*/ 67 w 884"/>
                    <a:gd name="T33" fmla="*/ 116 h 1818"/>
                    <a:gd name="T34" fmla="*/ 27 w 884"/>
                    <a:gd name="T35" fmla="*/ 179 h 1818"/>
                    <a:gd name="T36" fmla="*/ 55 w 884"/>
                    <a:gd name="T37" fmla="*/ 251 h 1818"/>
                    <a:gd name="T38" fmla="*/ 51 w 884"/>
                    <a:gd name="T39" fmla="*/ 319 h 1818"/>
                    <a:gd name="T40" fmla="*/ 0 w 884"/>
                    <a:gd name="T41" fmla="*/ 432 h 1818"/>
                    <a:gd name="T42" fmla="*/ 12 w 884"/>
                    <a:gd name="T43" fmla="*/ 609 h 1818"/>
                    <a:gd name="T44" fmla="*/ 76 w 884"/>
                    <a:gd name="T45" fmla="*/ 696 h 1818"/>
                    <a:gd name="T46" fmla="*/ 60 w 884"/>
                    <a:gd name="T47" fmla="*/ 753 h 1818"/>
                    <a:gd name="T48" fmla="*/ 60 w 884"/>
                    <a:gd name="T49" fmla="*/ 808 h 1818"/>
                    <a:gd name="T50" fmla="*/ 81 w 884"/>
                    <a:gd name="T51" fmla="*/ 850 h 1818"/>
                    <a:gd name="T52" fmla="*/ 53 w 884"/>
                    <a:gd name="T53" fmla="*/ 900 h 1818"/>
                    <a:gd name="T54" fmla="*/ 82 w 884"/>
                    <a:gd name="T55" fmla="*/ 983 h 1818"/>
                    <a:gd name="T56" fmla="*/ 81 w 884"/>
                    <a:gd name="T57" fmla="*/ 1055 h 1818"/>
                    <a:gd name="T58" fmla="*/ 78 w 884"/>
                    <a:gd name="T59" fmla="*/ 1152 h 1818"/>
                    <a:gd name="T60" fmla="*/ 137 w 884"/>
                    <a:gd name="T61" fmla="*/ 1265 h 1818"/>
                    <a:gd name="T62" fmla="*/ 198 w 884"/>
                    <a:gd name="T63" fmla="*/ 1394 h 1818"/>
                    <a:gd name="T64" fmla="*/ 217 w 884"/>
                    <a:gd name="T65" fmla="*/ 1463 h 1818"/>
                    <a:gd name="T66" fmla="*/ 230 w 884"/>
                    <a:gd name="T67" fmla="*/ 1526 h 1818"/>
                    <a:gd name="T68" fmla="*/ 213 w 884"/>
                    <a:gd name="T69" fmla="*/ 1590 h 1818"/>
                    <a:gd name="T70" fmla="*/ 201 w 884"/>
                    <a:gd name="T71" fmla="*/ 1644 h 1818"/>
                    <a:gd name="T72" fmla="*/ 228 w 884"/>
                    <a:gd name="T73" fmla="*/ 1718 h 1818"/>
                    <a:gd name="T74" fmla="*/ 311 w 884"/>
                    <a:gd name="T75" fmla="*/ 1772 h 1818"/>
                    <a:gd name="T76" fmla="*/ 392 w 884"/>
                    <a:gd name="T77" fmla="*/ 1798 h 1818"/>
                    <a:gd name="T78" fmla="*/ 451 w 884"/>
                    <a:gd name="T79" fmla="*/ 1786 h 1818"/>
                    <a:gd name="T80" fmla="*/ 454 w 884"/>
                    <a:gd name="T81" fmla="*/ 1703 h 1818"/>
                    <a:gd name="T82" fmla="*/ 470 w 884"/>
                    <a:gd name="T83" fmla="*/ 1612 h 1818"/>
                    <a:gd name="T84" fmla="*/ 495 w 884"/>
                    <a:gd name="T85" fmla="*/ 1509 h 1818"/>
                    <a:gd name="T86" fmla="*/ 420 w 884"/>
                    <a:gd name="T87" fmla="*/ 1486 h 1818"/>
                    <a:gd name="T88" fmla="*/ 401 w 884"/>
                    <a:gd name="T89" fmla="*/ 1430 h 1818"/>
                    <a:gd name="T90" fmla="*/ 453 w 884"/>
                    <a:gd name="T91" fmla="*/ 1395 h 1818"/>
                    <a:gd name="T92" fmla="*/ 484 w 884"/>
                    <a:gd name="T93" fmla="*/ 1332 h 1818"/>
                    <a:gd name="T94" fmla="*/ 455 w 884"/>
                    <a:gd name="T95" fmla="*/ 1224 h 1818"/>
                    <a:gd name="T96" fmla="*/ 425 w 884"/>
                    <a:gd name="T97" fmla="*/ 1141 h 1818"/>
                    <a:gd name="T98" fmla="*/ 518 w 884"/>
                    <a:gd name="T99" fmla="*/ 1166 h 1818"/>
                    <a:gd name="T100" fmla="*/ 568 w 884"/>
                    <a:gd name="T101" fmla="*/ 1151 h 1818"/>
                    <a:gd name="T102" fmla="*/ 558 w 884"/>
                    <a:gd name="T103" fmla="*/ 1078 h 1818"/>
                    <a:gd name="T104" fmla="*/ 565 w 884"/>
                    <a:gd name="T105" fmla="*/ 1030 h 1818"/>
                    <a:gd name="T106" fmla="*/ 676 w 884"/>
                    <a:gd name="T107" fmla="*/ 1023 h 1818"/>
                    <a:gd name="T108" fmla="*/ 795 w 884"/>
                    <a:gd name="T109" fmla="*/ 973 h 1818"/>
                    <a:gd name="T110" fmla="*/ 816 w 884"/>
                    <a:gd name="T111" fmla="*/ 882 h 1818"/>
                    <a:gd name="T112" fmla="*/ 781 w 884"/>
                    <a:gd name="T113" fmla="*/ 852 h 1818"/>
                    <a:gd name="T114" fmla="*/ 758 w 884"/>
                    <a:gd name="T115" fmla="*/ 810 h 1818"/>
                    <a:gd name="T116" fmla="*/ 692 w 884"/>
                    <a:gd name="T117" fmla="*/ 752 h 1818"/>
                    <a:gd name="T118" fmla="*/ 701 w 884"/>
                    <a:gd name="T119" fmla="*/ 532 h 1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60" name="Freeform 442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6851623" y="2635732"/>
                <a:ext cx="164692" cy="109563"/>
              </a:xfrm>
              <a:custGeom>
                <a:avLst/>
                <a:gdLst>
                  <a:gd name="T0" fmla="*/ 33 w 279"/>
                  <a:gd name="T1" fmla="*/ 87 h 204"/>
                  <a:gd name="T2" fmla="*/ 59 w 279"/>
                  <a:gd name="T3" fmla="*/ 142 h 204"/>
                  <a:gd name="T4" fmla="*/ 59 w 279"/>
                  <a:gd name="T5" fmla="*/ 179 h 204"/>
                  <a:gd name="T6" fmla="*/ 102 w 279"/>
                  <a:gd name="T7" fmla="*/ 196 h 204"/>
                  <a:gd name="T8" fmla="*/ 122 w 279"/>
                  <a:gd name="T9" fmla="*/ 202 h 204"/>
                  <a:gd name="T10" fmla="*/ 139 w 279"/>
                  <a:gd name="T11" fmla="*/ 204 h 204"/>
                  <a:gd name="T12" fmla="*/ 146 w 279"/>
                  <a:gd name="T13" fmla="*/ 201 h 204"/>
                  <a:gd name="T14" fmla="*/ 151 w 279"/>
                  <a:gd name="T15" fmla="*/ 194 h 204"/>
                  <a:gd name="T16" fmla="*/ 160 w 279"/>
                  <a:gd name="T17" fmla="*/ 172 h 204"/>
                  <a:gd name="T18" fmla="*/ 172 w 279"/>
                  <a:gd name="T19" fmla="*/ 149 h 204"/>
                  <a:gd name="T20" fmla="*/ 181 w 279"/>
                  <a:gd name="T21" fmla="*/ 141 h 204"/>
                  <a:gd name="T22" fmla="*/ 192 w 279"/>
                  <a:gd name="T23" fmla="*/ 136 h 204"/>
                  <a:gd name="T24" fmla="*/ 209 w 279"/>
                  <a:gd name="T25" fmla="*/ 138 h 204"/>
                  <a:gd name="T26" fmla="*/ 220 w 279"/>
                  <a:gd name="T27" fmla="*/ 142 h 204"/>
                  <a:gd name="T28" fmla="*/ 228 w 279"/>
                  <a:gd name="T29" fmla="*/ 148 h 204"/>
                  <a:gd name="T30" fmla="*/ 231 w 279"/>
                  <a:gd name="T31" fmla="*/ 154 h 204"/>
                  <a:gd name="T32" fmla="*/ 234 w 279"/>
                  <a:gd name="T33" fmla="*/ 164 h 204"/>
                  <a:gd name="T34" fmla="*/ 231 w 279"/>
                  <a:gd name="T35" fmla="*/ 167 h 204"/>
                  <a:gd name="T36" fmla="*/ 234 w 279"/>
                  <a:gd name="T37" fmla="*/ 153 h 204"/>
                  <a:gd name="T38" fmla="*/ 238 w 279"/>
                  <a:gd name="T39" fmla="*/ 140 h 204"/>
                  <a:gd name="T40" fmla="*/ 245 w 279"/>
                  <a:gd name="T41" fmla="*/ 117 h 204"/>
                  <a:gd name="T42" fmla="*/ 254 w 279"/>
                  <a:gd name="T43" fmla="*/ 115 h 204"/>
                  <a:gd name="T44" fmla="*/ 264 w 279"/>
                  <a:gd name="T45" fmla="*/ 110 h 204"/>
                  <a:gd name="T46" fmla="*/ 279 w 279"/>
                  <a:gd name="T47" fmla="*/ 99 h 204"/>
                  <a:gd name="T48" fmla="*/ 252 w 279"/>
                  <a:gd name="T49" fmla="*/ 75 h 204"/>
                  <a:gd name="T50" fmla="*/ 227 w 279"/>
                  <a:gd name="T51" fmla="*/ 58 h 204"/>
                  <a:gd name="T52" fmla="*/ 204 w 279"/>
                  <a:gd name="T53" fmla="*/ 44 h 204"/>
                  <a:gd name="T54" fmla="*/ 185 w 279"/>
                  <a:gd name="T55" fmla="*/ 31 h 204"/>
                  <a:gd name="T56" fmla="*/ 146 w 279"/>
                  <a:gd name="T57" fmla="*/ 68 h 204"/>
                  <a:gd name="T58" fmla="*/ 79 w 279"/>
                  <a:gd name="T59" fmla="*/ 25 h 204"/>
                  <a:gd name="T60" fmla="*/ 52 w 279"/>
                  <a:gd name="T61" fmla="*/ 12 h 204"/>
                  <a:gd name="T62" fmla="*/ 46 w 279"/>
                  <a:gd name="T63" fmla="*/ 62 h 204"/>
                  <a:gd name="T64" fmla="*/ 0 w 279"/>
                  <a:gd name="T65" fmla="*/ 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1" name="Freeform 443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6142183" y="2208597"/>
                <a:ext cx="278710" cy="150847"/>
              </a:xfrm>
              <a:custGeom>
                <a:avLst/>
                <a:gdLst>
                  <a:gd name="T0" fmla="*/ 252 w 485"/>
                  <a:gd name="T1" fmla="*/ 20 h 291"/>
                  <a:gd name="T2" fmla="*/ 300 w 485"/>
                  <a:gd name="T3" fmla="*/ 44 h 291"/>
                  <a:gd name="T4" fmla="*/ 372 w 485"/>
                  <a:gd name="T5" fmla="*/ 44 h 291"/>
                  <a:gd name="T6" fmla="*/ 425 w 485"/>
                  <a:gd name="T7" fmla="*/ 131 h 291"/>
                  <a:gd name="T8" fmla="*/ 485 w 485"/>
                  <a:gd name="T9" fmla="*/ 167 h 291"/>
                  <a:gd name="T10" fmla="*/ 412 w 485"/>
                  <a:gd name="T11" fmla="*/ 173 h 291"/>
                  <a:gd name="T12" fmla="*/ 433 w 485"/>
                  <a:gd name="T13" fmla="*/ 210 h 291"/>
                  <a:gd name="T14" fmla="*/ 392 w 485"/>
                  <a:gd name="T15" fmla="*/ 241 h 291"/>
                  <a:gd name="T16" fmla="*/ 385 w 485"/>
                  <a:gd name="T17" fmla="*/ 291 h 291"/>
                  <a:gd name="T18" fmla="*/ 285 w 485"/>
                  <a:gd name="T19" fmla="*/ 266 h 291"/>
                  <a:gd name="T20" fmla="*/ 173 w 485"/>
                  <a:gd name="T21" fmla="*/ 254 h 291"/>
                  <a:gd name="T22" fmla="*/ 60 w 485"/>
                  <a:gd name="T23" fmla="*/ 266 h 291"/>
                  <a:gd name="T24" fmla="*/ 15 w 485"/>
                  <a:gd name="T25" fmla="*/ 271 h 291"/>
                  <a:gd name="T26" fmla="*/ 8 w 485"/>
                  <a:gd name="T27" fmla="*/ 257 h 291"/>
                  <a:gd name="T28" fmla="*/ 3 w 485"/>
                  <a:gd name="T29" fmla="*/ 244 h 291"/>
                  <a:gd name="T30" fmla="*/ 0 w 485"/>
                  <a:gd name="T31" fmla="*/ 229 h 291"/>
                  <a:gd name="T32" fmla="*/ 5 w 485"/>
                  <a:gd name="T33" fmla="*/ 219 h 291"/>
                  <a:gd name="T34" fmla="*/ 14 w 485"/>
                  <a:gd name="T35" fmla="*/ 207 h 291"/>
                  <a:gd name="T36" fmla="*/ 23 w 485"/>
                  <a:gd name="T37" fmla="*/ 189 h 291"/>
                  <a:gd name="T38" fmla="*/ 31 w 485"/>
                  <a:gd name="T39" fmla="*/ 166 h 291"/>
                  <a:gd name="T40" fmla="*/ 41 w 485"/>
                  <a:gd name="T41" fmla="*/ 137 h 291"/>
                  <a:gd name="T42" fmla="*/ 48 w 485"/>
                  <a:gd name="T43" fmla="*/ 126 h 291"/>
                  <a:gd name="T44" fmla="*/ 60 w 485"/>
                  <a:gd name="T45" fmla="*/ 119 h 291"/>
                  <a:gd name="T46" fmla="*/ 87 w 485"/>
                  <a:gd name="T47" fmla="*/ 111 h 291"/>
                  <a:gd name="T48" fmla="*/ 89 w 485"/>
                  <a:gd name="T49" fmla="*/ 106 h 291"/>
                  <a:gd name="T50" fmla="*/ 94 w 485"/>
                  <a:gd name="T51" fmla="*/ 100 h 291"/>
                  <a:gd name="T52" fmla="*/ 101 w 485"/>
                  <a:gd name="T53" fmla="*/ 95 h 291"/>
                  <a:gd name="T54" fmla="*/ 106 w 485"/>
                  <a:gd name="T55" fmla="*/ 93 h 291"/>
                  <a:gd name="T56" fmla="*/ 106 w 485"/>
                  <a:gd name="T57" fmla="*/ 76 h 291"/>
                  <a:gd name="T58" fmla="*/ 109 w 485"/>
                  <a:gd name="T59" fmla="*/ 70 h 291"/>
                  <a:gd name="T60" fmla="*/ 113 w 485"/>
                  <a:gd name="T61" fmla="*/ 67 h 291"/>
                  <a:gd name="T62" fmla="*/ 122 w 485"/>
                  <a:gd name="T63" fmla="*/ 69 h 291"/>
                  <a:gd name="T64" fmla="*/ 128 w 485"/>
                  <a:gd name="T65" fmla="*/ 69 h 291"/>
                  <a:gd name="T66" fmla="*/ 132 w 485"/>
                  <a:gd name="T67" fmla="*/ 66 h 291"/>
                  <a:gd name="T68" fmla="*/ 134 w 485"/>
                  <a:gd name="T69" fmla="*/ 56 h 291"/>
                  <a:gd name="T70" fmla="*/ 139 w 485"/>
                  <a:gd name="T71" fmla="*/ 44 h 291"/>
                  <a:gd name="T72" fmla="*/ 144 w 485"/>
                  <a:gd name="T73" fmla="*/ 39 h 291"/>
                  <a:gd name="T74" fmla="*/ 213 w 485"/>
                  <a:gd name="T75" fmla="*/ 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2" name="Freeform 444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5952153" y="2540460"/>
                <a:ext cx="109794" cy="87333"/>
              </a:xfrm>
              <a:custGeom>
                <a:avLst/>
                <a:gdLst>
                  <a:gd name="T0" fmla="*/ 86 w 186"/>
                  <a:gd name="T1" fmla="*/ 147 h 166"/>
                  <a:gd name="T2" fmla="*/ 83 w 186"/>
                  <a:gd name="T3" fmla="*/ 136 h 166"/>
                  <a:gd name="T4" fmla="*/ 78 w 186"/>
                  <a:gd name="T5" fmla="*/ 127 h 166"/>
                  <a:gd name="T6" fmla="*/ 74 w 186"/>
                  <a:gd name="T7" fmla="*/ 118 h 166"/>
                  <a:gd name="T8" fmla="*/ 70 w 186"/>
                  <a:gd name="T9" fmla="*/ 110 h 166"/>
                  <a:gd name="T10" fmla="*/ 60 w 186"/>
                  <a:gd name="T11" fmla="*/ 95 h 166"/>
                  <a:gd name="T12" fmla="*/ 49 w 186"/>
                  <a:gd name="T13" fmla="*/ 82 h 166"/>
                  <a:gd name="T14" fmla="*/ 37 w 186"/>
                  <a:gd name="T15" fmla="*/ 70 h 166"/>
                  <a:gd name="T16" fmla="*/ 25 w 186"/>
                  <a:gd name="T17" fmla="*/ 56 h 166"/>
                  <a:gd name="T18" fmla="*/ 13 w 186"/>
                  <a:gd name="T19" fmla="*/ 38 h 166"/>
                  <a:gd name="T20" fmla="*/ 0 w 186"/>
                  <a:gd name="T21" fmla="*/ 18 h 166"/>
                  <a:gd name="T22" fmla="*/ 0 w 186"/>
                  <a:gd name="T23" fmla="*/ 0 h 166"/>
                  <a:gd name="T24" fmla="*/ 7 w 186"/>
                  <a:gd name="T25" fmla="*/ 2 h 166"/>
                  <a:gd name="T26" fmla="*/ 14 w 186"/>
                  <a:gd name="T27" fmla="*/ 3 h 166"/>
                  <a:gd name="T28" fmla="*/ 20 w 186"/>
                  <a:gd name="T29" fmla="*/ 4 h 166"/>
                  <a:gd name="T30" fmla="*/ 27 w 186"/>
                  <a:gd name="T31" fmla="*/ 4 h 166"/>
                  <a:gd name="T32" fmla="*/ 33 w 186"/>
                  <a:gd name="T33" fmla="*/ 4 h 166"/>
                  <a:gd name="T34" fmla="*/ 40 w 186"/>
                  <a:gd name="T35" fmla="*/ 3 h 166"/>
                  <a:gd name="T36" fmla="*/ 47 w 186"/>
                  <a:gd name="T37" fmla="*/ 2 h 166"/>
                  <a:gd name="T38" fmla="*/ 53 w 186"/>
                  <a:gd name="T39" fmla="*/ 0 h 166"/>
                  <a:gd name="T40" fmla="*/ 140 w 186"/>
                  <a:gd name="T41" fmla="*/ 12 h 166"/>
                  <a:gd name="T42" fmla="*/ 186 w 186"/>
                  <a:gd name="T43" fmla="*/ 91 h 166"/>
                  <a:gd name="T44" fmla="*/ 171 w 186"/>
                  <a:gd name="T45" fmla="*/ 112 h 166"/>
                  <a:gd name="T46" fmla="*/ 155 w 186"/>
                  <a:gd name="T47" fmla="*/ 129 h 166"/>
                  <a:gd name="T48" fmla="*/ 149 w 186"/>
                  <a:gd name="T49" fmla="*/ 137 h 166"/>
                  <a:gd name="T50" fmla="*/ 144 w 186"/>
                  <a:gd name="T51" fmla="*/ 145 h 166"/>
                  <a:gd name="T52" fmla="*/ 142 w 186"/>
                  <a:gd name="T53" fmla="*/ 150 h 166"/>
                  <a:gd name="T54" fmla="*/ 141 w 186"/>
                  <a:gd name="T55" fmla="*/ 156 h 166"/>
                  <a:gd name="T56" fmla="*/ 140 w 186"/>
                  <a:gd name="T57" fmla="*/ 161 h 166"/>
                  <a:gd name="T58" fmla="*/ 140 w 186"/>
                  <a:gd name="T59" fmla="*/ 166 h 166"/>
                  <a:gd name="T60" fmla="*/ 86 w 186"/>
                  <a:gd name="T61" fmla="*/ 14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3" name="Freeform 445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3918803" y="3977480"/>
                <a:ext cx="109794" cy="57162"/>
              </a:xfrm>
              <a:custGeom>
                <a:avLst/>
                <a:gdLst>
                  <a:gd name="T0" fmla="*/ 153 w 186"/>
                  <a:gd name="T1" fmla="*/ 21 h 104"/>
                  <a:gd name="T2" fmla="*/ 146 w 186"/>
                  <a:gd name="T3" fmla="*/ 21 h 104"/>
                  <a:gd name="T4" fmla="*/ 141 w 186"/>
                  <a:gd name="T5" fmla="*/ 20 h 104"/>
                  <a:gd name="T6" fmla="*/ 136 w 186"/>
                  <a:gd name="T7" fmla="*/ 18 h 104"/>
                  <a:gd name="T8" fmla="*/ 133 w 186"/>
                  <a:gd name="T9" fmla="*/ 15 h 104"/>
                  <a:gd name="T10" fmla="*/ 130 w 186"/>
                  <a:gd name="T11" fmla="*/ 13 h 104"/>
                  <a:gd name="T12" fmla="*/ 125 w 186"/>
                  <a:gd name="T13" fmla="*/ 11 h 104"/>
                  <a:gd name="T14" fmla="*/ 120 w 186"/>
                  <a:gd name="T15" fmla="*/ 10 h 104"/>
                  <a:gd name="T16" fmla="*/ 113 w 186"/>
                  <a:gd name="T17" fmla="*/ 9 h 104"/>
                  <a:gd name="T18" fmla="*/ 100 w 186"/>
                  <a:gd name="T19" fmla="*/ 8 h 104"/>
                  <a:gd name="T20" fmla="*/ 88 w 186"/>
                  <a:gd name="T21" fmla="*/ 6 h 104"/>
                  <a:gd name="T22" fmla="*/ 75 w 186"/>
                  <a:gd name="T23" fmla="*/ 3 h 104"/>
                  <a:gd name="T24" fmla="*/ 64 w 186"/>
                  <a:gd name="T25" fmla="*/ 1 h 104"/>
                  <a:gd name="T26" fmla="*/ 60 w 186"/>
                  <a:gd name="T27" fmla="*/ 0 h 104"/>
                  <a:gd name="T28" fmla="*/ 54 w 186"/>
                  <a:gd name="T29" fmla="*/ 0 h 104"/>
                  <a:gd name="T30" fmla="*/ 51 w 186"/>
                  <a:gd name="T31" fmla="*/ 1 h 104"/>
                  <a:gd name="T32" fmla="*/ 46 w 186"/>
                  <a:gd name="T33" fmla="*/ 2 h 104"/>
                  <a:gd name="T34" fmla="*/ 44 w 186"/>
                  <a:gd name="T35" fmla="*/ 4 h 104"/>
                  <a:gd name="T36" fmla="*/ 42 w 186"/>
                  <a:gd name="T37" fmla="*/ 6 h 104"/>
                  <a:gd name="T38" fmla="*/ 41 w 186"/>
                  <a:gd name="T39" fmla="*/ 10 h 104"/>
                  <a:gd name="T40" fmla="*/ 40 w 186"/>
                  <a:gd name="T41" fmla="*/ 15 h 104"/>
                  <a:gd name="T42" fmla="*/ 34 w 186"/>
                  <a:gd name="T43" fmla="*/ 27 h 104"/>
                  <a:gd name="T44" fmla="*/ 20 w 186"/>
                  <a:gd name="T45" fmla="*/ 47 h 104"/>
                  <a:gd name="T46" fmla="*/ 7 w 186"/>
                  <a:gd name="T47" fmla="*/ 66 h 104"/>
                  <a:gd name="T48" fmla="*/ 0 w 186"/>
                  <a:gd name="T49" fmla="*/ 77 h 104"/>
                  <a:gd name="T50" fmla="*/ 8 w 186"/>
                  <a:gd name="T51" fmla="*/ 77 h 104"/>
                  <a:gd name="T52" fmla="*/ 16 w 186"/>
                  <a:gd name="T53" fmla="*/ 78 h 104"/>
                  <a:gd name="T54" fmla="*/ 21 w 186"/>
                  <a:gd name="T55" fmla="*/ 79 h 104"/>
                  <a:gd name="T56" fmla="*/ 25 w 186"/>
                  <a:gd name="T57" fmla="*/ 81 h 104"/>
                  <a:gd name="T58" fmla="*/ 33 w 186"/>
                  <a:gd name="T59" fmla="*/ 85 h 104"/>
                  <a:gd name="T60" fmla="*/ 40 w 186"/>
                  <a:gd name="T61" fmla="*/ 89 h 104"/>
                  <a:gd name="T62" fmla="*/ 45 w 186"/>
                  <a:gd name="T63" fmla="*/ 94 h 104"/>
                  <a:gd name="T64" fmla="*/ 52 w 186"/>
                  <a:gd name="T65" fmla="*/ 98 h 104"/>
                  <a:gd name="T66" fmla="*/ 56 w 186"/>
                  <a:gd name="T67" fmla="*/ 100 h 104"/>
                  <a:gd name="T68" fmla="*/ 61 w 186"/>
                  <a:gd name="T69" fmla="*/ 101 h 104"/>
                  <a:gd name="T70" fmla="*/ 66 w 186"/>
                  <a:gd name="T71" fmla="*/ 102 h 104"/>
                  <a:gd name="T72" fmla="*/ 74 w 186"/>
                  <a:gd name="T73" fmla="*/ 102 h 104"/>
                  <a:gd name="T74" fmla="*/ 107 w 186"/>
                  <a:gd name="T75" fmla="*/ 103 h 104"/>
                  <a:gd name="T76" fmla="*/ 131 w 186"/>
                  <a:gd name="T77" fmla="*/ 104 h 104"/>
                  <a:gd name="T78" fmla="*/ 135 w 186"/>
                  <a:gd name="T79" fmla="*/ 103 h 104"/>
                  <a:gd name="T80" fmla="*/ 139 w 186"/>
                  <a:gd name="T81" fmla="*/ 102 h 104"/>
                  <a:gd name="T82" fmla="*/ 142 w 186"/>
                  <a:gd name="T83" fmla="*/ 100 h 104"/>
                  <a:gd name="T84" fmla="*/ 145 w 186"/>
                  <a:gd name="T85" fmla="*/ 97 h 104"/>
                  <a:gd name="T86" fmla="*/ 147 w 186"/>
                  <a:gd name="T87" fmla="*/ 94 h 104"/>
                  <a:gd name="T88" fmla="*/ 150 w 186"/>
                  <a:gd name="T89" fmla="*/ 88 h 104"/>
                  <a:gd name="T90" fmla="*/ 152 w 186"/>
                  <a:gd name="T91" fmla="*/ 83 h 104"/>
                  <a:gd name="T92" fmla="*/ 153 w 186"/>
                  <a:gd name="T93" fmla="*/ 77 h 104"/>
                  <a:gd name="T94" fmla="*/ 186 w 186"/>
                  <a:gd name="T95" fmla="*/ 27 h 104"/>
                  <a:gd name="T96" fmla="*/ 153 w 186"/>
                  <a:gd name="T97" fmla="*/ 21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4" name="Freeform 446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6163297" y="2575393"/>
                <a:ext cx="177360" cy="96860"/>
              </a:xfrm>
              <a:custGeom>
                <a:avLst/>
                <a:gdLst>
                  <a:gd name="T0" fmla="*/ 79 w 311"/>
                  <a:gd name="T1" fmla="*/ 38 h 179"/>
                  <a:gd name="T2" fmla="*/ 115 w 311"/>
                  <a:gd name="T3" fmla="*/ 26 h 179"/>
                  <a:gd name="T4" fmla="*/ 148 w 311"/>
                  <a:gd name="T5" fmla="*/ 14 h 179"/>
                  <a:gd name="T6" fmla="*/ 178 w 311"/>
                  <a:gd name="T7" fmla="*/ 4 h 179"/>
                  <a:gd name="T8" fmla="*/ 211 w 311"/>
                  <a:gd name="T9" fmla="*/ 0 h 179"/>
                  <a:gd name="T10" fmla="*/ 236 w 311"/>
                  <a:gd name="T11" fmla="*/ 2 h 179"/>
                  <a:gd name="T12" fmla="*/ 256 w 311"/>
                  <a:gd name="T13" fmla="*/ 6 h 179"/>
                  <a:gd name="T14" fmla="*/ 292 w 311"/>
                  <a:gd name="T15" fmla="*/ 12 h 179"/>
                  <a:gd name="T16" fmla="*/ 287 w 311"/>
                  <a:gd name="T17" fmla="*/ 28 h 179"/>
                  <a:gd name="T18" fmla="*/ 278 w 311"/>
                  <a:gd name="T19" fmla="*/ 42 h 179"/>
                  <a:gd name="T20" fmla="*/ 269 w 311"/>
                  <a:gd name="T21" fmla="*/ 53 h 179"/>
                  <a:gd name="T22" fmla="*/ 265 w 311"/>
                  <a:gd name="T23" fmla="*/ 62 h 179"/>
                  <a:gd name="T24" fmla="*/ 266 w 311"/>
                  <a:gd name="T25" fmla="*/ 66 h 179"/>
                  <a:gd name="T26" fmla="*/ 271 w 311"/>
                  <a:gd name="T27" fmla="*/ 71 h 179"/>
                  <a:gd name="T28" fmla="*/ 285 w 311"/>
                  <a:gd name="T29" fmla="*/ 79 h 179"/>
                  <a:gd name="T30" fmla="*/ 311 w 311"/>
                  <a:gd name="T31" fmla="*/ 93 h 179"/>
                  <a:gd name="T32" fmla="*/ 287 w 311"/>
                  <a:gd name="T33" fmla="*/ 107 h 179"/>
                  <a:gd name="T34" fmla="*/ 281 w 311"/>
                  <a:gd name="T35" fmla="*/ 115 h 179"/>
                  <a:gd name="T36" fmla="*/ 278 w 311"/>
                  <a:gd name="T37" fmla="*/ 129 h 179"/>
                  <a:gd name="T38" fmla="*/ 252 w 311"/>
                  <a:gd name="T39" fmla="*/ 136 h 179"/>
                  <a:gd name="T40" fmla="*/ 211 w 311"/>
                  <a:gd name="T41" fmla="*/ 148 h 179"/>
                  <a:gd name="T42" fmla="*/ 191 w 311"/>
                  <a:gd name="T43" fmla="*/ 168 h 179"/>
                  <a:gd name="T44" fmla="*/ 178 w 311"/>
                  <a:gd name="T45" fmla="*/ 176 h 179"/>
                  <a:gd name="T46" fmla="*/ 165 w 311"/>
                  <a:gd name="T47" fmla="*/ 179 h 179"/>
                  <a:gd name="T48" fmla="*/ 151 w 311"/>
                  <a:gd name="T49" fmla="*/ 175 h 179"/>
                  <a:gd name="T50" fmla="*/ 137 w 311"/>
                  <a:gd name="T51" fmla="*/ 167 h 179"/>
                  <a:gd name="T52" fmla="*/ 120 w 311"/>
                  <a:gd name="T53" fmla="*/ 158 h 179"/>
                  <a:gd name="T54" fmla="*/ 98 w 311"/>
                  <a:gd name="T55" fmla="*/ 155 h 179"/>
                  <a:gd name="T56" fmla="*/ 66 w 311"/>
                  <a:gd name="T57" fmla="*/ 155 h 179"/>
                  <a:gd name="T58" fmla="*/ 51 w 311"/>
                  <a:gd name="T59" fmla="*/ 157 h 179"/>
                  <a:gd name="T60" fmla="*/ 39 w 311"/>
                  <a:gd name="T61" fmla="*/ 161 h 179"/>
                  <a:gd name="T62" fmla="*/ 36 w 311"/>
                  <a:gd name="T63" fmla="*/ 142 h 179"/>
                  <a:gd name="T64" fmla="*/ 32 w 311"/>
                  <a:gd name="T65" fmla="*/ 123 h 179"/>
                  <a:gd name="T66" fmla="*/ 21 w 311"/>
                  <a:gd name="T67" fmla="*/ 128 h 179"/>
                  <a:gd name="T68" fmla="*/ 13 w 311"/>
                  <a:gd name="T69" fmla="*/ 129 h 179"/>
                  <a:gd name="T70" fmla="*/ 7 w 311"/>
                  <a:gd name="T71" fmla="*/ 126 h 179"/>
                  <a:gd name="T72" fmla="*/ 3 w 311"/>
                  <a:gd name="T73" fmla="*/ 121 h 179"/>
                  <a:gd name="T74" fmla="*/ 0 w 311"/>
                  <a:gd name="T75" fmla="*/ 105 h 179"/>
                  <a:gd name="T76" fmla="*/ 0 w 311"/>
                  <a:gd name="T77" fmla="*/ 87 h 179"/>
                  <a:gd name="T78" fmla="*/ 3 w 311"/>
                  <a:gd name="T79" fmla="*/ 82 h 179"/>
                  <a:gd name="T80" fmla="*/ 13 w 311"/>
                  <a:gd name="T81" fmla="*/ 78 h 179"/>
                  <a:gd name="T82" fmla="*/ 21 w 311"/>
                  <a:gd name="T83" fmla="*/ 72 h 179"/>
                  <a:gd name="T84" fmla="*/ 25 w 311"/>
                  <a:gd name="T85" fmla="*/ 68 h 179"/>
                  <a:gd name="T86" fmla="*/ 26 w 311"/>
                  <a:gd name="T87" fmla="*/ 62 h 179"/>
                  <a:gd name="T88" fmla="*/ 24 w 311"/>
                  <a:gd name="T89" fmla="*/ 51 h 179"/>
                  <a:gd name="T90" fmla="*/ 19 w 311"/>
                  <a:gd name="T91" fmla="*/ 43 h 179"/>
                  <a:gd name="T92" fmla="*/ 8 w 311"/>
                  <a:gd name="T93" fmla="*/ 29 h 179"/>
                  <a:gd name="T94" fmla="*/ 1 w 311"/>
                  <a:gd name="T95" fmla="*/ 18 h 179"/>
                  <a:gd name="T96" fmla="*/ 1 w 311"/>
                  <a:gd name="T97" fmla="*/ 13 h 179"/>
                  <a:gd name="T98" fmla="*/ 6 w 311"/>
                  <a:gd name="T99" fmla="*/ 6 h 179"/>
                  <a:gd name="T100" fmla="*/ 0 w 311"/>
                  <a:gd name="T101" fmla="*/ 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5" name="Freeform 447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5306056" y="3502708"/>
                <a:ext cx="236480" cy="165138"/>
              </a:xfrm>
              <a:custGeom>
                <a:avLst/>
                <a:gdLst>
                  <a:gd name="T0" fmla="*/ 6 w 405"/>
                  <a:gd name="T1" fmla="*/ 260 h 314"/>
                  <a:gd name="T2" fmla="*/ 13 w 405"/>
                  <a:gd name="T3" fmla="*/ 237 h 314"/>
                  <a:gd name="T4" fmla="*/ 17 w 405"/>
                  <a:gd name="T5" fmla="*/ 202 h 314"/>
                  <a:gd name="T6" fmla="*/ 23 w 405"/>
                  <a:gd name="T7" fmla="*/ 173 h 314"/>
                  <a:gd name="T8" fmla="*/ 32 w 405"/>
                  <a:gd name="T9" fmla="*/ 162 h 314"/>
                  <a:gd name="T10" fmla="*/ 48 w 405"/>
                  <a:gd name="T11" fmla="*/ 150 h 314"/>
                  <a:gd name="T12" fmla="*/ 72 w 405"/>
                  <a:gd name="T13" fmla="*/ 141 h 314"/>
                  <a:gd name="T14" fmla="*/ 93 w 405"/>
                  <a:gd name="T15" fmla="*/ 134 h 314"/>
                  <a:gd name="T16" fmla="*/ 104 w 405"/>
                  <a:gd name="T17" fmla="*/ 125 h 314"/>
                  <a:gd name="T18" fmla="*/ 113 w 405"/>
                  <a:gd name="T19" fmla="*/ 114 h 314"/>
                  <a:gd name="T20" fmla="*/ 123 w 405"/>
                  <a:gd name="T21" fmla="*/ 93 h 314"/>
                  <a:gd name="T22" fmla="*/ 136 w 405"/>
                  <a:gd name="T23" fmla="*/ 69 h 314"/>
                  <a:gd name="T24" fmla="*/ 147 w 405"/>
                  <a:gd name="T25" fmla="*/ 55 h 314"/>
                  <a:gd name="T26" fmla="*/ 155 w 405"/>
                  <a:gd name="T27" fmla="*/ 51 h 314"/>
                  <a:gd name="T28" fmla="*/ 170 w 405"/>
                  <a:gd name="T29" fmla="*/ 51 h 314"/>
                  <a:gd name="T30" fmla="*/ 189 w 405"/>
                  <a:gd name="T31" fmla="*/ 48 h 314"/>
                  <a:gd name="T32" fmla="*/ 213 w 405"/>
                  <a:gd name="T33" fmla="*/ 35 h 314"/>
                  <a:gd name="T34" fmla="*/ 237 w 405"/>
                  <a:gd name="T35" fmla="*/ 20 h 314"/>
                  <a:gd name="T36" fmla="*/ 257 w 405"/>
                  <a:gd name="T37" fmla="*/ 11 h 314"/>
                  <a:gd name="T38" fmla="*/ 282 w 405"/>
                  <a:gd name="T39" fmla="*/ 4 h 314"/>
                  <a:gd name="T40" fmla="*/ 314 w 405"/>
                  <a:gd name="T41" fmla="*/ 0 h 314"/>
                  <a:gd name="T42" fmla="*/ 332 w 405"/>
                  <a:gd name="T43" fmla="*/ 14 h 314"/>
                  <a:gd name="T44" fmla="*/ 337 w 405"/>
                  <a:gd name="T45" fmla="*/ 34 h 314"/>
                  <a:gd name="T46" fmla="*/ 343 w 405"/>
                  <a:gd name="T47" fmla="*/ 50 h 314"/>
                  <a:gd name="T48" fmla="*/ 352 w 405"/>
                  <a:gd name="T49" fmla="*/ 62 h 314"/>
                  <a:gd name="T50" fmla="*/ 368 w 405"/>
                  <a:gd name="T51" fmla="*/ 74 h 314"/>
                  <a:gd name="T52" fmla="*/ 382 w 405"/>
                  <a:gd name="T53" fmla="*/ 85 h 314"/>
                  <a:gd name="T54" fmla="*/ 390 w 405"/>
                  <a:gd name="T55" fmla="*/ 93 h 314"/>
                  <a:gd name="T56" fmla="*/ 396 w 405"/>
                  <a:gd name="T57" fmla="*/ 115 h 314"/>
                  <a:gd name="T58" fmla="*/ 398 w 405"/>
                  <a:gd name="T59" fmla="*/ 143 h 314"/>
                  <a:gd name="T60" fmla="*/ 398 w 405"/>
                  <a:gd name="T61" fmla="*/ 170 h 314"/>
                  <a:gd name="T62" fmla="*/ 402 w 405"/>
                  <a:gd name="T63" fmla="*/ 196 h 314"/>
                  <a:gd name="T64" fmla="*/ 398 w 405"/>
                  <a:gd name="T65" fmla="*/ 217 h 314"/>
                  <a:gd name="T66" fmla="*/ 382 w 405"/>
                  <a:gd name="T67" fmla="*/ 226 h 314"/>
                  <a:gd name="T68" fmla="*/ 365 w 405"/>
                  <a:gd name="T69" fmla="*/ 241 h 314"/>
                  <a:gd name="T70" fmla="*/ 363 w 405"/>
                  <a:gd name="T71" fmla="*/ 237 h 314"/>
                  <a:gd name="T72" fmla="*/ 358 w 405"/>
                  <a:gd name="T73" fmla="*/ 233 h 314"/>
                  <a:gd name="T74" fmla="*/ 342 w 405"/>
                  <a:gd name="T75" fmla="*/ 227 h 314"/>
                  <a:gd name="T76" fmla="*/ 319 w 405"/>
                  <a:gd name="T77" fmla="*/ 223 h 314"/>
                  <a:gd name="T78" fmla="*/ 152 w 405"/>
                  <a:gd name="T79" fmla="*/ 241 h 314"/>
                  <a:gd name="T80" fmla="*/ 150 w 405"/>
                  <a:gd name="T81" fmla="*/ 257 h 314"/>
                  <a:gd name="T82" fmla="*/ 150 w 405"/>
                  <a:gd name="T83" fmla="*/ 274 h 314"/>
                  <a:gd name="T84" fmla="*/ 152 w 405"/>
                  <a:gd name="T85" fmla="*/ 314 h 314"/>
                  <a:gd name="T86" fmla="*/ 139 w 405"/>
                  <a:gd name="T87" fmla="*/ 312 h 314"/>
                  <a:gd name="T88" fmla="*/ 126 w 405"/>
                  <a:gd name="T89" fmla="*/ 305 h 314"/>
                  <a:gd name="T90" fmla="*/ 100 w 405"/>
                  <a:gd name="T91" fmla="*/ 290 h 314"/>
                  <a:gd name="T92" fmla="*/ 89 w 405"/>
                  <a:gd name="T93" fmla="*/ 307 h 314"/>
                  <a:gd name="T94" fmla="*/ 82 w 405"/>
                  <a:gd name="T95" fmla="*/ 312 h 314"/>
                  <a:gd name="T96" fmla="*/ 73 w 405"/>
                  <a:gd name="T97" fmla="*/ 314 h 314"/>
                  <a:gd name="T98" fmla="*/ 60 w 405"/>
                  <a:gd name="T99" fmla="*/ 311 h 314"/>
                  <a:gd name="T100" fmla="*/ 47 w 405"/>
                  <a:gd name="T101" fmla="*/ 302 h 314"/>
                  <a:gd name="T102" fmla="*/ 28 w 405"/>
                  <a:gd name="T103" fmla="*/ 291 h 314"/>
                  <a:gd name="T104" fmla="*/ 0 w 405"/>
                  <a:gd name="T105" fmla="*/ 28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6" name="Freeform 448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5768458" y="3570987"/>
                <a:ext cx="257594" cy="349331"/>
              </a:xfrm>
              <a:custGeom>
                <a:avLst/>
                <a:gdLst>
                  <a:gd name="T0" fmla="*/ 335 w 453"/>
                  <a:gd name="T1" fmla="*/ 36 h 661"/>
                  <a:gd name="T2" fmla="*/ 321 w 453"/>
                  <a:gd name="T3" fmla="*/ 98 h 661"/>
                  <a:gd name="T4" fmla="*/ 277 w 453"/>
                  <a:gd name="T5" fmla="*/ 162 h 661"/>
                  <a:gd name="T6" fmla="*/ 253 w 453"/>
                  <a:gd name="T7" fmla="*/ 219 h 661"/>
                  <a:gd name="T8" fmla="*/ 232 w 453"/>
                  <a:gd name="T9" fmla="*/ 272 h 661"/>
                  <a:gd name="T10" fmla="*/ 209 w 453"/>
                  <a:gd name="T11" fmla="*/ 329 h 661"/>
                  <a:gd name="T12" fmla="*/ 196 w 453"/>
                  <a:gd name="T13" fmla="*/ 362 h 661"/>
                  <a:gd name="T14" fmla="*/ 180 w 453"/>
                  <a:gd name="T15" fmla="*/ 380 h 661"/>
                  <a:gd name="T16" fmla="*/ 167 w 453"/>
                  <a:gd name="T17" fmla="*/ 390 h 661"/>
                  <a:gd name="T18" fmla="*/ 141 w 453"/>
                  <a:gd name="T19" fmla="*/ 382 h 661"/>
                  <a:gd name="T20" fmla="*/ 121 w 453"/>
                  <a:gd name="T21" fmla="*/ 370 h 661"/>
                  <a:gd name="T22" fmla="*/ 94 w 453"/>
                  <a:gd name="T23" fmla="*/ 367 h 661"/>
                  <a:gd name="T24" fmla="*/ 64 w 453"/>
                  <a:gd name="T25" fmla="*/ 380 h 661"/>
                  <a:gd name="T26" fmla="*/ 44 w 453"/>
                  <a:gd name="T27" fmla="*/ 403 h 661"/>
                  <a:gd name="T28" fmla="*/ 21 w 453"/>
                  <a:gd name="T29" fmla="*/ 454 h 661"/>
                  <a:gd name="T30" fmla="*/ 7 w 453"/>
                  <a:gd name="T31" fmla="*/ 482 h 661"/>
                  <a:gd name="T32" fmla="*/ 1 w 453"/>
                  <a:gd name="T33" fmla="*/ 500 h 661"/>
                  <a:gd name="T34" fmla="*/ 8 w 453"/>
                  <a:gd name="T35" fmla="*/ 517 h 661"/>
                  <a:gd name="T36" fmla="*/ 20 w 453"/>
                  <a:gd name="T37" fmla="*/ 526 h 661"/>
                  <a:gd name="T38" fmla="*/ 55 w 453"/>
                  <a:gd name="T39" fmla="*/ 526 h 661"/>
                  <a:gd name="T40" fmla="*/ 71 w 453"/>
                  <a:gd name="T41" fmla="*/ 548 h 661"/>
                  <a:gd name="T42" fmla="*/ 73 w 453"/>
                  <a:gd name="T43" fmla="*/ 590 h 661"/>
                  <a:gd name="T44" fmla="*/ 67 w 453"/>
                  <a:gd name="T45" fmla="*/ 630 h 661"/>
                  <a:gd name="T46" fmla="*/ 433 w 453"/>
                  <a:gd name="T47" fmla="*/ 661 h 661"/>
                  <a:gd name="T48" fmla="*/ 442 w 453"/>
                  <a:gd name="T49" fmla="*/ 582 h 661"/>
                  <a:gd name="T50" fmla="*/ 415 w 453"/>
                  <a:gd name="T51" fmla="*/ 568 h 661"/>
                  <a:gd name="T52" fmla="*/ 373 w 453"/>
                  <a:gd name="T53" fmla="*/ 557 h 661"/>
                  <a:gd name="T54" fmla="*/ 353 w 453"/>
                  <a:gd name="T55" fmla="*/ 549 h 661"/>
                  <a:gd name="T56" fmla="*/ 340 w 453"/>
                  <a:gd name="T57" fmla="*/ 537 h 661"/>
                  <a:gd name="T58" fmla="*/ 333 w 453"/>
                  <a:gd name="T59" fmla="*/ 515 h 661"/>
                  <a:gd name="T60" fmla="*/ 333 w 453"/>
                  <a:gd name="T61" fmla="*/ 464 h 661"/>
                  <a:gd name="T62" fmla="*/ 337 w 453"/>
                  <a:gd name="T63" fmla="*/ 428 h 661"/>
                  <a:gd name="T64" fmla="*/ 351 w 453"/>
                  <a:gd name="T65" fmla="*/ 397 h 661"/>
                  <a:gd name="T66" fmla="*/ 373 w 453"/>
                  <a:gd name="T67" fmla="*/ 364 h 661"/>
                  <a:gd name="T68" fmla="*/ 392 w 453"/>
                  <a:gd name="T69" fmla="*/ 330 h 661"/>
                  <a:gd name="T70" fmla="*/ 399 w 453"/>
                  <a:gd name="T71" fmla="*/ 297 h 661"/>
                  <a:gd name="T72" fmla="*/ 389 w 453"/>
                  <a:gd name="T73" fmla="*/ 267 h 661"/>
                  <a:gd name="T74" fmla="*/ 373 w 453"/>
                  <a:gd name="T75" fmla="*/ 246 h 661"/>
                  <a:gd name="T76" fmla="*/ 343 w 453"/>
                  <a:gd name="T77" fmla="*/ 217 h 661"/>
                  <a:gd name="T78" fmla="*/ 333 w 453"/>
                  <a:gd name="T79" fmla="*/ 192 h 661"/>
                  <a:gd name="T80" fmla="*/ 335 w 453"/>
                  <a:gd name="T81" fmla="*/ 173 h 661"/>
                  <a:gd name="T82" fmla="*/ 353 w 453"/>
                  <a:gd name="T83" fmla="*/ 164 h 661"/>
                  <a:gd name="T84" fmla="*/ 406 w 453"/>
                  <a:gd name="T85" fmla="*/ 162 h 661"/>
                  <a:gd name="T86" fmla="*/ 395 w 453"/>
                  <a:gd name="T87" fmla="*/ 151 h 661"/>
                  <a:gd name="T88" fmla="*/ 379 w 453"/>
                  <a:gd name="T89" fmla="*/ 117 h 661"/>
                  <a:gd name="T90" fmla="*/ 371 w 453"/>
                  <a:gd name="T91" fmla="*/ 73 h 661"/>
                  <a:gd name="T92" fmla="*/ 373 w 453"/>
                  <a:gd name="T93" fmla="*/ 45 h 661"/>
                  <a:gd name="T94" fmla="*/ 367 w 453"/>
                  <a:gd name="T95" fmla="*/ 11 h 661"/>
                  <a:gd name="T96" fmla="*/ 347 w 453"/>
                  <a:gd name="T97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7" name="Freeform 449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9028509" y="3329631"/>
                <a:ext cx="73901" cy="57162"/>
              </a:xfrm>
              <a:custGeom>
                <a:avLst/>
                <a:gdLst>
                  <a:gd name="T0" fmla="*/ 0 w 126"/>
                  <a:gd name="T1" fmla="*/ 56 h 105"/>
                  <a:gd name="T2" fmla="*/ 4 w 126"/>
                  <a:gd name="T3" fmla="*/ 49 h 105"/>
                  <a:gd name="T4" fmla="*/ 10 w 126"/>
                  <a:gd name="T5" fmla="*/ 41 h 105"/>
                  <a:gd name="T6" fmla="*/ 16 w 126"/>
                  <a:gd name="T7" fmla="*/ 33 h 105"/>
                  <a:gd name="T8" fmla="*/ 24 w 126"/>
                  <a:gd name="T9" fmla="*/ 25 h 105"/>
                  <a:gd name="T10" fmla="*/ 37 w 126"/>
                  <a:gd name="T11" fmla="*/ 11 h 105"/>
                  <a:gd name="T12" fmla="*/ 47 w 126"/>
                  <a:gd name="T13" fmla="*/ 0 h 105"/>
                  <a:gd name="T14" fmla="*/ 113 w 126"/>
                  <a:gd name="T15" fmla="*/ 0 h 105"/>
                  <a:gd name="T16" fmla="*/ 114 w 126"/>
                  <a:gd name="T17" fmla="*/ 4 h 105"/>
                  <a:gd name="T18" fmla="*/ 115 w 126"/>
                  <a:gd name="T19" fmla="*/ 8 h 105"/>
                  <a:gd name="T20" fmla="*/ 117 w 126"/>
                  <a:gd name="T21" fmla="*/ 12 h 105"/>
                  <a:gd name="T22" fmla="*/ 119 w 126"/>
                  <a:gd name="T23" fmla="*/ 14 h 105"/>
                  <a:gd name="T24" fmla="*/ 124 w 126"/>
                  <a:gd name="T25" fmla="*/ 20 h 105"/>
                  <a:gd name="T26" fmla="*/ 126 w 126"/>
                  <a:gd name="T27" fmla="*/ 24 h 105"/>
                  <a:gd name="T28" fmla="*/ 126 w 126"/>
                  <a:gd name="T29" fmla="*/ 32 h 105"/>
                  <a:gd name="T30" fmla="*/ 125 w 126"/>
                  <a:gd name="T31" fmla="*/ 41 h 105"/>
                  <a:gd name="T32" fmla="*/ 124 w 126"/>
                  <a:gd name="T33" fmla="*/ 48 h 105"/>
                  <a:gd name="T34" fmla="*/ 122 w 126"/>
                  <a:gd name="T35" fmla="*/ 55 h 105"/>
                  <a:gd name="T36" fmla="*/ 119 w 126"/>
                  <a:gd name="T37" fmla="*/ 62 h 105"/>
                  <a:gd name="T38" fmla="*/ 116 w 126"/>
                  <a:gd name="T39" fmla="*/ 69 h 105"/>
                  <a:gd name="T40" fmla="*/ 112 w 126"/>
                  <a:gd name="T41" fmla="*/ 75 h 105"/>
                  <a:gd name="T42" fmla="*/ 108 w 126"/>
                  <a:gd name="T43" fmla="*/ 81 h 105"/>
                  <a:gd name="T44" fmla="*/ 104 w 126"/>
                  <a:gd name="T45" fmla="*/ 86 h 105"/>
                  <a:gd name="T46" fmla="*/ 99 w 126"/>
                  <a:gd name="T47" fmla="*/ 90 h 105"/>
                  <a:gd name="T48" fmla="*/ 93 w 126"/>
                  <a:gd name="T49" fmla="*/ 94 h 105"/>
                  <a:gd name="T50" fmla="*/ 88 w 126"/>
                  <a:gd name="T51" fmla="*/ 99 h 105"/>
                  <a:gd name="T52" fmla="*/ 81 w 126"/>
                  <a:gd name="T53" fmla="*/ 101 h 105"/>
                  <a:gd name="T54" fmla="*/ 74 w 126"/>
                  <a:gd name="T55" fmla="*/ 103 h 105"/>
                  <a:gd name="T56" fmla="*/ 67 w 126"/>
                  <a:gd name="T57" fmla="*/ 105 h 105"/>
                  <a:gd name="T58" fmla="*/ 60 w 126"/>
                  <a:gd name="T59" fmla="*/ 105 h 105"/>
                  <a:gd name="T60" fmla="*/ 48 w 126"/>
                  <a:gd name="T61" fmla="*/ 104 h 105"/>
                  <a:gd name="T62" fmla="*/ 38 w 126"/>
                  <a:gd name="T63" fmla="*/ 102 h 105"/>
                  <a:gd name="T64" fmla="*/ 31 w 126"/>
                  <a:gd name="T65" fmla="*/ 98 h 105"/>
                  <a:gd name="T66" fmla="*/ 24 w 126"/>
                  <a:gd name="T67" fmla="*/ 92 h 105"/>
                  <a:gd name="T68" fmla="*/ 20 w 126"/>
                  <a:gd name="T69" fmla="*/ 86 h 105"/>
                  <a:gd name="T70" fmla="*/ 16 w 126"/>
                  <a:gd name="T71" fmla="*/ 78 h 105"/>
                  <a:gd name="T72" fmla="*/ 14 w 126"/>
                  <a:gd name="T73" fmla="*/ 70 h 105"/>
                  <a:gd name="T74" fmla="*/ 13 w 126"/>
                  <a:gd name="T75" fmla="*/ 62 h 105"/>
                  <a:gd name="T76" fmla="*/ 0 w 126"/>
                  <a:gd name="T77" fmla="*/ 5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8" name="Freeform 450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2991884" y="3593217"/>
                <a:ext cx="396950" cy="523995"/>
              </a:xfrm>
              <a:custGeom>
                <a:avLst/>
                <a:gdLst>
                  <a:gd name="T0" fmla="*/ 671 w 684"/>
                  <a:gd name="T1" fmla="*/ 573 h 998"/>
                  <a:gd name="T2" fmla="*/ 680 w 684"/>
                  <a:gd name="T3" fmla="*/ 550 h 998"/>
                  <a:gd name="T4" fmla="*/ 671 w 684"/>
                  <a:gd name="T5" fmla="*/ 491 h 998"/>
                  <a:gd name="T6" fmla="*/ 659 w 684"/>
                  <a:gd name="T7" fmla="*/ 423 h 998"/>
                  <a:gd name="T8" fmla="*/ 678 w 684"/>
                  <a:gd name="T9" fmla="*/ 389 h 998"/>
                  <a:gd name="T10" fmla="*/ 557 w 684"/>
                  <a:gd name="T11" fmla="*/ 361 h 998"/>
                  <a:gd name="T12" fmla="*/ 533 w 684"/>
                  <a:gd name="T13" fmla="*/ 326 h 998"/>
                  <a:gd name="T14" fmla="*/ 462 w 684"/>
                  <a:gd name="T15" fmla="*/ 310 h 998"/>
                  <a:gd name="T16" fmla="*/ 402 w 684"/>
                  <a:gd name="T17" fmla="*/ 270 h 998"/>
                  <a:gd name="T18" fmla="*/ 375 w 684"/>
                  <a:gd name="T19" fmla="*/ 201 h 998"/>
                  <a:gd name="T20" fmla="*/ 375 w 684"/>
                  <a:gd name="T21" fmla="*/ 133 h 998"/>
                  <a:gd name="T22" fmla="*/ 395 w 684"/>
                  <a:gd name="T23" fmla="*/ 84 h 998"/>
                  <a:gd name="T24" fmla="*/ 435 w 684"/>
                  <a:gd name="T25" fmla="*/ 48 h 998"/>
                  <a:gd name="T26" fmla="*/ 463 w 684"/>
                  <a:gd name="T27" fmla="*/ 11 h 998"/>
                  <a:gd name="T28" fmla="*/ 389 w 684"/>
                  <a:gd name="T29" fmla="*/ 39 h 998"/>
                  <a:gd name="T30" fmla="*/ 335 w 684"/>
                  <a:gd name="T31" fmla="*/ 68 h 998"/>
                  <a:gd name="T32" fmla="*/ 304 w 684"/>
                  <a:gd name="T33" fmla="*/ 78 h 998"/>
                  <a:gd name="T34" fmla="*/ 278 w 684"/>
                  <a:gd name="T35" fmla="*/ 84 h 998"/>
                  <a:gd name="T36" fmla="*/ 241 w 684"/>
                  <a:gd name="T37" fmla="*/ 81 h 998"/>
                  <a:gd name="T38" fmla="*/ 217 w 684"/>
                  <a:gd name="T39" fmla="*/ 108 h 998"/>
                  <a:gd name="T40" fmla="*/ 196 w 684"/>
                  <a:gd name="T41" fmla="*/ 175 h 998"/>
                  <a:gd name="T42" fmla="*/ 157 w 684"/>
                  <a:gd name="T43" fmla="*/ 227 h 998"/>
                  <a:gd name="T44" fmla="*/ 107 w 684"/>
                  <a:gd name="T45" fmla="*/ 284 h 998"/>
                  <a:gd name="T46" fmla="*/ 90 w 684"/>
                  <a:gd name="T47" fmla="*/ 317 h 998"/>
                  <a:gd name="T48" fmla="*/ 86 w 684"/>
                  <a:gd name="T49" fmla="*/ 356 h 998"/>
                  <a:gd name="T50" fmla="*/ 97 w 684"/>
                  <a:gd name="T51" fmla="*/ 382 h 998"/>
                  <a:gd name="T52" fmla="*/ 97 w 684"/>
                  <a:gd name="T53" fmla="*/ 451 h 998"/>
                  <a:gd name="T54" fmla="*/ 95 w 684"/>
                  <a:gd name="T55" fmla="*/ 525 h 998"/>
                  <a:gd name="T56" fmla="*/ 72 w 684"/>
                  <a:gd name="T57" fmla="*/ 563 h 998"/>
                  <a:gd name="T58" fmla="*/ 37 w 684"/>
                  <a:gd name="T59" fmla="*/ 592 h 998"/>
                  <a:gd name="T60" fmla="*/ 11 w 684"/>
                  <a:gd name="T61" fmla="*/ 612 h 998"/>
                  <a:gd name="T62" fmla="*/ 30 w 684"/>
                  <a:gd name="T63" fmla="*/ 668 h 998"/>
                  <a:gd name="T64" fmla="*/ 123 w 684"/>
                  <a:gd name="T65" fmla="*/ 725 h 998"/>
                  <a:gd name="T66" fmla="*/ 175 w 684"/>
                  <a:gd name="T67" fmla="*/ 728 h 998"/>
                  <a:gd name="T68" fmla="*/ 234 w 684"/>
                  <a:gd name="T69" fmla="*/ 746 h 998"/>
                  <a:gd name="T70" fmla="*/ 299 w 684"/>
                  <a:gd name="T71" fmla="*/ 795 h 998"/>
                  <a:gd name="T72" fmla="*/ 337 w 684"/>
                  <a:gd name="T73" fmla="*/ 850 h 998"/>
                  <a:gd name="T74" fmla="*/ 367 w 684"/>
                  <a:gd name="T75" fmla="*/ 881 h 998"/>
                  <a:gd name="T76" fmla="*/ 412 w 684"/>
                  <a:gd name="T77" fmla="*/ 886 h 998"/>
                  <a:gd name="T78" fmla="*/ 462 w 684"/>
                  <a:gd name="T79" fmla="*/ 876 h 998"/>
                  <a:gd name="T80" fmla="*/ 492 w 684"/>
                  <a:gd name="T81" fmla="*/ 878 h 998"/>
                  <a:gd name="T82" fmla="*/ 515 w 684"/>
                  <a:gd name="T83" fmla="*/ 904 h 998"/>
                  <a:gd name="T84" fmla="*/ 513 w 684"/>
                  <a:gd name="T85" fmla="*/ 922 h 998"/>
                  <a:gd name="T86" fmla="*/ 488 w 684"/>
                  <a:gd name="T87" fmla="*/ 937 h 998"/>
                  <a:gd name="T88" fmla="*/ 488 w 684"/>
                  <a:gd name="T89" fmla="*/ 963 h 998"/>
                  <a:gd name="T90" fmla="*/ 511 w 684"/>
                  <a:gd name="T91" fmla="*/ 994 h 998"/>
                  <a:gd name="T92" fmla="*/ 542 w 684"/>
                  <a:gd name="T93" fmla="*/ 962 h 998"/>
                  <a:gd name="T94" fmla="*/ 566 w 684"/>
                  <a:gd name="T95" fmla="*/ 861 h 998"/>
                  <a:gd name="T96" fmla="*/ 571 w 684"/>
                  <a:gd name="T97" fmla="*/ 803 h 998"/>
                  <a:gd name="T98" fmla="*/ 555 w 684"/>
                  <a:gd name="T99" fmla="*/ 771 h 998"/>
                  <a:gd name="T100" fmla="*/ 523 w 684"/>
                  <a:gd name="T101" fmla="*/ 749 h 998"/>
                  <a:gd name="T102" fmla="*/ 521 w 684"/>
                  <a:gd name="T103" fmla="*/ 723 h 998"/>
                  <a:gd name="T104" fmla="*/ 566 w 684"/>
                  <a:gd name="T105" fmla="*/ 700 h 998"/>
                  <a:gd name="T106" fmla="*/ 556 w 684"/>
                  <a:gd name="T107" fmla="*/ 665 h 998"/>
                  <a:gd name="T108" fmla="*/ 556 w 684"/>
                  <a:gd name="T109" fmla="*/ 649 h 998"/>
                  <a:gd name="T110" fmla="*/ 655 w 684"/>
                  <a:gd name="T111" fmla="*/ 628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9" name="Freeform 451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5846582" y="3861565"/>
                <a:ext cx="249149" cy="274702"/>
              </a:xfrm>
              <a:custGeom>
                <a:avLst/>
                <a:gdLst>
                  <a:gd name="T0" fmla="*/ 429 w 429"/>
                  <a:gd name="T1" fmla="*/ 22 h 524"/>
                  <a:gd name="T2" fmla="*/ 428 w 429"/>
                  <a:gd name="T3" fmla="*/ 43 h 524"/>
                  <a:gd name="T4" fmla="*/ 424 w 429"/>
                  <a:gd name="T5" fmla="*/ 54 h 524"/>
                  <a:gd name="T6" fmla="*/ 415 w 429"/>
                  <a:gd name="T7" fmla="*/ 67 h 524"/>
                  <a:gd name="T8" fmla="*/ 413 w 429"/>
                  <a:gd name="T9" fmla="*/ 81 h 524"/>
                  <a:gd name="T10" fmla="*/ 414 w 429"/>
                  <a:gd name="T11" fmla="*/ 160 h 524"/>
                  <a:gd name="T12" fmla="*/ 408 w 429"/>
                  <a:gd name="T13" fmla="*/ 207 h 524"/>
                  <a:gd name="T14" fmla="*/ 396 w 429"/>
                  <a:gd name="T15" fmla="*/ 241 h 524"/>
                  <a:gd name="T16" fmla="*/ 372 w 429"/>
                  <a:gd name="T17" fmla="*/ 278 h 524"/>
                  <a:gd name="T18" fmla="*/ 338 w 429"/>
                  <a:gd name="T19" fmla="*/ 309 h 524"/>
                  <a:gd name="T20" fmla="*/ 319 w 429"/>
                  <a:gd name="T21" fmla="*/ 333 h 524"/>
                  <a:gd name="T22" fmla="*/ 312 w 429"/>
                  <a:gd name="T23" fmla="*/ 412 h 524"/>
                  <a:gd name="T24" fmla="*/ 304 w 429"/>
                  <a:gd name="T25" fmla="*/ 439 h 524"/>
                  <a:gd name="T26" fmla="*/ 290 w 429"/>
                  <a:gd name="T27" fmla="*/ 448 h 524"/>
                  <a:gd name="T28" fmla="*/ 269 w 429"/>
                  <a:gd name="T29" fmla="*/ 455 h 524"/>
                  <a:gd name="T30" fmla="*/ 253 w 429"/>
                  <a:gd name="T31" fmla="*/ 472 h 524"/>
                  <a:gd name="T32" fmla="*/ 234 w 429"/>
                  <a:gd name="T33" fmla="*/ 500 h 524"/>
                  <a:gd name="T34" fmla="*/ 223 w 429"/>
                  <a:gd name="T35" fmla="*/ 505 h 524"/>
                  <a:gd name="T36" fmla="*/ 201 w 429"/>
                  <a:gd name="T37" fmla="*/ 504 h 524"/>
                  <a:gd name="T38" fmla="*/ 189 w 429"/>
                  <a:gd name="T39" fmla="*/ 498 h 524"/>
                  <a:gd name="T40" fmla="*/ 145 w 429"/>
                  <a:gd name="T41" fmla="*/ 500 h 524"/>
                  <a:gd name="T42" fmla="*/ 123 w 429"/>
                  <a:gd name="T43" fmla="*/ 500 h 524"/>
                  <a:gd name="T44" fmla="*/ 113 w 429"/>
                  <a:gd name="T45" fmla="*/ 494 h 524"/>
                  <a:gd name="T46" fmla="*/ 95 w 429"/>
                  <a:gd name="T47" fmla="*/ 493 h 524"/>
                  <a:gd name="T48" fmla="*/ 78 w 429"/>
                  <a:gd name="T49" fmla="*/ 502 h 524"/>
                  <a:gd name="T50" fmla="*/ 62 w 429"/>
                  <a:gd name="T51" fmla="*/ 519 h 524"/>
                  <a:gd name="T52" fmla="*/ 27 w 429"/>
                  <a:gd name="T53" fmla="*/ 491 h 524"/>
                  <a:gd name="T54" fmla="*/ 6 w 429"/>
                  <a:gd name="T55" fmla="*/ 447 h 524"/>
                  <a:gd name="T56" fmla="*/ 25 w 429"/>
                  <a:gd name="T57" fmla="*/ 430 h 524"/>
                  <a:gd name="T58" fmla="*/ 42 w 429"/>
                  <a:gd name="T59" fmla="*/ 424 h 524"/>
                  <a:gd name="T60" fmla="*/ 61 w 429"/>
                  <a:gd name="T61" fmla="*/ 428 h 524"/>
                  <a:gd name="T62" fmla="*/ 58 w 429"/>
                  <a:gd name="T63" fmla="*/ 418 h 524"/>
                  <a:gd name="T64" fmla="*/ 45 w 429"/>
                  <a:gd name="T65" fmla="*/ 386 h 524"/>
                  <a:gd name="T66" fmla="*/ 47 w 429"/>
                  <a:gd name="T67" fmla="*/ 366 h 524"/>
                  <a:gd name="T68" fmla="*/ 57 w 429"/>
                  <a:gd name="T69" fmla="*/ 356 h 524"/>
                  <a:gd name="T70" fmla="*/ 71 w 429"/>
                  <a:gd name="T71" fmla="*/ 352 h 524"/>
                  <a:gd name="T72" fmla="*/ 89 w 429"/>
                  <a:gd name="T73" fmla="*/ 337 h 524"/>
                  <a:gd name="T74" fmla="*/ 104 w 429"/>
                  <a:gd name="T75" fmla="*/ 333 h 524"/>
                  <a:gd name="T76" fmla="*/ 115 w 429"/>
                  <a:gd name="T77" fmla="*/ 342 h 524"/>
                  <a:gd name="T78" fmla="*/ 135 w 429"/>
                  <a:gd name="T79" fmla="*/ 359 h 524"/>
                  <a:gd name="T80" fmla="*/ 154 w 429"/>
                  <a:gd name="T81" fmla="*/ 351 h 524"/>
                  <a:gd name="T82" fmla="*/ 181 w 429"/>
                  <a:gd name="T83" fmla="*/ 353 h 524"/>
                  <a:gd name="T84" fmla="*/ 199 w 429"/>
                  <a:gd name="T85" fmla="*/ 340 h 524"/>
                  <a:gd name="T86" fmla="*/ 210 w 429"/>
                  <a:gd name="T87" fmla="*/ 315 h 524"/>
                  <a:gd name="T88" fmla="*/ 213 w 429"/>
                  <a:gd name="T89" fmla="*/ 290 h 524"/>
                  <a:gd name="T90" fmla="*/ 215 w 429"/>
                  <a:gd name="T91" fmla="*/ 269 h 524"/>
                  <a:gd name="T92" fmla="*/ 201 w 429"/>
                  <a:gd name="T93" fmla="*/ 236 h 524"/>
                  <a:gd name="T94" fmla="*/ 188 w 429"/>
                  <a:gd name="T95" fmla="*/ 203 h 524"/>
                  <a:gd name="T96" fmla="*/ 207 w 429"/>
                  <a:gd name="T97" fmla="*/ 177 h 524"/>
                  <a:gd name="T98" fmla="*/ 210 w 429"/>
                  <a:gd name="T99" fmla="*/ 164 h 524"/>
                  <a:gd name="T100" fmla="*/ 200 w 429"/>
                  <a:gd name="T101" fmla="*/ 155 h 524"/>
                  <a:gd name="T102" fmla="*/ 197 w 429"/>
                  <a:gd name="T103" fmla="*/ 137 h 524"/>
                  <a:gd name="T104" fmla="*/ 188 w 429"/>
                  <a:gd name="T105" fmla="*/ 129 h 524"/>
                  <a:gd name="T106" fmla="*/ 161 w 429"/>
                  <a:gd name="T107" fmla="*/ 132 h 524"/>
                  <a:gd name="T108" fmla="*/ 137 w 429"/>
                  <a:gd name="T109" fmla="*/ 131 h 524"/>
                  <a:gd name="T110" fmla="*/ 125 w 429"/>
                  <a:gd name="T111" fmla="*/ 119 h 524"/>
                  <a:gd name="T112" fmla="*/ 123 w 429"/>
                  <a:gd name="T113" fmla="*/ 103 h 524"/>
                  <a:gd name="T114" fmla="*/ 132 w 429"/>
                  <a:gd name="T115" fmla="*/ 76 h 524"/>
                  <a:gd name="T116" fmla="*/ 306 w 429"/>
                  <a:gd name="T117" fmla="*/ 38 h 524"/>
                  <a:gd name="T118" fmla="*/ 323 w 429"/>
                  <a:gd name="T119" fmla="*/ 17 h 524"/>
                  <a:gd name="T120" fmla="*/ 343 w 429"/>
                  <a:gd name="T121" fmla="*/ 7 h 524"/>
                  <a:gd name="T122" fmla="*/ 374 w 429"/>
                  <a:gd name="T123" fmla="*/ 5 h 524"/>
                  <a:gd name="T124" fmla="*/ 408 w 429"/>
                  <a:gd name="T125" fmla="*/ 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0" name="Freeform 452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5888811" y="2503940"/>
                <a:ext cx="168914" cy="114326"/>
              </a:xfrm>
              <a:custGeom>
                <a:avLst/>
                <a:gdLst>
                  <a:gd name="T0" fmla="*/ 259 w 292"/>
                  <a:gd name="T1" fmla="*/ 93 h 223"/>
                  <a:gd name="T2" fmla="*/ 166 w 292"/>
                  <a:gd name="T3" fmla="*/ 77 h 223"/>
                  <a:gd name="T4" fmla="*/ 152 w 292"/>
                  <a:gd name="T5" fmla="*/ 79 h 223"/>
                  <a:gd name="T6" fmla="*/ 139 w 292"/>
                  <a:gd name="T7" fmla="*/ 79 h 223"/>
                  <a:gd name="T8" fmla="*/ 126 w 292"/>
                  <a:gd name="T9" fmla="*/ 77 h 223"/>
                  <a:gd name="T10" fmla="*/ 119 w 292"/>
                  <a:gd name="T11" fmla="*/ 93 h 223"/>
                  <a:gd name="T12" fmla="*/ 144 w 292"/>
                  <a:gd name="T13" fmla="*/ 131 h 223"/>
                  <a:gd name="T14" fmla="*/ 168 w 292"/>
                  <a:gd name="T15" fmla="*/ 157 h 223"/>
                  <a:gd name="T16" fmla="*/ 189 w 292"/>
                  <a:gd name="T17" fmla="*/ 185 h 223"/>
                  <a:gd name="T18" fmla="*/ 197 w 292"/>
                  <a:gd name="T19" fmla="*/ 202 h 223"/>
                  <a:gd name="T20" fmla="*/ 205 w 292"/>
                  <a:gd name="T21" fmla="*/ 222 h 223"/>
                  <a:gd name="T22" fmla="*/ 175 w 292"/>
                  <a:gd name="T23" fmla="*/ 223 h 223"/>
                  <a:gd name="T24" fmla="*/ 161 w 292"/>
                  <a:gd name="T25" fmla="*/ 222 h 223"/>
                  <a:gd name="T26" fmla="*/ 146 w 292"/>
                  <a:gd name="T27" fmla="*/ 216 h 223"/>
                  <a:gd name="T28" fmla="*/ 134 w 292"/>
                  <a:gd name="T29" fmla="*/ 209 h 223"/>
                  <a:gd name="T30" fmla="*/ 127 w 292"/>
                  <a:gd name="T31" fmla="*/ 198 h 223"/>
                  <a:gd name="T32" fmla="*/ 121 w 292"/>
                  <a:gd name="T33" fmla="*/ 187 h 223"/>
                  <a:gd name="T34" fmla="*/ 113 w 292"/>
                  <a:gd name="T35" fmla="*/ 180 h 223"/>
                  <a:gd name="T36" fmla="*/ 91 w 292"/>
                  <a:gd name="T37" fmla="*/ 145 h 223"/>
                  <a:gd name="T38" fmla="*/ 68 w 292"/>
                  <a:gd name="T39" fmla="*/ 113 h 223"/>
                  <a:gd name="T40" fmla="*/ 55 w 292"/>
                  <a:gd name="T41" fmla="*/ 99 h 223"/>
                  <a:gd name="T42" fmla="*/ 42 w 292"/>
                  <a:gd name="T43" fmla="*/ 87 h 223"/>
                  <a:gd name="T44" fmla="*/ 27 w 292"/>
                  <a:gd name="T45" fmla="*/ 79 h 223"/>
                  <a:gd name="T46" fmla="*/ 13 w 292"/>
                  <a:gd name="T47" fmla="*/ 75 h 223"/>
                  <a:gd name="T48" fmla="*/ 4 w 292"/>
                  <a:gd name="T49" fmla="*/ 65 h 223"/>
                  <a:gd name="T50" fmla="*/ 1 w 292"/>
                  <a:gd name="T51" fmla="*/ 58 h 223"/>
                  <a:gd name="T52" fmla="*/ 0 w 292"/>
                  <a:gd name="T53" fmla="*/ 49 h 223"/>
                  <a:gd name="T54" fmla="*/ 40 w 292"/>
                  <a:gd name="T55" fmla="*/ 55 h 223"/>
                  <a:gd name="T56" fmla="*/ 70 w 292"/>
                  <a:gd name="T57" fmla="*/ 55 h 223"/>
                  <a:gd name="T58" fmla="*/ 91 w 292"/>
                  <a:gd name="T59" fmla="*/ 50 h 223"/>
                  <a:gd name="T60" fmla="*/ 106 w 292"/>
                  <a:gd name="T61" fmla="*/ 41 h 223"/>
                  <a:gd name="T62" fmla="*/ 127 w 292"/>
                  <a:gd name="T63" fmla="*/ 20 h 223"/>
                  <a:gd name="T64" fmla="*/ 138 w 292"/>
                  <a:gd name="T65" fmla="*/ 9 h 223"/>
                  <a:gd name="T66" fmla="*/ 152 w 292"/>
                  <a:gd name="T67" fmla="*/ 0 h 223"/>
                  <a:gd name="T68" fmla="*/ 172 w 292"/>
                  <a:gd name="T69" fmla="*/ 14 h 223"/>
                  <a:gd name="T70" fmla="*/ 194 w 292"/>
                  <a:gd name="T71" fmla="*/ 26 h 223"/>
                  <a:gd name="T72" fmla="*/ 218 w 292"/>
                  <a:gd name="T73" fmla="*/ 34 h 223"/>
                  <a:gd name="T74" fmla="*/ 246 w 292"/>
                  <a:gd name="T75" fmla="*/ 37 h 223"/>
                  <a:gd name="T76" fmla="*/ 262 w 292"/>
                  <a:gd name="T77" fmla="*/ 34 h 223"/>
                  <a:gd name="T78" fmla="*/ 279 w 292"/>
                  <a:gd name="T79" fmla="*/ 31 h 223"/>
                  <a:gd name="T80" fmla="*/ 285 w 292"/>
                  <a:gd name="T81" fmla="*/ 47 h 223"/>
                  <a:gd name="T82" fmla="*/ 287 w 292"/>
                  <a:gd name="T83" fmla="*/ 49 h 223"/>
                  <a:gd name="T84" fmla="*/ 292 w 292"/>
                  <a:gd name="T85" fmla="*/ 6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1" name="Freeform 453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5823356" y="2362619"/>
                <a:ext cx="223812" cy="77806"/>
              </a:xfrm>
              <a:custGeom>
                <a:avLst/>
                <a:gdLst>
                  <a:gd name="T0" fmla="*/ 375 w 379"/>
                  <a:gd name="T1" fmla="*/ 94 h 147"/>
                  <a:gd name="T2" fmla="*/ 360 w 379"/>
                  <a:gd name="T3" fmla="*/ 101 h 147"/>
                  <a:gd name="T4" fmla="*/ 354 w 379"/>
                  <a:gd name="T5" fmla="*/ 108 h 147"/>
                  <a:gd name="T6" fmla="*/ 347 w 379"/>
                  <a:gd name="T7" fmla="*/ 117 h 147"/>
                  <a:gd name="T8" fmla="*/ 333 w 379"/>
                  <a:gd name="T9" fmla="*/ 127 h 147"/>
                  <a:gd name="T10" fmla="*/ 320 w 379"/>
                  <a:gd name="T11" fmla="*/ 131 h 147"/>
                  <a:gd name="T12" fmla="*/ 311 w 379"/>
                  <a:gd name="T13" fmla="*/ 132 h 147"/>
                  <a:gd name="T14" fmla="*/ 301 w 379"/>
                  <a:gd name="T15" fmla="*/ 130 h 147"/>
                  <a:gd name="T16" fmla="*/ 291 w 379"/>
                  <a:gd name="T17" fmla="*/ 126 h 147"/>
                  <a:gd name="T18" fmla="*/ 281 w 379"/>
                  <a:gd name="T19" fmla="*/ 119 h 147"/>
                  <a:gd name="T20" fmla="*/ 275 w 379"/>
                  <a:gd name="T21" fmla="*/ 116 h 147"/>
                  <a:gd name="T22" fmla="*/ 269 w 379"/>
                  <a:gd name="T23" fmla="*/ 118 h 147"/>
                  <a:gd name="T24" fmla="*/ 267 w 379"/>
                  <a:gd name="T25" fmla="*/ 123 h 147"/>
                  <a:gd name="T26" fmla="*/ 266 w 379"/>
                  <a:gd name="T27" fmla="*/ 140 h 147"/>
                  <a:gd name="T28" fmla="*/ 257 w 379"/>
                  <a:gd name="T29" fmla="*/ 145 h 147"/>
                  <a:gd name="T30" fmla="*/ 244 w 379"/>
                  <a:gd name="T31" fmla="*/ 140 h 147"/>
                  <a:gd name="T32" fmla="*/ 229 w 379"/>
                  <a:gd name="T33" fmla="*/ 131 h 147"/>
                  <a:gd name="T34" fmla="*/ 113 w 379"/>
                  <a:gd name="T35" fmla="*/ 141 h 147"/>
                  <a:gd name="T36" fmla="*/ 80 w 379"/>
                  <a:gd name="T37" fmla="*/ 124 h 147"/>
                  <a:gd name="T38" fmla="*/ 58 w 379"/>
                  <a:gd name="T39" fmla="*/ 109 h 147"/>
                  <a:gd name="T40" fmla="*/ 45 w 379"/>
                  <a:gd name="T41" fmla="*/ 94 h 147"/>
                  <a:gd name="T42" fmla="*/ 37 w 379"/>
                  <a:gd name="T43" fmla="*/ 82 h 147"/>
                  <a:gd name="T44" fmla="*/ 26 w 379"/>
                  <a:gd name="T45" fmla="*/ 59 h 147"/>
                  <a:gd name="T46" fmla="*/ 16 w 379"/>
                  <a:gd name="T47" fmla="*/ 48 h 147"/>
                  <a:gd name="T48" fmla="*/ 0 w 379"/>
                  <a:gd name="T49" fmla="*/ 36 h 147"/>
                  <a:gd name="T50" fmla="*/ 29 w 379"/>
                  <a:gd name="T51" fmla="*/ 40 h 147"/>
                  <a:gd name="T52" fmla="*/ 52 w 379"/>
                  <a:gd name="T53" fmla="*/ 38 h 147"/>
                  <a:gd name="T54" fmla="*/ 72 w 379"/>
                  <a:gd name="T55" fmla="*/ 33 h 147"/>
                  <a:gd name="T56" fmla="*/ 87 w 379"/>
                  <a:gd name="T57" fmla="*/ 25 h 147"/>
                  <a:gd name="T58" fmla="*/ 119 w 379"/>
                  <a:gd name="T59" fmla="*/ 8 h 147"/>
                  <a:gd name="T60" fmla="*/ 138 w 379"/>
                  <a:gd name="T61" fmla="*/ 2 h 147"/>
                  <a:gd name="T62" fmla="*/ 159 w 379"/>
                  <a:gd name="T63" fmla="*/ 0 h 147"/>
                  <a:gd name="T64" fmla="*/ 200 w 379"/>
                  <a:gd name="T65" fmla="*/ 23 h 147"/>
                  <a:gd name="T66" fmla="*/ 244 w 379"/>
                  <a:gd name="T67" fmla="*/ 45 h 147"/>
                  <a:gd name="T68" fmla="*/ 292 w 379"/>
                  <a:gd name="T69" fmla="*/ 67 h 147"/>
                  <a:gd name="T70" fmla="*/ 333 w 379"/>
                  <a:gd name="T71" fmla="*/ 80 h 147"/>
                  <a:gd name="T72" fmla="*/ 354 w 379"/>
                  <a:gd name="T73" fmla="*/ 86 h 147"/>
                  <a:gd name="T74" fmla="*/ 379 w 379"/>
                  <a:gd name="T75" fmla="*/ 9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2" name="Freeform 454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5774794" y="2218124"/>
                <a:ext cx="40117" cy="60339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9 h 67"/>
                  <a:gd name="T4" fmla="*/ 0 w 61"/>
                  <a:gd name="T5" fmla="*/ 18 h 67"/>
                  <a:gd name="T6" fmla="*/ 1 w 61"/>
                  <a:gd name="T7" fmla="*/ 24 h 67"/>
                  <a:gd name="T8" fmla="*/ 2 w 61"/>
                  <a:gd name="T9" fmla="*/ 30 h 67"/>
                  <a:gd name="T10" fmla="*/ 3 w 61"/>
                  <a:gd name="T11" fmla="*/ 36 h 67"/>
                  <a:gd name="T12" fmla="*/ 6 w 61"/>
                  <a:gd name="T13" fmla="*/ 42 h 67"/>
                  <a:gd name="T14" fmla="*/ 12 w 61"/>
                  <a:gd name="T15" fmla="*/ 55 h 67"/>
                  <a:gd name="T16" fmla="*/ 21 w 61"/>
                  <a:gd name="T17" fmla="*/ 67 h 67"/>
                  <a:gd name="T18" fmla="*/ 28 w 61"/>
                  <a:gd name="T19" fmla="*/ 65 h 67"/>
                  <a:gd name="T20" fmla="*/ 35 w 61"/>
                  <a:gd name="T21" fmla="*/ 61 h 67"/>
                  <a:gd name="T22" fmla="*/ 42 w 61"/>
                  <a:gd name="T23" fmla="*/ 58 h 67"/>
                  <a:gd name="T24" fmla="*/ 48 w 61"/>
                  <a:gd name="T25" fmla="*/ 53 h 67"/>
                  <a:gd name="T26" fmla="*/ 53 w 61"/>
                  <a:gd name="T27" fmla="*/ 47 h 67"/>
                  <a:gd name="T28" fmla="*/ 57 w 61"/>
                  <a:gd name="T29" fmla="*/ 40 h 67"/>
                  <a:gd name="T30" fmla="*/ 59 w 61"/>
                  <a:gd name="T31" fmla="*/ 32 h 67"/>
                  <a:gd name="T32" fmla="*/ 61 w 61"/>
                  <a:gd name="T33" fmla="*/ 24 h 67"/>
                  <a:gd name="T34" fmla="*/ 53 w 61"/>
                  <a:gd name="T35" fmla="*/ 14 h 67"/>
                  <a:gd name="T36" fmla="*/ 41 w 61"/>
                  <a:gd name="T37" fmla="*/ 0 h 67"/>
                  <a:gd name="T38" fmla="*/ 28 w 61"/>
                  <a:gd name="T39" fmla="*/ 3 h 67"/>
                  <a:gd name="T40" fmla="*/ 18 w 61"/>
                  <a:gd name="T41" fmla="*/ 4 h 67"/>
                  <a:gd name="T42" fmla="*/ 13 w 61"/>
                  <a:gd name="T43" fmla="*/ 4 h 67"/>
                  <a:gd name="T44" fmla="*/ 10 w 61"/>
                  <a:gd name="T45" fmla="*/ 3 h 67"/>
                  <a:gd name="T46" fmla="*/ 6 w 61"/>
                  <a:gd name="T47" fmla="*/ 2 h 67"/>
                  <a:gd name="T48" fmla="*/ 0 w 61"/>
                  <a:gd name="T4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3" name="Freeform 455"/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5736788" y="2222888"/>
                <a:ext cx="33783" cy="58752"/>
              </a:xfrm>
              <a:custGeom>
                <a:avLst/>
                <a:gdLst>
                  <a:gd name="T0" fmla="*/ 0 w 60"/>
                  <a:gd name="T1" fmla="*/ 6 h 55"/>
                  <a:gd name="T2" fmla="*/ 0 w 60"/>
                  <a:gd name="T3" fmla="*/ 24 h 55"/>
                  <a:gd name="T4" fmla="*/ 5 w 60"/>
                  <a:gd name="T5" fmla="*/ 32 h 55"/>
                  <a:gd name="T6" fmla="*/ 10 w 60"/>
                  <a:gd name="T7" fmla="*/ 40 h 55"/>
                  <a:gd name="T8" fmla="*/ 16 w 60"/>
                  <a:gd name="T9" fmla="*/ 45 h 55"/>
                  <a:gd name="T10" fmla="*/ 21 w 60"/>
                  <a:gd name="T11" fmla="*/ 49 h 55"/>
                  <a:gd name="T12" fmla="*/ 27 w 60"/>
                  <a:gd name="T13" fmla="*/ 52 h 55"/>
                  <a:gd name="T14" fmla="*/ 33 w 60"/>
                  <a:gd name="T15" fmla="*/ 54 h 55"/>
                  <a:gd name="T16" fmla="*/ 40 w 60"/>
                  <a:gd name="T17" fmla="*/ 55 h 55"/>
                  <a:gd name="T18" fmla="*/ 46 w 60"/>
                  <a:gd name="T19" fmla="*/ 55 h 55"/>
                  <a:gd name="T20" fmla="*/ 53 w 60"/>
                  <a:gd name="T21" fmla="*/ 52 h 55"/>
                  <a:gd name="T22" fmla="*/ 60 w 60"/>
                  <a:gd name="T23" fmla="*/ 49 h 55"/>
                  <a:gd name="T24" fmla="*/ 50 w 60"/>
                  <a:gd name="T25" fmla="*/ 34 h 55"/>
                  <a:gd name="T26" fmla="*/ 42 w 60"/>
                  <a:gd name="T27" fmla="*/ 22 h 55"/>
                  <a:gd name="T28" fmla="*/ 39 w 60"/>
                  <a:gd name="T29" fmla="*/ 17 h 55"/>
                  <a:gd name="T30" fmla="*/ 35 w 60"/>
                  <a:gd name="T31" fmla="*/ 12 h 55"/>
                  <a:gd name="T32" fmla="*/ 34 w 60"/>
                  <a:gd name="T33" fmla="*/ 6 h 55"/>
                  <a:gd name="T34" fmla="*/ 33 w 60"/>
                  <a:gd name="T35" fmla="*/ 0 h 55"/>
                  <a:gd name="T36" fmla="*/ 23 w 60"/>
                  <a:gd name="T37" fmla="*/ 1 h 55"/>
                  <a:gd name="T38" fmla="*/ 15 w 60"/>
                  <a:gd name="T39" fmla="*/ 3 h 55"/>
                  <a:gd name="T40" fmla="*/ 7 w 60"/>
                  <a:gd name="T41" fmla="*/ 5 h 55"/>
                  <a:gd name="T42" fmla="*/ 0 w 60"/>
                  <a:gd name="T4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4" name="Freeform 456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5696670" y="2168899"/>
                <a:ext cx="69678" cy="77806"/>
              </a:xfrm>
              <a:custGeom>
                <a:avLst/>
                <a:gdLst>
                  <a:gd name="T0" fmla="*/ 74 w 120"/>
                  <a:gd name="T1" fmla="*/ 129 h 148"/>
                  <a:gd name="T2" fmla="*/ 70 w 120"/>
                  <a:gd name="T3" fmla="*/ 131 h 148"/>
                  <a:gd name="T4" fmla="*/ 67 w 120"/>
                  <a:gd name="T5" fmla="*/ 132 h 148"/>
                  <a:gd name="T6" fmla="*/ 64 w 120"/>
                  <a:gd name="T7" fmla="*/ 133 h 148"/>
                  <a:gd name="T8" fmla="*/ 60 w 120"/>
                  <a:gd name="T9" fmla="*/ 133 h 148"/>
                  <a:gd name="T10" fmla="*/ 56 w 120"/>
                  <a:gd name="T11" fmla="*/ 133 h 148"/>
                  <a:gd name="T12" fmla="*/ 53 w 120"/>
                  <a:gd name="T13" fmla="*/ 132 h 148"/>
                  <a:gd name="T14" fmla="*/ 50 w 120"/>
                  <a:gd name="T15" fmla="*/ 131 h 148"/>
                  <a:gd name="T16" fmla="*/ 47 w 120"/>
                  <a:gd name="T17" fmla="*/ 129 h 148"/>
                  <a:gd name="T18" fmla="*/ 41 w 120"/>
                  <a:gd name="T19" fmla="*/ 128 h 148"/>
                  <a:gd name="T20" fmla="*/ 34 w 120"/>
                  <a:gd name="T21" fmla="*/ 125 h 148"/>
                  <a:gd name="T22" fmla="*/ 26 w 120"/>
                  <a:gd name="T23" fmla="*/ 120 h 148"/>
                  <a:gd name="T24" fmla="*/ 19 w 120"/>
                  <a:gd name="T25" fmla="*/ 115 h 148"/>
                  <a:gd name="T26" fmla="*/ 11 w 120"/>
                  <a:gd name="T27" fmla="*/ 108 h 148"/>
                  <a:gd name="T28" fmla="*/ 6 w 120"/>
                  <a:gd name="T29" fmla="*/ 101 h 148"/>
                  <a:gd name="T30" fmla="*/ 3 w 120"/>
                  <a:gd name="T31" fmla="*/ 97 h 148"/>
                  <a:gd name="T32" fmla="*/ 2 w 120"/>
                  <a:gd name="T33" fmla="*/ 94 h 148"/>
                  <a:gd name="T34" fmla="*/ 1 w 120"/>
                  <a:gd name="T35" fmla="*/ 90 h 148"/>
                  <a:gd name="T36" fmla="*/ 0 w 120"/>
                  <a:gd name="T37" fmla="*/ 87 h 148"/>
                  <a:gd name="T38" fmla="*/ 2 w 120"/>
                  <a:gd name="T39" fmla="*/ 73 h 148"/>
                  <a:gd name="T40" fmla="*/ 8 w 120"/>
                  <a:gd name="T41" fmla="*/ 55 h 148"/>
                  <a:gd name="T42" fmla="*/ 14 w 120"/>
                  <a:gd name="T43" fmla="*/ 35 h 148"/>
                  <a:gd name="T44" fmla="*/ 20 w 120"/>
                  <a:gd name="T45" fmla="*/ 18 h 148"/>
                  <a:gd name="T46" fmla="*/ 32 w 120"/>
                  <a:gd name="T47" fmla="*/ 17 h 148"/>
                  <a:gd name="T48" fmla="*/ 42 w 120"/>
                  <a:gd name="T49" fmla="*/ 16 h 148"/>
                  <a:gd name="T50" fmla="*/ 51 w 120"/>
                  <a:gd name="T51" fmla="*/ 14 h 148"/>
                  <a:gd name="T52" fmla="*/ 58 w 120"/>
                  <a:gd name="T53" fmla="*/ 11 h 148"/>
                  <a:gd name="T54" fmla="*/ 70 w 120"/>
                  <a:gd name="T55" fmla="*/ 5 h 148"/>
                  <a:gd name="T56" fmla="*/ 80 w 120"/>
                  <a:gd name="T57" fmla="*/ 0 h 148"/>
                  <a:gd name="T58" fmla="*/ 85 w 120"/>
                  <a:gd name="T59" fmla="*/ 2 h 148"/>
                  <a:gd name="T60" fmla="*/ 93 w 120"/>
                  <a:gd name="T61" fmla="*/ 7 h 148"/>
                  <a:gd name="T62" fmla="*/ 98 w 120"/>
                  <a:gd name="T63" fmla="*/ 10 h 148"/>
                  <a:gd name="T64" fmla="*/ 102 w 120"/>
                  <a:gd name="T65" fmla="*/ 13 h 148"/>
                  <a:gd name="T66" fmla="*/ 106 w 120"/>
                  <a:gd name="T67" fmla="*/ 16 h 148"/>
                  <a:gd name="T68" fmla="*/ 107 w 120"/>
                  <a:gd name="T69" fmla="*/ 18 h 148"/>
                  <a:gd name="T70" fmla="*/ 100 w 120"/>
                  <a:gd name="T71" fmla="*/ 28 h 148"/>
                  <a:gd name="T72" fmla="*/ 93 w 120"/>
                  <a:gd name="T73" fmla="*/ 37 h 148"/>
                  <a:gd name="T74" fmla="*/ 95 w 120"/>
                  <a:gd name="T75" fmla="*/ 42 h 148"/>
                  <a:gd name="T76" fmla="*/ 98 w 120"/>
                  <a:gd name="T77" fmla="*/ 49 h 148"/>
                  <a:gd name="T78" fmla="*/ 102 w 120"/>
                  <a:gd name="T79" fmla="*/ 56 h 148"/>
                  <a:gd name="T80" fmla="*/ 107 w 120"/>
                  <a:gd name="T81" fmla="*/ 63 h 148"/>
                  <a:gd name="T82" fmla="*/ 115 w 120"/>
                  <a:gd name="T83" fmla="*/ 75 h 148"/>
                  <a:gd name="T84" fmla="*/ 120 w 120"/>
                  <a:gd name="T85" fmla="*/ 79 h 148"/>
                  <a:gd name="T86" fmla="*/ 113 w 120"/>
                  <a:gd name="T87" fmla="*/ 81 h 148"/>
                  <a:gd name="T88" fmla="*/ 107 w 120"/>
                  <a:gd name="T89" fmla="*/ 84 h 148"/>
                  <a:gd name="T90" fmla="*/ 100 w 120"/>
                  <a:gd name="T91" fmla="*/ 87 h 148"/>
                  <a:gd name="T92" fmla="*/ 96 w 120"/>
                  <a:gd name="T93" fmla="*/ 91 h 148"/>
                  <a:gd name="T94" fmla="*/ 90 w 120"/>
                  <a:gd name="T95" fmla="*/ 95 h 148"/>
                  <a:gd name="T96" fmla="*/ 87 w 120"/>
                  <a:gd name="T97" fmla="*/ 99 h 148"/>
                  <a:gd name="T98" fmla="*/ 82 w 120"/>
                  <a:gd name="T99" fmla="*/ 104 h 148"/>
                  <a:gd name="T100" fmla="*/ 80 w 120"/>
                  <a:gd name="T101" fmla="*/ 109 h 148"/>
                  <a:gd name="T102" fmla="*/ 78 w 120"/>
                  <a:gd name="T103" fmla="*/ 114 h 148"/>
                  <a:gd name="T104" fmla="*/ 77 w 120"/>
                  <a:gd name="T105" fmla="*/ 120 h 148"/>
                  <a:gd name="T106" fmla="*/ 76 w 120"/>
                  <a:gd name="T107" fmla="*/ 125 h 148"/>
                  <a:gd name="T108" fmla="*/ 75 w 120"/>
                  <a:gd name="T109" fmla="*/ 130 h 148"/>
                  <a:gd name="T110" fmla="*/ 76 w 120"/>
                  <a:gd name="T111" fmla="*/ 135 h 148"/>
                  <a:gd name="T112" fmla="*/ 77 w 120"/>
                  <a:gd name="T113" fmla="*/ 140 h 148"/>
                  <a:gd name="T114" fmla="*/ 78 w 120"/>
                  <a:gd name="T115" fmla="*/ 144 h 148"/>
                  <a:gd name="T116" fmla="*/ 80 w 120"/>
                  <a:gd name="T117" fmla="*/ 148 h 148"/>
                  <a:gd name="T118" fmla="*/ 74 w 120"/>
                  <a:gd name="T119" fmla="*/ 12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5" name="Freeform 457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6270979" y="2973949"/>
                <a:ext cx="363166" cy="308046"/>
              </a:xfrm>
              <a:custGeom>
                <a:avLst/>
                <a:gdLst>
                  <a:gd name="T0" fmla="*/ 21 w 631"/>
                  <a:gd name="T1" fmla="*/ 2 h 592"/>
                  <a:gd name="T2" fmla="*/ 32 w 631"/>
                  <a:gd name="T3" fmla="*/ 4 h 592"/>
                  <a:gd name="T4" fmla="*/ 54 w 631"/>
                  <a:gd name="T5" fmla="*/ 8 h 592"/>
                  <a:gd name="T6" fmla="*/ 78 w 631"/>
                  <a:gd name="T7" fmla="*/ 11 h 592"/>
                  <a:gd name="T8" fmla="*/ 104 w 631"/>
                  <a:gd name="T9" fmla="*/ 19 h 592"/>
                  <a:gd name="T10" fmla="*/ 130 w 631"/>
                  <a:gd name="T11" fmla="*/ 32 h 592"/>
                  <a:gd name="T12" fmla="*/ 146 w 631"/>
                  <a:gd name="T13" fmla="*/ 40 h 592"/>
                  <a:gd name="T14" fmla="*/ 159 w 631"/>
                  <a:gd name="T15" fmla="*/ 43 h 592"/>
                  <a:gd name="T16" fmla="*/ 189 w 631"/>
                  <a:gd name="T17" fmla="*/ 43 h 592"/>
                  <a:gd name="T18" fmla="*/ 227 w 631"/>
                  <a:gd name="T19" fmla="*/ 37 h 592"/>
                  <a:gd name="T20" fmla="*/ 277 w 631"/>
                  <a:gd name="T21" fmla="*/ 23 h 592"/>
                  <a:gd name="T22" fmla="*/ 399 w 631"/>
                  <a:gd name="T23" fmla="*/ 38 h 592"/>
                  <a:gd name="T24" fmla="*/ 403 w 631"/>
                  <a:gd name="T25" fmla="*/ 69 h 592"/>
                  <a:gd name="T26" fmla="*/ 410 w 631"/>
                  <a:gd name="T27" fmla="*/ 95 h 592"/>
                  <a:gd name="T28" fmla="*/ 417 w 631"/>
                  <a:gd name="T29" fmla="*/ 119 h 592"/>
                  <a:gd name="T30" fmla="*/ 427 w 631"/>
                  <a:gd name="T31" fmla="*/ 140 h 592"/>
                  <a:gd name="T32" fmla="*/ 450 w 631"/>
                  <a:gd name="T33" fmla="*/ 175 h 592"/>
                  <a:gd name="T34" fmla="*/ 472 w 631"/>
                  <a:gd name="T35" fmla="*/ 204 h 592"/>
                  <a:gd name="T36" fmla="*/ 482 w 631"/>
                  <a:gd name="T37" fmla="*/ 222 h 592"/>
                  <a:gd name="T38" fmla="*/ 485 w 631"/>
                  <a:gd name="T39" fmla="*/ 240 h 592"/>
                  <a:gd name="T40" fmla="*/ 491 w 631"/>
                  <a:gd name="T41" fmla="*/ 255 h 592"/>
                  <a:gd name="T42" fmla="*/ 496 w 631"/>
                  <a:gd name="T43" fmla="*/ 261 h 592"/>
                  <a:gd name="T44" fmla="*/ 505 w 631"/>
                  <a:gd name="T45" fmla="*/ 266 h 592"/>
                  <a:gd name="T46" fmla="*/ 513 w 631"/>
                  <a:gd name="T47" fmla="*/ 270 h 592"/>
                  <a:gd name="T48" fmla="*/ 519 w 631"/>
                  <a:gd name="T49" fmla="*/ 278 h 592"/>
                  <a:gd name="T50" fmla="*/ 533 w 631"/>
                  <a:gd name="T51" fmla="*/ 303 h 592"/>
                  <a:gd name="T52" fmla="*/ 541 w 631"/>
                  <a:gd name="T53" fmla="*/ 331 h 592"/>
                  <a:gd name="T54" fmla="*/ 545 w 631"/>
                  <a:gd name="T55" fmla="*/ 358 h 592"/>
                  <a:gd name="T56" fmla="*/ 548 w 631"/>
                  <a:gd name="T57" fmla="*/ 368 h 592"/>
                  <a:gd name="T58" fmla="*/ 557 w 631"/>
                  <a:gd name="T59" fmla="*/ 381 h 592"/>
                  <a:gd name="T60" fmla="*/ 583 w 631"/>
                  <a:gd name="T61" fmla="*/ 415 h 592"/>
                  <a:gd name="T62" fmla="*/ 612 w 631"/>
                  <a:gd name="T63" fmla="*/ 447 h 592"/>
                  <a:gd name="T64" fmla="*/ 631 w 631"/>
                  <a:gd name="T65" fmla="*/ 463 h 592"/>
                  <a:gd name="T66" fmla="*/ 612 w 631"/>
                  <a:gd name="T67" fmla="*/ 481 h 592"/>
                  <a:gd name="T68" fmla="*/ 624 w 631"/>
                  <a:gd name="T69" fmla="*/ 496 h 592"/>
                  <a:gd name="T70" fmla="*/ 626 w 631"/>
                  <a:gd name="T71" fmla="*/ 507 h 592"/>
                  <a:gd name="T72" fmla="*/ 626 w 631"/>
                  <a:gd name="T73" fmla="*/ 516 h 592"/>
                  <a:gd name="T74" fmla="*/ 631 w 631"/>
                  <a:gd name="T75" fmla="*/ 531 h 592"/>
                  <a:gd name="T76" fmla="*/ 626 w 631"/>
                  <a:gd name="T77" fmla="*/ 539 h 592"/>
                  <a:gd name="T78" fmla="*/ 617 w 631"/>
                  <a:gd name="T79" fmla="*/ 548 h 592"/>
                  <a:gd name="T80" fmla="*/ 592 w 631"/>
                  <a:gd name="T81" fmla="*/ 569 h 592"/>
                  <a:gd name="T82" fmla="*/ 558 w 631"/>
                  <a:gd name="T83" fmla="*/ 592 h 592"/>
                  <a:gd name="T84" fmla="*/ 46 w 631"/>
                  <a:gd name="T85" fmla="*/ 174 h 592"/>
                  <a:gd name="T86" fmla="*/ 25 w 631"/>
                  <a:gd name="T87" fmla="*/ 157 h 592"/>
                  <a:gd name="T88" fmla="*/ 11 w 631"/>
                  <a:gd name="T89" fmla="*/ 138 h 592"/>
                  <a:gd name="T90" fmla="*/ 2 w 631"/>
                  <a:gd name="T91" fmla="*/ 117 h 592"/>
                  <a:gd name="T92" fmla="*/ 0 w 631"/>
                  <a:gd name="T93" fmla="*/ 93 h 592"/>
                  <a:gd name="T94" fmla="*/ 3 w 631"/>
                  <a:gd name="T95" fmla="*/ 89 h 592"/>
                  <a:gd name="T96" fmla="*/ 10 w 631"/>
                  <a:gd name="T97" fmla="*/ 83 h 592"/>
                  <a:gd name="T98" fmla="*/ 17 w 631"/>
                  <a:gd name="T99" fmla="*/ 77 h 592"/>
                  <a:gd name="T100" fmla="*/ 20 w 631"/>
                  <a:gd name="T101" fmla="*/ 69 h 592"/>
                  <a:gd name="T102" fmla="*/ 18 w 631"/>
                  <a:gd name="T103" fmla="*/ 53 h 592"/>
                  <a:gd name="T104" fmla="*/ 13 w 631"/>
                  <a:gd name="T105" fmla="*/ 42 h 592"/>
                  <a:gd name="T106" fmla="*/ 9 w 631"/>
                  <a:gd name="T107" fmla="*/ 34 h 592"/>
                  <a:gd name="T108" fmla="*/ 7 w 631"/>
                  <a:gd name="T109" fmla="*/ 26 h 592"/>
                  <a:gd name="T110" fmla="*/ 13 w 631"/>
                  <a:gd name="T111" fmla="*/ 0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6" name="Freeform 458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5732565" y="2608739"/>
                <a:ext cx="23225" cy="57162"/>
              </a:xfrm>
              <a:custGeom>
                <a:avLst/>
                <a:gdLst>
                  <a:gd name="T0" fmla="*/ 7 w 40"/>
                  <a:gd name="T1" fmla="*/ 31 h 93"/>
                  <a:gd name="T2" fmla="*/ 10 w 40"/>
                  <a:gd name="T3" fmla="*/ 30 h 93"/>
                  <a:gd name="T4" fmla="*/ 14 w 40"/>
                  <a:gd name="T5" fmla="*/ 26 h 93"/>
                  <a:gd name="T6" fmla="*/ 20 w 40"/>
                  <a:gd name="T7" fmla="*/ 20 h 93"/>
                  <a:gd name="T8" fmla="*/ 25 w 40"/>
                  <a:gd name="T9" fmla="*/ 15 h 93"/>
                  <a:gd name="T10" fmla="*/ 35 w 40"/>
                  <a:gd name="T11" fmla="*/ 4 h 93"/>
                  <a:gd name="T12" fmla="*/ 40 w 40"/>
                  <a:gd name="T13" fmla="*/ 0 h 93"/>
                  <a:gd name="T14" fmla="*/ 37 w 40"/>
                  <a:gd name="T15" fmla="*/ 26 h 93"/>
                  <a:gd name="T16" fmla="*/ 35 w 40"/>
                  <a:gd name="T17" fmla="*/ 53 h 93"/>
                  <a:gd name="T18" fmla="*/ 34 w 40"/>
                  <a:gd name="T19" fmla="*/ 65 h 93"/>
                  <a:gd name="T20" fmla="*/ 34 w 40"/>
                  <a:gd name="T21" fmla="*/ 77 h 93"/>
                  <a:gd name="T22" fmla="*/ 35 w 40"/>
                  <a:gd name="T23" fmla="*/ 82 h 93"/>
                  <a:gd name="T24" fmla="*/ 36 w 40"/>
                  <a:gd name="T25" fmla="*/ 86 h 93"/>
                  <a:gd name="T26" fmla="*/ 37 w 40"/>
                  <a:gd name="T27" fmla="*/ 90 h 93"/>
                  <a:gd name="T28" fmla="*/ 40 w 40"/>
                  <a:gd name="T29" fmla="*/ 93 h 93"/>
                  <a:gd name="T30" fmla="*/ 26 w 40"/>
                  <a:gd name="T31" fmla="*/ 93 h 93"/>
                  <a:gd name="T32" fmla="*/ 13 w 40"/>
                  <a:gd name="T33" fmla="*/ 93 h 93"/>
                  <a:gd name="T34" fmla="*/ 11 w 40"/>
                  <a:gd name="T35" fmla="*/ 92 h 93"/>
                  <a:gd name="T36" fmla="*/ 8 w 40"/>
                  <a:gd name="T37" fmla="*/ 91 h 93"/>
                  <a:gd name="T38" fmla="*/ 6 w 40"/>
                  <a:gd name="T39" fmla="*/ 88 h 93"/>
                  <a:gd name="T40" fmla="*/ 4 w 40"/>
                  <a:gd name="T41" fmla="*/ 86 h 93"/>
                  <a:gd name="T42" fmla="*/ 1 w 40"/>
                  <a:gd name="T43" fmla="*/ 80 h 93"/>
                  <a:gd name="T44" fmla="*/ 0 w 40"/>
                  <a:gd name="T45" fmla="*/ 73 h 93"/>
                  <a:gd name="T46" fmla="*/ 1 w 40"/>
                  <a:gd name="T47" fmla="*/ 64 h 93"/>
                  <a:gd name="T48" fmla="*/ 3 w 40"/>
                  <a:gd name="T49" fmla="*/ 50 h 93"/>
                  <a:gd name="T50" fmla="*/ 6 w 40"/>
                  <a:gd name="T51" fmla="*/ 37 h 93"/>
                  <a:gd name="T52" fmla="*/ 7 w 40"/>
                  <a:gd name="T53" fmla="*/ 3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7" name="Freeform 459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5253269" y="2359443"/>
                <a:ext cx="392726" cy="273113"/>
              </a:xfrm>
              <a:custGeom>
                <a:avLst/>
                <a:gdLst>
                  <a:gd name="T0" fmla="*/ 149 w 664"/>
                  <a:gd name="T1" fmla="*/ 445 h 518"/>
                  <a:gd name="T2" fmla="*/ 151 w 664"/>
                  <a:gd name="T3" fmla="*/ 431 h 518"/>
                  <a:gd name="T4" fmla="*/ 146 w 664"/>
                  <a:gd name="T5" fmla="*/ 400 h 518"/>
                  <a:gd name="T6" fmla="*/ 151 w 664"/>
                  <a:gd name="T7" fmla="*/ 353 h 518"/>
                  <a:gd name="T8" fmla="*/ 146 w 664"/>
                  <a:gd name="T9" fmla="*/ 298 h 518"/>
                  <a:gd name="T10" fmla="*/ 134 w 664"/>
                  <a:gd name="T11" fmla="*/ 251 h 518"/>
                  <a:gd name="T12" fmla="*/ 109 w 664"/>
                  <a:gd name="T13" fmla="*/ 241 h 518"/>
                  <a:gd name="T14" fmla="*/ 20 w 664"/>
                  <a:gd name="T15" fmla="*/ 192 h 518"/>
                  <a:gd name="T16" fmla="*/ 24 w 664"/>
                  <a:gd name="T17" fmla="*/ 171 h 518"/>
                  <a:gd name="T18" fmla="*/ 36 w 664"/>
                  <a:gd name="T19" fmla="*/ 159 h 518"/>
                  <a:gd name="T20" fmla="*/ 48 w 664"/>
                  <a:gd name="T21" fmla="*/ 148 h 518"/>
                  <a:gd name="T22" fmla="*/ 100 w 664"/>
                  <a:gd name="T23" fmla="*/ 155 h 518"/>
                  <a:gd name="T24" fmla="*/ 125 w 664"/>
                  <a:gd name="T25" fmla="*/ 152 h 518"/>
                  <a:gd name="T26" fmla="*/ 147 w 664"/>
                  <a:gd name="T27" fmla="*/ 157 h 518"/>
                  <a:gd name="T28" fmla="*/ 165 w 664"/>
                  <a:gd name="T29" fmla="*/ 94 h 518"/>
                  <a:gd name="T30" fmla="*/ 185 w 664"/>
                  <a:gd name="T31" fmla="*/ 109 h 518"/>
                  <a:gd name="T32" fmla="*/ 207 w 664"/>
                  <a:gd name="T33" fmla="*/ 110 h 518"/>
                  <a:gd name="T34" fmla="*/ 236 w 664"/>
                  <a:gd name="T35" fmla="*/ 99 h 518"/>
                  <a:gd name="T36" fmla="*/ 264 w 664"/>
                  <a:gd name="T37" fmla="*/ 80 h 518"/>
                  <a:gd name="T38" fmla="*/ 289 w 664"/>
                  <a:gd name="T39" fmla="*/ 57 h 518"/>
                  <a:gd name="T40" fmla="*/ 308 w 664"/>
                  <a:gd name="T41" fmla="*/ 32 h 518"/>
                  <a:gd name="T42" fmla="*/ 318 w 664"/>
                  <a:gd name="T43" fmla="*/ 12 h 518"/>
                  <a:gd name="T44" fmla="*/ 370 w 664"/>
                  <a:gd name="T45" fmla="*/ 4 h 518"/>
                  <a:gd name="T46" fmla="*/ 404 w 664"/>
                  <a:gd name="T47" fmla="*/ 32 h 518"/>
                  <a:gd name="T48" fmla="*/ 457 w 664"/>
                  <a:gd name="T49" fmla="*/ 61 h 518"/>
                  <a:gd name="T50" fmla="*/ 511 w 664"/>
                  <a:gd name="T51" fmla="*/ 90 h 518"/>
                  <a:gd name="T52" fmla="*/ 552 w 664"/>
                  <a:gd name="T53" fmla="*/ 107 h 518"/>
                  <a:gd name="T54" fmla="*/ 578 w 664"/>
                  <a:gd name="T55" fmla="*/ 116 h 518"/>
                  <a:gd name="T56" fmla="*/ 623 w 664"/>
                  <a:gd name="T57" fmla="*/ 121 h 518"/>
                  <a:gd name="T58" fmla="*/ 658 w 664"/>
                  <a:gd name="T59" fmla="*/ 136 h 518"/>
                  <a:gd name="T60" fmla="*/ 645 w 664"/>
                  <a:gd name="T61" fmla="*/ 166 h 518"/>
                  <a:gd name="T62" fmla="*/ 620 w 664"/>
                  <a:gd name="T63" fmla="*/ 236 h 518"/>
                  <a:gd name="T64" fmla="*/ 598 w 664"/>
                  <a:gd name="T65" fmla="*/ 272 h 518"/>
                  <a:gd name="T66" fmla="*/ 585 w 664"/>
                  <a:gd name="T67" fmla="*/ 286 h 518"/>
                  <a:gd name="T68" fmla="*/ 599 w 664"/>
                  <a:gd name="T69" fmla="*/ 298 h 518"/>
                  <a:gd name="T70" fmla="*/ 618 w 664"/>
                  <a:gd name="T71" fmla="*/ 307 h 518"/>
                  <a:gd name="T72" fmla="*/ 623 w 664"/>
                  <a:gd name="T73" fmla="*/ 334 h 518"/>
                  <a:gd name="T74" fmla="*/ 620 w 664"/>
                  <a:gd name="T75" fmla="*/ 347 h 518"/>
                  <a:gd name="T76" fmla="*/ 618 w 664"/>
                  <a:gd name="T77" fmla="*/ 372 h 518"/>
                  <a:gd name="T78" fmla="*/ 622 w 664"/>
                  <a:gd name="T79" fmla="*/ 399 h 518"/>
                  <a:gd name="T80" fmla="*/ 632 w 664"/>
                  <a:gd name="T81" fmla="*/ 423 h 518"/>
                  <a:gd name="T82" fmla="*/ 608 w 664"/>
                  <a:gd name="T83" fmla="*/ 457 h 518"/>
                  <a:gd name="T84" fmla="*/ 569 w 664"/>
                  <a:gd name="T85" fmla="*/ 484 h 518"/>
                  <a:gd name="T86" fmla="*/ 542 w 664"/>
                  <a:gd name="T87" fmla="*/ 489 h 518"/>
                  <a:gd name="T88" fmla="*/ 509 w 664"/>
                  <a:gd name="T89" fmla="*/ 481 h 518"/>
                  <a:gd name="T90" fmla="*/ 477 w 664"/>
                  <a:gd name="T91" fmla="*/ 460 h 518"/>
                  <a:gd name="T92" fmla="*/ 463 w 664"/>
                  <a:gd name="T93" fmla="*/ 456 h 518"/>
                  <a:gd name="T94" fmla="*/ 443 w 664"/>
                  <a:gd name="T95" fmla="*/ 457 h 518"/>
                  <a:gd name="T96" fmla="*/ 423 w 664"/>
                  <a:gd name="T97" fmla="*/ 465 h 518"/>
                  <a:gd name="T98" fmla="*/ 406 w 664"/>
                  <a:gd name="T99" fmla="*/ 477 h 518"/>
                  <a:gd name="T100" fmla="*/ 388 w 664"/>
                  <a:gd name="T101" fmla="*/ 503 h 518"/>
                  <a:gd name="T102" fmla="*/ 385 w 664"/>
                  <a:gd name="T103" fmla="*/ 517 h 518"/>
                  <a:gd name="T104" fmla="*/ 333 w 664"/>
                  <a:gd name="T105" fmla="*/ 515 h 518"/>
                  <a:gd name="T106" fmla="*/ 317 w 664"/>
                  <a:gd name="T107" fmla="*/ 507 h 518"/>
                  <a:gd name="T108" fmla="*/ 307 w 664"/>
                  <a:gd name="T109" fmla="*/ 500 h 518"/>
                  <a:gd name="T110" fmla="*/ 296 w 664"/>
                  <a:gd name="T111" fmla="*/ 508 h 518"/>
                  <a:gd name="T112" fmla="*/ 287 w 664"/>
                  <a:gd name="T113" fmla="*/ 516 h 518"/>
                  <a:gd name="T114" fmla="*/ 268 w 664"/>
                  <a:gd name="T115" fmla="*/ 516 h 518"/>
                  <a:gd name="T116" fmla="*/ 227 w 664"/>
                  <a:gd name="T117" fmla="*/ 506 h 518"/>
                  <a:gd name="T118" fmla="*/ 185 w 664"/>
                  <a:gd name="T119" fmla="*/ 487 h 518"/>
                  <a:gd name="T120" fmla="*/ 160 w 664"/>
                  <a:gd name="T121" fmla="*/ 469 h 518"/>
                  <a:gd name="T122" fmla="*/ 146 w 664"/>
                  <a:gd name="T123" fmla="*/ 45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8" name="Freeform 460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6691156" y="2594448"/>
                <a:ext cx="200585" cy="82569"/>
              </a:xfrm>
              <a:custGeom>
                <a:avLst/>
                <a:gdLst>
                  <a:gd name="T0" fmla="*/ 332 w 352"/>
                  <a:gd name="T1" fmla="*/ 91 h 153"/>
                  <a:gd name="T2" fmla="*/ 352 w 352"/>
                  <a:gd name="T3" fmla="*/ 153 h 153"/>
                  <a:gd name="T4" fmla="*/ 326 w 352"/>
                  <a:gd name="T5" fmla="*/ 141 h 153"/>
                  <a:gd name="T6" fmla="*/ 299 w 352"/>
                  <a:gd name="T7" fmla="*/ 129 h 153"/>
                  <a:gd name="T8" fmla="*/ 266 w 352"/>
                  <a:gd name="T9" fmla="*/ 141 h 153"/>
                  <a:gd name="T10" fmla="*/ 232 w 352"/>
                  <a:gd name="T11" fmla="*/ 141 h 153"/>
                  <a:gd name="T12" fmla="*/ 227 w 352"/>
                  <a:gd name="T13" fmla="*/ 135 h 153"/>
                  <a:gd name="T14" fmla="*/ 226 w 352"/>
                  <a:gd name="T15" fmla="*/ 135 h 153"/>
                  <a:gd name="T16" fmla="*/ 219 w 352"/>
                  <a:gd name="T17" fmla="*/ 129 h 153"/>
                  <a:gd name="T18" fmla="*/ 213 w 352"/>
                  <a:gd name="T19" fmla="*/ 125 h 153"/>
                  <a:gd name="T20" fmla="*/ 205 w 352"/>
                  <a:gd name="T21" fmla="*/ 121 h 153"/>
                  <a:gd name="T22" fmla="*/ 197 w 352"/>
                  <a:gd name="T23" fmla="*/ 118 h 153"/>
                  <a:gd name="T24" fmla="*/ 181 w 352"/>
                  <a:gd name="T25" fmla="*/ 113 h 153"/>
                  <a:gd name="T26" fmla="*/ 163 w 352"/>
                  <a:gd name="T27" fmla="*/ 110 h 153"/>
                  <a:gd name="T28" fmla="*/ 126 w 352"/>
                  <a:gd name="T29" fmla="*/ 107 h 153"/>
                  <a:gd name="T30" fmla="*/ 86 w 352"/>
                  <a:gd name="T31" fmla="*/ 104 h 153"/>
                  <a:gd name="T32" fmla="*/ 85 w 352"/>
                  <a:gd name="T33" fmla="*/ 94 h 153"/>
                  <a:gd name="T34" fmla="*/ 82 w 352"/>
                  <a:gd name="T35" fmla="*/ 84 h 153"/>
                  <a:gd name="T36" fmla="*/ 80 w 352"/>
                  <a:gd name="T37" fmla="*/ 75 h 153"/>
                  <a:gd name="T38" fmla="*/ 75 w 352"/>
                  <a:gd name="T39" fmla="*/ 67 h 153"/>
                  <a:gd name="T40" fmla="*/ 71 w 352"/>
                  <a:gd name="T41" fmla="*/ 59 h 153"/>
                  <a:gd name="T42" fmla="*/ 67 w 352"/>
                  <a:gd name="T43" fmla="*/ 52 h 153"/>
                  <a:gd name="T44" fmla="*/ 61 w 352"/>
                  <a:gd name="T45" fmla="*/ 44 h 153"/>
                  <a:gd name="T46" fmla="*/ 56 w 352"/>
                  <a:gd name="T47" fmla="*/ 37 h 153"/>
                  <a:gd name="T48" fmla="*/ 44 w 352"/>
                  <a:gd name="T49" fmla="*/ 26 h 153"/>
                  <a:gd name="T50" fmla="*/ 29 w 352"/>
                  <a:gd name="T51" fmla="*/ 16 h 153"/>
                  <a:gd name="T52" fmla="*/ 15 w 352"/>
                  <a:gd name="T53" fmla="*/ 7 h 153"/>
                  <a:gd name="T54" fmla="*/ 0 w 352"/>
                  <a:gd name="T55" fmla="*/ 0 h 153"/>
                  <a:gd name="T56" fmla="*/ 7 w 352"/>
                  <a:gd name="T57" fmla="*/ 0 h 153"/>
                  <a:gd name="T58" fmla="*/ 60 w 352"/>
                  <a:gd name="T59" fmla="*/ 18 h 153"/>
                  <a:gd name="T60" fmla="*/ 106 w 352"/>
                  <a:gd name="T61" fmla="*/ 30 h 153"/>
                  <a:gd name="T62" fmla="*/ 134 w 352"/>
                  <a:gd name="T63" fmla="*/ 18 h 153"/>
                  <a:gd name="T64" fmla="*/ 180 w 352"/>
                  <a:gd name="T65" fmla="*/ 36 h 153"/>
                  <a:gd name="T66" fmla="*/ 206 w 352"/>
                  <a:gd name="T67" fmla="*/ 55 h 153"/>
                  <a:gd name="T68" fmla="*/ 246 w 352"/>
                  <a:gd name="T69" fmla="*/ 49 h 153"/>
                  <a:gd name="T70" fmla="*/ 286 w 352"/>
                  <a:gd name="T71" fmla="*/ 61 h 153"/>
                  <a:gd name="T72" fmla="*/ 313 w 352"/>
                  <a:gd name="T73" fmla="*/ 79 h 153"/>
                  <a:gd name="T74" fmla="*/ 332 w 352"/>
                  <a:gd name="T75" fmla="*/ 9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9" name="Freeform 461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6091509" y="2654787"/>
                <a:ext cx="196362" cy="173078"/>
              </a:xfrm>
              <a:custGeom>
                <a:avLst/>
                <a:gdLst>
                  <a:gd name="T0" fmla="*/ 230 w 331"/>
                  <a:gd name="T1" fmla="*/ 40 h 327"/>
                  <a:gd name="T2" fmla="*/ 193 w 331"/>
                  <a:gd name="T3" fmla="*/ 56 h 327"/>
                  <a:gd name="T4" fmla="*/ 182 w 331"/>
                  <a:gd name="T5" fmla="*/ 67 h 327"/>
                  <a:gd name="T6" fmla="*/ 181 w 331"/>
                  <a:gd name="T7" fmla="*/ 81 h 327"/>
                  <a:gd name="T8" fmla="*/ 184 w 331"/>
                  <a:gd name="T9" fmla="*/ 94 h 327"/>
                  <a:gd name="T10" fmla="*/ 177 w 331"/>
                  <a:gd name="T11" fmla="*/ 102 h 327"/>
                  <a:gd name="T12" fmla="*/ 168 w 331"/>
                  <a:gd name="T13" fmla="*/ 105 h 327"/>
                  <a:gd name="T14" fmla="*/ 160 w 331"/>
                  <a:gd name="T15" fmla="*/ 98 h 327"/>
                  <a:gd name="T16" fmla="*/ 149 w 331"/>
                  <a:gd name="T17" fmla="*/ 85 h 327"/>
                  <a:gd name="T18" fmla="*/ 126 w 331"/>
                  <a:gd name="T19" fmla="*/ 74 h 327"/>
                  <a:gd name="T20" fmla="*/ 127 w 331"/>
                  <a:gd name="T21" fmla="*/ 96 h 327"/>
                  <a:gd name="T22" fmla="*/ 139 w 331"/>
                  <a:gd name="T23" fmla="*/ 116 h 327"/>
                  <a:gd name="T24" fmla="*/ 154 w 331"/>
                  <a:gd name="T25" fmla="*/ 129 h 327"/>
                  <a:gd name="T26" fmla="*/ 159 w 331"/>
                  <a:gd name="T27" fmla="*/ 130 h 327"/>
                  <a:gd name="T28" fmla="*/ 159 w 331"/>
                  <a:gd name="T29" fmla="*/ 177 h 327"/>
                  <a:gd name="T30" fmla="*/ 159 w 331"/>
                  <a:gd name="T31" fmla="*/ 237 h 327"/>
                  <a:gd name="T32" fmla="*/ 156 w 331"/>
                  <a:gd name="T33" fmla="*/ 251 h 327"/>
                  <a:gd name="T34" fmla="*/ 147 w 331"/>
                  <a:gd name="T35" fmla="*/ 259 h 327"/>
                  <a:gd name="T36" fmla="*/ 145 w 331"/>
                  <a:gd name="T37" fmla="*/ 264 h 327"/>
                  <a:gd name="T38" fmla="*/ 162 w 331"/>
                  <a:gd name="T39" fmla="*/ 276 h 327"/>
                  <a:gd name="T40" fmla="*/ 167 w 331"/>
                  <a:gd name="T41" fmla="*/ 286 h 327"/>
                  <a:gd name="T42" fmla="*/ 155 w 331"/>
                  <a:gd name="T43" fmla="*/ 295 h 327"/>
                  <a:gd name="T44" fmla="*/ 140 w 331"/>
                  <a:gd name="T45" fmla="*/ 297 h 327"/>
                  <a:gd name="T46" fmla="*/ 130 w 331"/>
                  <a:gd name="T47" fmla="*/ 307 h 327"/>
                  <a:gd name="T48" fmla="*/ 126 w 331"/>
                  <a:gd name="T49" fmla="*/ 321 h 327"/>
                  <a:gd name="T50" fmla="*/ 121 w 331"/>
                  <a:gd name="T51" fmla="*/ 300 h 327"/>
                  <a:gd name="T52" fmla="*/ 124 w 331"/>
                  <a:gd name="T53" fmla="*/ 288 h 327"/>
                  <a:gd name="T54" fmla="*/ 109 w 331"/>
                  <a:gd name="T55" fmla="*/ 286 h 327"/>
                  <a:gd name="T56" fmla="*/ 93 w 331"/>
                  <a:gd name="T57" fmla="*/ 292 h 327"/>
                  <a:gd name="T58" fmla="*/ 79 w 331"/>
                  <a:gd name="T59" fmla="*/ 296 h 327"/>
                  <a:gd name="T60" fmla="*/ 73 w 331"/>
                  <a:gd name="T61" fmla="*/ 242 h 327"/>
                  <a:gd name="T62" fmla="*/ 79 w 331"/>
                  <a:gd name="T63" fmla="*/ 216 h 327"/>
                  <a:gd name="T64" fmla="*/ 48 w 331"/>
                  <a:gd name="T65" fmla="*/ 211 h 327"/>
                  <a:gd name="T66" fmla="*/ 28 w 331"/>
                  <a:gd name="T67" fmla="*/ 198 h 327"/>
                  <a:gd name="T68" fmla="*/ 13 w 331"/>
                  <a:gd name="T69" fmla="*/ 173 h 327"/>
                  <a:gd name="T70" fmla="*/ 0 w 331"/>
                  <a:gd name="T71" fmla="*/ 130 h 327"/>
                  <a:gd name="T72" fmla="*/ 28 w 331"/>
                  <a:gd name="T73" fmla="*/ 111 h 327"/>
                  <a:gd name="T74" fmla="*/ 50 w 331"/>
                  <a:gd name="T75" fmla="*/ 81 h 327"/>
                  <a:gd name="T76" fmla="*/ 73 w 331"/>
                  <a:gd name="T77" fmla="*/ 55 h 327"/>
                  <a:gd name="T78" fmla="*/ 115 w 331"/>
                  <a:gd name="T79" fmla="*/ 41 h 327"/>
                  <a:gd name="T80" fmla="*/ 180 w 331"/>
                  <a:gd name="T81" fmla="*/ 14 h 327"/>
                  <a:gd name="T82" fmla="*/ 218 w 331"/>
                  <a:gd name="T83" fmla="*/ 7 h 327"/>
                  <a:gd name="T84" fmla="*/ 249 w 331"/>
                  <a:gd name="T85" fmla="*/ 14 h 327"/>
                  <a:gd name="T86" fmla="*/ 271 w 331"/>
                  <a:gd name="T87" fmla="*/ 27 h 327"/>
                  <a:gd name="T88" fmla="*/ 292 w 331"/>
                  <a:gd name="T89" fmla="*/ 30 h 327"/>
                  <a:gd name="T90" fmla="*/ 307 w 331"/>
                  <a:gd name="T91" fmla="*/ 20 h 327"/>
                  <a:gd name="T92" fmla="*/ 327 w 331"/>
                  <a:gd name="T93" fmla="*/ 6 h 327"/>
                  <a:gd name="T94" fmla="*/ 330 w 331"/>
                  <a:gd name="T95" fmla="*/ 32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0" name="Freeform 462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6203413" y="2846919"/>
                <a:ext cx="92903" cy="57162"/>
              </a:xfrm>
              <a:custGeom>
                <a:avLst/>
                <a:gdLst>
                  <a:gd name="T0" fmla="*/ 0 w 153"/>
                  <a:gd name="T1" fmla="*/ 0 h 49"/>
                  <a:gd name="T2" fmla="*/ 44 w 153"/>
                  <a:gd name="T3" fmla="*/ 2 h 49"/>
                  <a:gd name="T4" fmla="*/ 83 w 153"/>
                  <a:gd name="T5" fmla="*/ 6 h 49"/>
                  <a:gd name="T6" fmla="*/ 103 w 153"/>
                  <a:gd name="T7" fmla="*/ 8 h 49"/>
                  <a:gd name="T8" fmla="*/ 121 w 153"/>
                  <a:gd name="T9" fmla="*/ 7 h 49"/>
                  <a:gd name="T10" fmla="*/ 130 w 153"/>
                  <a:gd name="T11" fmla="*/ 6 h 49"/>
                  <a:gd name="T12" fmla="*/ 137 w 153"/>
                  <a:gd name="T13" fmla="*/ 5 h 49"/>
                  <a:gd name="T14" fmla="*/ 145 w 153"/>
                  <a:gd name="T15" fmla="*/ 3 h 49"/>
                  <a:gd name="T16" fmla="*/ 153 w 153"/>
                  <a:gd name="T17" fmla="*/ 0 h 49"/>
                  <a:gd name="T18" fmla="*/ 153 w 153"/>
                  <a:gd name="T19" fmla="*/ 9 h 49"/>
                  <a:gd name="T20" fmla="*/ 153 w 153"/>
                  <a:gd name="T21" fmla="*/ 25 h 49"/>
                  <a:gd name="T22" fmla="*/ 143 w 153"/>
                  <a:gd name="T23" fmla="*/ 31 h 49"/>
                  <a:gd name="T24" fmla="*/ 133 w 153"/>
                  <a:gd name="T25" fmla="*/ 36 h 49"/>
                  <a:gd name="T26" fmla="*/ 124 w 153"/>
                  <a:gd name="T27" fmla="*/ 40 h 49"/>
                  <a:gd name="T28" fmla="*/ 114 w 153"/>
                  <a:gd name="T29" fmla="*/ 44 h 49"/>
                  <a:gd name="T30" fmla="*/ 106 w 153"/>
                  <a:gd name="T31" fmla="*/ 46 h 49"/>
                  <a:gd name="T32" fmla="*/ 99 w 153"/>
                  <a:gd name="T33" fmla="*/ 48 h 49"/>
                  <a:gd name="T34" fmla="*/ 92 w 153"/>
                  <a:gd name="T35" fmla="*/ 49 h 49"/>
                  <a:gd name="T36" fmla="*/ 87 w 153"/>
                  <a:gd name="T37" fmla="*/ 49 h 49"/>
                  <a:gd name="T38" fmla="*/ 72 w 153"/>
                  <a:gd name="T39" fmla="*/ 48 h 49"/>
                  <a:gd name="T40" fmla="*/ 60 w 153"/>
                  <a:gd name="T41" fmla="*/ 46 h 49"/>
                  <a:gd name="T42" fmla="*/ 50 w 153"/>
                  <a:gd name="T43" fmla="*/ 43 h 49"/>
                  <a:gd name="T44" fmla="*/ 41 w 153"/>
                  <a:gd name="T45" fmla="*/ 38 h 49"/>
                  <a:gd name="T46" fmla="*/ 22 w 153"/>
                  <a:gd name="T47" fmla="*/ 29 h 49"/>
                  <a:gd name="T48" fmla="*/ 0 w 153"/>
                  <a:gd name="T49" fmla="*/ 19 h 49"/>
                  <a:gd name="T50" fmla="*/ 0 w 153"/>
                  <a:gd name="T5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1" name="Freeform 463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978784" y="3578925"/>
                <a:ext cx="249149" cy="158787"/>
              </a:xfrm>
              <a:custGeom>
                <a:avLst/>
                <a:gdLst>
                  <a:gd name="T0" fmla="*/ 194 w 426"/>
                  <a:gd name="T1" fmla="*/ 16 h 299"/>
                  <a:gd name="T2" fmla="*/ 216 w 426"/>
                  <a:gd name="T3" fmla="*/ 22 h 299"/>
                  <a:gd name="T4" fmla="*/ 230 w 426"/>
                  <a:gd name="T5" fmla="*/ 29 h 299"/>
                  <a:gd name="T6" fmla="*/ 253 w 426"/>
                  <a:gd name="T7" fmla="*/ 35 h 299"/>
                  <a:gd name="T8" fmla="*/ 279 w 426"/>
                  <a:gd name="T9" fmla="*/ 37 h 299"/>
                  <a:gd name="T10" fmla="*/ 300 w 426"/>
                  <a:gd name="T11" fmla="*/ 37 h 299"/>
                  <a:gd name="T12" fmla="*/ 319 w 426"/>
                  <a:gd name="T13" fmla="*/ 34 h 299"/>
                  <a:gd name="T14" fmla="*/ 329 w 426"/>
                  <a:gd name="T15" fmla="*/ 29 h 299"/>
                  <a:gd name="T16" fmla="*/ 365 w 426"/>
                  <a:gd name="T17" fmla="*/ 25 h 299"/>
                  <a:gd name="T18" fmla="*/ 372 w 426"/>
                  <a:gd name="T19" fmla="*/ 49 h 299"/>
                  <a:gd name="T20" fmla="*/ 383 w 426"/>
                  <a:gd name="T21" fmla="*/ 74 h 299"/>
                  <a:gd name="T22" fmla="*/ 391 w 426"/>
                  <a:gd name="T23" fmla="*/ 84 h 299"/>
                  <a:gd name="T24" fmla="*/ 400 w 426"/>
                  <a:gd name="T25" fmla="*/ 92 h 299"/>
                  <a:gd name="T26" fmla="*/ 412 w 426"/>
                  <a:gd name="T27" fmla="*/ 97 h 299"/>
                  <a:gd name="T28" fmla="*/ 425 w 426"/>
                  <a:gd name="T29" fmla="*/ 99 h 299"/>
                  <a:gd name="T30" fmla="*/ 425 w 426"/>
                  <a:gd name="T31" fmla="*/ 120 h 299"/>
                  <a:gd name="T32" fmla="*/ 425 w 426"/>
                  <a:gd name="T33" fmla="*/ 142 h 299"/>
                  <a:gd name="T34" fmla="*/ 416 w 426"/>
                  <a:gd name="T35" fmla="*/ 158 h 299"/>
                  <a:gd name="T36" fmla="*/ 412 w 426"/>
                  <a:gd name="T37" fmla="*/ 170 h 299"/>
                  <a:gd name="T38" fmla="*/ 412 w 426"/>
                  <a:gd name="T39" fmla="*/ 181 h 299"/>
                  <a:gd name="T40" fmla="*/ 415 w 426"/>
                  <a:gd name="T41" fmla="*/ 190 h 299"/>
                  <a:gd name="T42" fmla="*/ 423 w 426"/>
                  <a:gd name="T43" fmla="*/ 211 h 299"/>
                  <a:gd name="T44" fmla="*/ 426 w 426"/>
                  <a:gd name="T45" fmla="*/ 226 h 299"/>
                  <a:gd name="T46" fmla="*/ 425 w 426"/>
                  <a:gd name="T47" fmla="*/ 247 h 299"/>
                  <a:gd name="T48" fmla="*/ 426 w 426"/>
                  <a:gd name="T49" fmla="*/ 274 h 299"/>
                  <a:gd name="T50" fmla="*/ 423 w 426"/>
                  <a:gd name="T51" fmla="*/ 285 h 299"/>
                  <a:gd name="T52" fmla="*/ 412 w 426"/>
                  <a:gd name="T53" fmla="*/ 296 h 299"/>
                  <a:gd name="T54" fmla="*/ 380 w 426"/>
                  <a:gd name="T55" fmla="*/ 298 h 299"/>
                  <a:gd name="T56" fmla="*/ 370 w 426"/>
                  <a:gd name="T57" fmla="*/ 299 h 299"/>
                  <a:gd name="T58" fmla="*/ 360 w 426"/>
                  <a:gd name="T59" fmla="*/ 296 h 299"/>
                  <a:gd name="T60" fmla="*/ 351 w 426"/>
                  <a:gd name="T61" fmla="*/ 290 h 299"/>
                  <a:gd name="T62" fmla="*/ 338 w 426"/>
                  <a:gd name="T63" fmla="*/ 278 h 299"/>
                  <a:gd name="T64" fmla="*/ 324 w 426"/>
                  <a:gd name="T65" fmla="*/ 261 h 299"/>
                  <a:gd name="T66" fmla="*/ 311 w 426"/>
                  <a:gd name="T67" fmla="*/ 253 h 299"/>
                  <a:gd name="T68" fmla="*/ 294 w 426"/>
                  <a:gd name="T69" fmla="*/ 251 h 299"/>
                  <a:gd name="T70" fmla="*/ 278 w 426"/>
                  <a:gd name="T71" fmla="*/ 232 h 299"/>
                  <a:gd name="T72" fmla="*/ 274 w 426"/>
                  <a:gd name="T73" fmla="*/ 210 h 299"/>
                  <a:gd name="T74" fmla="*/ 269 w 426"/>
                  <a:gd name="T75" fmla="*/ 197 h 299"/>
                  <a:gd name="T76" fmla="*/ 261 w 426"/>
                  <a:gd name="T77" fmla="*/ 184 h 299"/>
                  <a:gd name="T78" fmla="*/ 251 w 426"/>
                  <a:gd name="T79" fmla="*/ 173 h 299"/>
                  <a:gd name="T80" fmla="*/ 238 w 426"/>
                  <a:gd name="T81" fmla="*/ 165 h 299"/>
                  <a:gd name="T82" fmla="*/ 222 w 426"/>
                  <a:gd name="T83" fmla="*/ 161 h 299"/>
                  <a:gd name="T84" fmla="*/ 204 w 426"/>
                  <a:gd name="T85" fmla="*/ 161 h 299"/>
                  <a:gd name="T86" fmla="*/ 188 w 426"/>
                  <a:gd name="T87" fmla="*/ 163 h 299"/>
                  <a:gd name="T88" fmla="*/ 173 w 426"/>
                  <a:gd name="T89" fmla="*/ 168 h 299"/>
                  <a:gd name="T90" fmla="*/ 160 w 426"/>
                  <a:gd name="T91" fmla="*/ 176 h 299"/>
                  <a:gd name="T92" fmla="*/ 141 w 426"/>
                  <a:gd name="T93" fmla="*/ 191 h 299"/>
                  <a:gd name="T94" fmla="*/ 118 w 426"/>
                  <a:gd name="T95" fmla="*/ 215 h 299"/>
                  <a:gd name="T96" fmla="*/ 105 w 426"/>
                  <a:gd name="T97" fmla="*/ 218 h 299"/>
                  <a:gd name="T98" fmla="*/ 100 w 426"/>
                  <a:gd name="T99" fmla="*/ 201 h 299"/>
                  <a:gd name="T100" fmla="*/ 90 w 426"/>
                  <a:gd name="T101" fmla="*/ 186 h 299"/>
                  <a:gd name="T102" fmla="*/ 76 w 426"/>
                  <a:gd name="T103" fmla="*/ 171 h 299"/>
                  <a:gd name="T104" fmla="*/ 50 w 426"/>
                  <a:gd name="T105" fmla="*/ 153 h 299"/>
                  <a:gd name="T106" fmla="*/ 24 w 426"/>
                  <a:gd name="T107" fmla="*/ 134 h 299"/>
                  <a:gd name="T108" fmla="*/ 8 w 426"/>
                  <a:gd name="T109" fmla="*/ 119 h 299"/>
                  <a:gd name="T110" fmla="*/ 15 w 426"/>
                  <a:gd name="T111" fmla="*/ 101 h 299"/>
                  <a:gd name="T112" fmla="*/ 46 w 426"/>
                  <a:gd name="T113" fmla="*/ 77 h 299"/>
                  <a:gd name="T114" fmla="*/ 75 w 426"/>
                  <a:gd name="T115" fmla="*/ 48 h 299"/>
                  <a:gd name="T116" fmla="*/ 98 w 426"/>
                  <a:gd name="T117" fmla="*/ 17 h 299"/>
                  <a:gd name="T118" fmla="*/ 179 w 426"/>
                  <a:gd name="T119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2" name="Freeform 464"/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7698307" y="2842155"/>
                <a:ext cx="920584" cy="874915"/>
              </a:xfrm>
              <a:custGeom>
                <a:avLst/>
                <a:gdLst>
                  <a:gd name="T0" fmla="*/ 477 w 1594"/>
                  <a:gd name="T1" fmla="*/ 107 h 1670"/>
                  <a:gd name="T2" fmla="*/ 485 w 1594"/>
                  <a:gd name="T3" fmla="*/ 185 h 1670"/>
                  <a:gd name="T4" fmla="*/ 578 w 1594"/>
                  <a:gd name="T5" fmla="*/ 287 h 1670"/>
                  <a:gd name="T6" fmla="*/ 701 w 1594"/>
                  <a:gd name="T7" fmla="*/ 459 h 1670"/>
                  <a:gd name="T8" fmla="*/ 795 w 1594"/>
                  <a:gd name="T9" fmla="*/ 499 h 1670"/>
                  <a:gd name="T10" fmla="*/ 877 w 1594"/>
                  <a:gd name="T11" fmla="*/ 493 h 1670"/>
                  <a:gd name="T12" fmla="*/ 930 w 1594"/>
                  <a:gd name="T13" fmla="*/ 537 h 1670"/>
                  <a:gd name="T14" fmla="*/ 1102 w 1594"/>
                  <a:gd name="T15" fmla="*/ 567 h 1670"/>
                  <a:gd name="T16" fmla="*/ 1121 w 1594"/>
                  <a:gd name="T17" fmla="*/ 461 h 1670"/>
                  <a:gd name="T18" fmla="*/ 1179 w 1594"/>
                  <a:gd name="T19" fmla="*/ 539 h 1670"/>
                  <a:gd name="T20" fmla="*/ 1243 w 1594"/>
                  <a:gd name="T21" fmla="*/ 561 h 1670"/>
                  <a:gd name="T22" fmla="*/ 1299 w 1594"/>
                  <a:gd name="T23" fmla="*/ 498 h 1670"/>
                  <a:gd name="T24" fmla="*/ 1404 w 1594"/>
                  <a:gd name="T25" fmla="*/ 409 h 1670"/>
                  <a:gd name="T26" fmla="*/ 1549 w 1594"/>
                  <a:gd name="T27" fmla="*/ 428 h 1670"/>
                  <a:gd name="T28" fmla="*/ 1579 w 1594"/>
                  <a:gd name="T29" fmla="*/ 498 h 1670"/>
                  <a:gd name="T30" fmla="*/ 1504 w 1594"/>
                  <a:gd name="T31" fmla="*/ 542 h 1670"/>
                  <a:gd name="T32" fmla="*/ 1485 w 1594"/>
                  <a:gd name="T33" fmla="*/ 679 h 1670"/>
                  <a:gd name="T34" fmla="*/ 1429 w 1594"/>
                  <a:gd name="T35" fmla="*/ 704 h 1670"/>
                  <a:gd name="T36" fmla="*/ 1408 w 1594"/>
                  <a:gd name="T37" fmla="*/ 814 h 1670"/>
                  <a:gd name="T38" fmla="*/ 1321 w 1594"/>
                  <a:gd name="T39" fmla="*/ 754 h 1670"/>
                  <a:gd name="T40" fmla="*/ 1323 w 1594"/>
                  <a:gd name="T41" fmla="*/ 698 h 1670"/>
                  <a:gd name="T42" fmla="*/ 1225 w 1594"/>
                  <a:gd name="T43" fmla="*/ 638 h 1670"/>
                  <a:gd name="T44" fmla="*/ 1187 w 1594"/>
                  <a:gd name="T45" fmla="*/ 588 h 1670"/>
                  <a:gd name="T46" fmla="*/ 1131 w 1594"/>
                  <a:gd name="T47" fmla="*/ 575 h 1670"/>
                  <a:gd name="T48" fmla="*/ 1127 w 1594"/>
                  <a:gd name="T49" fmla="*/ 625 h 1670"/>
                  <a:gd name="T50" fmla="*/ 1117 w 1594"/>
                  <a:gd name="T51" fmla="*/ 683 h 1670"/>
                  <a:gd name="T52" fmla="*/ 1160 w 1594"/>
                  <a:gd name="T53" fmla="*/ 735 h 1670"/>
                  <a:gd name="T54" fmla="*/ 1149 w 1594"/>
                  <a:gd name="T55" fmla="*/ 843 h 1670"/>
                  <a:gd name="T56" fmla="*/ 1075 w 1594"/>
                  <a:gd name="T57" fmla="*/ 864 h 1670"/>
                  <a:gd name="T58" fmla="*/ 1049 w 1594"/>
                  <a:gd name="T59" fmla="*/ 937 h 1670"/>
                  <a:gd name="T60" fmla="*/ 954 w 1594"/>
                  <a:gd name="T61" fmla="*/ 1001 h 1670"/>
                  <a:gd name="T62" fmla="*/ 912 w 1594"/>
                  <a:gd name="T63" fmla="*/ 1050 h 1670"/>
                  <a:gd name="T64" fmla="*/ 780 w 1594"/>
                  <a:gd name="T65" fmla="*/ 1188 h 1670"/>
                  <a:gd name="T66" fmla="*/ 723 w 1594"/>
                  <a:gd name="T67" fmla="*/ 1233 h 1670"/>
                  <a:gd name="T68" fmla="*/ 744 w 1594"/>
                  <a:gd name="T69" fmla="*/ 1344 h 1670"/>
                  <a:gd name="T70" fmla="*/ 712 w 1594"/>
                  <a:gd name="T71" fmla="*/ 1445 h 1670"/>
                  <a:gd name="T72" fmla="*/ 722 w 1594"/>
                  <a:gd name="T73" fmla="*/ 1524 h 1670"/>
                  <a:gd name="T74" fmla="*/ 693 w 1594"/>
                  <a:gd name="T75" fmla="*/ 1576 h 1670"/>
                  <a:gd name="T76" fmla="*/ 595 w 1594"/>
                  <a:gd name="T77" fmla="*/ 1663 h 1670"/>
                  <a:gd name="T78" fmla="*/ 516 w 1594"/>
                  <a:gd name="T79" fmla="*/ 1529 h 1670"/>
                  <a:gd name="T80" fmla="*/ 419 w 1594"/>
                  <a:gd name="T81" fmla="*/ 1334 h 1670"/>
                  <a:gd name="T82" fmla="*/ 301 w 1594"/>
                  <a:gd name="T83" fmla="*/ 1114 h 1670"/>
                  <a:gd name="T84" fmla="*/ 259 w 1594"/>
                  <a:gd name="T85" fmla="*/ 861 h 1670"/>
                  <a:gd name="T86" fmla="*/ 230 w 1594"/>
                  <a:gd name="T87" fmla="*/ 814 h 1670"/>
                  <a:gd name="T88" fmla="*/ 164 w 1594"/>
                  <a:gd name="T89" fmla="*/ 900 h 1670"/>
                  <a:gd name="T90" fmla="*/ 90 w 1594"/>
                  <a:gd name="T91" fmla="*/ 876 h 1670"/>
                  <a:gd name="T92" fmla="*/ 51 w 1594"/>
                  <a:gd name="T93" fmla="*/ 798 h 1670"/>
                  <a:gd name="T94" fmla="*/ 30 w 1594"/>
                  <a:gd name="T95" fmla="*/ 771 h 1670"/>
                  <a:gd name="T96" fmla="*/ 32 w 1594"/>
                  <a:gd name="T97" fmla="*/ 708 h 1670"/>
                  <a:gd name="T98" fmla="*/ 159 w 1594"/>
                  <a:gd name="T99" fmla="*/ 659 h 1670"/>
                  <a:gd name="T100" fmla="*/ 92 w 1594"/>
                  <a:gd name="T101" fmla="*/ 569 h 1670"/>
                  <a:gd name="T102" fmla="*/ 59 w 1594"/>
                  <a:gd name="T103" fmla="*/ 500 h 1670"/>
                  <a:gd name="T104" fmla="*/ 162 w 1594"/>
                  <a:gd name="T105" fmla="*/ 459 h 1670"/>
                  <a:gd name="T106" fmla="*/ 270 w 1594"/>
                  <a:gd name="T107" fmla="*/ 294 h 1670"/>
                  <a:gd name="T108" fmla="*/ 274 w 1594"/>
                  <a:gd name="T109" fmla="*/ 230 h 1670"/>
                  <a:gd name="T110" fmla="*/ 227 w 1594"/>
                  <a:gd name="T111" fmla="*/ 142 h 1670"/>
                  <a:gd name="T112" fmla="*/ 322 w 1594"/>
                  <a:gd name="T113" fmla="*/ 54 h 1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3" name="Freeform 465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5200484" y="3637677"/>
                <a:ext cx="211143" cy="206423"/>
              </a:xfrm>
              <a:custGeom>
                <a:avLst/>
                <a:gdLst>
                  <a:gd name="T0" fmla="*/ 53 w 359"/>
                  <a:gd name="T1" fmla="*/ 382 h 394"/>
                  <a:gd name="T2" fmla="*/ 53 w 359"/>
                  <a:gd name="T3" fmla="*/ 358 h 394"/>
                  <a:gd name="T4" fmla="*/ 53 w 359"/>
                  <a:gd name="T5" fmla="*/ 333 h 394"/>
                  <a:gd name="T6" fmla="*/ 50 w 359"/>
                  <a:gd name="T7" fmla="*/ 312 h 394"/>
                  <a:gd name="T8" fmla="*/ 43 w 359"/>
                  <a:gd name="T9" fmla="*/ 293 h 394"/>
                  <a:gd name="T10" fmla="*/ 35 w 359"/>
                  <a:gd name="T11" fmla="*/ 277 h 394"/>
                  <a:gd name="T12" fmla="*/ 13 w 359"/>
                  <a:gd name="T13" fmla="*/ 245 h 394"/>
                  <a:gd name="T14" fmla="*/ 0 w 359"/>
                  <a:gd name="T15" fmla="*/ 185 h 394"/>
                  <a:gd name="T16" fmla="*/ 33 w 359"/>
                  <a:gd name="T17" fmla="*/ 181 h 394"/>
                  <a:gd name="T18" fmla="*/ 40 w 359"/>
                  <a:gd name="T19" fmla="*/ 169 h 394"/>
                  <a:gd name="T20" fmla="*/ 41 w 359"/>
                  <a:gd name="T21" fmla="*/ 150 h 394"/>
                  <a:gd name="T22" fmla="*/ 38 w 359"/>
                  <a:gd name="T23" fmla="*/ 107 h 394"/>
                  <a:gd name="T24" fmla="*/ 31 w 359"/>
                  <a:gd name="T25" fmla="*/ 65 h 394"/>
                  <a:gd name="T26" fmla="*/ 32 w 359"/>
                  <a:gd name="T27" fmla="*/ 47 h 394"/>
                  <a:gd name="T28" fmla="*/ 36 w 359"/>
                  <a:gd name="T29" fmla="*/ 36 h 394"/>
                  <a:gd name="T30" fmla="*/ 120 w 359"/>
                  <a:gd name="T31" fmla="*/ 31 h 394"/>
                  <a:gd name="T32" fmla="*/ 122 w 359"/>
                  <a:gd name="T33" fmla="*/ 22 h 394"/>
                  <a:gd name="T34" fmla="*/ 128 w 359"/>
                  <a:gd name="T35" fmla="*/ 14 h 394"/>
                  <a:gd name="T36" fmla="*/ 140 w 359"/>
                  <a:gd name="T37" fmla="*/ 0 h 394"/>
                  <a:gd name="T38" fmla="*/ 142 w 359"/>
                  <a:gd name="T39" fmla="*/ 18 h 394"/>
                  <a:gd name="T40" fmla="*/ 142 w 359"/>
                  <a:gd name="T41" fmla="*/ 26 h 394"/>
                  <a:gd name="T42" fmla="*/ 140 w 359"/>
                  <a:gd name="T43" fmla="*/ 31 h 394"/>
                  <a:gd name="T44" fmla="*/ 168 w 359"/>
                  <a:gd name="T45" fmla="*/ 31 h 394"/>
                  <a:gd name="T46" fmla="*/ 186 w 359"/>
                  <a:gd name="T47" fmla="*/ 31 h 394"/>
                  <a:gd name="T48" fmla="*/ 214 w 359"/>
                  <a:gd name="T49" fmla="*/ 38 h 394"/>
                  <a:gd name="T50" fmla="*/ 233 w 359"/>
                  <a:gd name="T51" fmla="*/ 49 h 394"/>
                  <a:gd name="T52" fmla="*/ 246 w 359"/>
                  <a:gd name="T53" fmla="*/ 58 h 394"/>
                  <a:gd name="T54" fmla="*/ 259 w 359"/>
                  <a:gd name="T55" fmla="*/ 61 h 394"/>
                  <a:gd name="T56" fmla="*/ 268 w 359"/>
                  <a:gd name="T57" fmla="*/ 59 h 394"/>
                  <a:gd name="T58" fmla="*/ 275 w 359"/>
                  <a:gd name="T59" fmla="*/ 54 h 394"/>
                  <a:gd name="T60" fmla="*/ 286 w 359"/>
                  <a:gd name="T61" fmla="*/ 37 h 394"/>
                  <a:gd name="T62" fmla="*/ 312 w 359"/>
                  <a:gd name="T63" fmla="*/ 52 h 394"/>
                  <a:gd name="T64" fmla="*/ 325 w 359"/>
                  <a:gd name="T65" fmla="*/ 59 h 394"/>
                  <a:gd name="T66" fmla="*/ 338 w 359"/>
                  <a:gd name="T67" fmla="*/ 61 h 394"/>
                  <a:gd name="T68" fmla="*/ 353 w 359"/>
                  <a:gd name="T69" fmla="*/ 161 h 394"/>
                  <a:gd name="T70" fmla="*/ 338 w 359"/>
                  <a:gd name="T71" fmla="*/ 185 h 394"/>
                  <a:gd name="T72" fmla="*/ 323 w 359"/>
                  <a:gd name="T73" fmla="*/ 206 h 394"/>
                  <a:gd name="T74" fmla="*/ 315 w 359"/>
                  <a:gd name="T75" fmla="*/ 224 h 394"/>
                  <a:gd name="T76" fmla="*/ 313 w 359"/>
                  <a:gd name="T77" fmla="*/ 239 h 394"/>
                  <a:gd name="T78" fmla="*/ 313 w 359"/>
                  <a:gd name="T79" fmla="*/ 255 h 394"/>
                  <a:gd name="T80" fmla="*/ 321 w 359"/>
                  <a:gd name="T81" fmla="*/ 273 h 394"/>
                  <a:gd name="T82" fmla="*/ 331 w 359"/>
                  <a:gd name="T83" fmla="*/ 293 h 394"/>
                  <a:gd name="T84" fmla="*/ 337 w 359"/>
                  <a:gd name="T85" fmla="*/ 309 h 394"/>
                  <a:gd name="T86" fmla="*/ 337 w 359"/>
                  <a:gd name="T87" fmla="*/ 321 h 394"/>
                  <a:gd name="T88" fmla="*/ 330 w 359"/>
                  <a:gd name="T89" fmla="*/ 337 h 394"/>
                  <a:gd name="T90" fmla="*/ 326 w 359"/>
                  <a:gd name="T91" fmla="*/ 351 h 394"/>
                  <a:gd name="T92" fmla="*/ 319 w 359"/>
                  <a:gd name="T93" fmla="*/ 358 h 394"/>
                  <a:gd name="T94" fmla="*/ 308 w 359"/>
                  <a:gd name="T95" fmla="*/ 356 h 394"/>
                  <a:gd name="T96" fmla="*/ 298 w 359"/>
                  <a:gd name="T97" fmla="*/ 350 h 394"/>
                  <a:gd name="T98" fmla="*/ 287 w 359"/>
                  <a:gd name="T99" fmla="*/ 340 h 394"/>
                  <a:gd name="T100" fmla="*/ 277 w 359"/>
                  <a:gd name="T101" fmla="*/ 335 h 394"/>
                  <a:gd name="T102" fmla="*/ 266 w 359"/>
                  <a:gd name="T103" fmla="*/ 333 h 394"/>
                  <a:gd name="T104" fmla="*/ 246 w 359"/>
                  <a:gd name="T105" fmla="*/ 333 h 394"/>
                  <a:gd name="T106" fmla="*/ 221 w 359"/>
                  <a:gd name="T107" fmla="*/ 336 h 394"/>
                  <a:gd name="T108" fmla="*/ 181 w 359"/>
                  <a:gd name="T109" fmla="*/ 343 h 394"/>
                  <a:gd name="T110" fmla="*/ 131 w 359"/>
                  <a:gd name="T111" fmla="*/ 359 h 394"/>
                  <a:gd name="T112" fmla="*/ 86 w 359"/>
                  <a:gd name="T113" fmla="*/ 375 h 394"/>
                  <a:gd name="T114" fmla="*/ 53 w 359"/>
                  <a:gd name="T115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4" name="Freeform 466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6621477" y="3832984"/>
                <a:ext cx="255484" cy="271526"/>
              </a:xfrm>
              <a:custGeom>
                <a:avLst/>
                <a:gdLst>
                  <a:gd name="T0" fmla="*/ 410 w 449"/>
                  <a:gd name="T1" fmla="*/ 105 h 523"/>
                  <a:gd name="T2" fmla="*/ 405 w 449"/>
                  <a:gd name="T3" fmla="*/ 98 h 523"/>
                  <a:gd name="T4" fmla="*/ 408 w 449"/>
                  <a:gd name="T5" fmla="*/ 92 h 523"/>
                  <a:gd name="T6" fmla="*/ 422 w 449"/>
                  <a:gd name="T7" fmla="*/ 77 h 523"/>
                  <a:gd name="T8" fmla="*/ 441 w 449"/>
                  <a:gd name="T9" fmla="*/ 60 h 523"/>
                  <a:gd name="T10" fmla="*/ 447 w 449"/>
                  <a:gd name="T11" fmla="*/ 50 h 523"/>
                  <a:gd name="T12" fmla="*/ 449 w 449"/>
                  <a:gd name="T13" fmla="*/ 37 h 523"/>
                  <a:gd name="T14" fmla="*/ 432 w 449"/>
                  <a:gd name="T15" fmla="*/ 34 h 523"/>
                  <a:gd name="T16" fmla="*/ 422 w 449"/>
                  <a:gd name="T17" fmla="*/ 27 h 523"/>
                  <a:gd name="T18" fmla="*/ 411 w 449"/>
                  <a:gd name="T19" fmla="*/ 21 h 523"/>
                  <a:gd name="T20" fmla="*/ 390 w 449"/>
                  <a:gd name="T21" fmla="*/ 18 h 523"/>
                  <a:gd name="T22" fmla="*/ 377 w 449"/>
                  <a:gd name="T23" fmla="*/ 20 h 523"/>
                  <a:gd name="T24" fmla="*/ 368 w 449"/>
                  <a:gd name="T25" fmla="*/ 24 h 523"/>
                  <a:gd name="T26" fmla="*/ 355 w 449"/>
                  <a:gd name="T27" fmla="*/ 37 h 523"/>
                  <a:gd name="T28" fmla="*/ 340 w 449"/>
                  <a:gd name="T29" fmla="*/ 50 h 523"/>
                  <a:gd name="T30" fmla="*/ 326 w 449"/>
                  <a:gd name="T31" fmla="*/ 54 h 523"/>
                  <a:gd name="T32" fmla="*/ 310 w 449"/>
                  <a:gd name="T33" fmla="*/ 55 h 523"/>
                  <a:gd name="T34" fmla="*/ 287 w 449"/>
                  <a:gd name="T35" fmla="*/ 54 h 523"/>
                  <a:gd name="T36" fmla="*/ 267 w 449"/>
                  <a:gd name="T37" fmla="*/ 50 h 523"/>
                  <a:gd name="T38" fmla="*/ 235 w 449"/>
                  <a:gd name="T39" fmla="*/ 36 h 523"/>
                  <a:gd name="T40" fmla="*/ 206 w 449"/>
                  <a:gd name="T41" fmla="*/ 19 h 523"/>
                  <a:gd name="T42" fmla="*/ 189 w 449"/>
                  <a:gd name="T43" fmla="*/ 12 h 523"/>
                  <a:gd name="T44" fmla="*/ 170 w 449"/>
                  <a:gd name="T45" fmla="*/ 6 h 523"/>
                  <a:gd name="T46" fmla="*/ 134 w 449"/>
                  <a:gd name="T47" fmla="*/ 8 h 523"/>
                  <a:gd name="T48" fmla="*/ 119 w 449"/>
                  <a:gd name="T49" fmla="*/ 6 h 523"/>
                  <a:gd name="T50" fmla="*/ 103 w 449"/>
                  <a:gd name="T51" fmla="*/ 0 h 523"/>
                  <a:gd name="T52" fmla="*/ 52 w 449"/>
                  <a:gd name="T53" fmla="*/ 0 h 523"/>
                  <a:gd name="T54" fmla="*/ 5 w 449"/>
                  <a:gd name="T55" fmla="*/ 0 h 523"/>
                  <a:gd name="T56" fmla="*/ 5 w 449"/>
                  <a:gd name="T57" fmla="*/ 18 h 523"/>
                  <a:gd name="T58" fmla="*/ 5 w 449"/>
                  <a:gd name="T59" fmla="*/ 37 h 523"/>
                  <a:gd name="T60" fmla="*/ 15 w 449"/>
                  <a:gd name="T61" fmla="*/ 60 h 523"/>
                  <a:gd name="T62" fmla="*/ 23 w 449"/>
                  <a:gd name="T63" fmla="*/ 91 h 523"/>
                  <a:gd name="T64" fmla="*/ 31 w 449"/>
                  <a:gd name="T65" fmla="*/ 128 h 523"/>
                  <a:gd name="T66" fmla="*/ 38 w 449"/>
                  <a:gd name="T67" fmla="*/ 172 h 523"/>
                  <a:gd name="T68" fmla="*/ 37 w 449"/>
                  <a:gd name="T69" fmla="*/ 206 h 523"/>
                  <a:gd name="T70" fmla="*/ 29 w 449"/>
                  <a:gd name="T71" fmla="*/ 230 h 523"/>
                  <a:gd name="T72" fmla="*/ 7 w 449"/>
                  <a:gd name="T73" fmla="*/ 269 h 523"/>
                  <a:gd name="T74" fmla="*/ 10 w 449"/>
                  <a:gd name="T75" fmla="*/ 321 h 523"/>
                  <a:gd name="T76" fmla="*/ 28 w 449"/>
                  <a:gd name="T77" fmla="*/ 339 h 523"/>
                  <a:gd name="T78" fmla="*/ 84 w 449"/>
                  <a:gd name="T79" fmla="*/ 367 h 523"/>
                  <a:gd name="T80" fmla="*/ 136 w 449"/>
                  <a:gd name="T81" fmla="*/ 396 h 523"/>
                  <a:gd name="T82" fmla="*/ 170 w 449"/>
                  <a:gd name="T83" fmla="*/ 420 h 523"/>
                  <a:gd name="T84" fmla="*/ 189 w 449"/>
                  <a:gd name="T85" fmla="*/ 436 h 523"/>
                  <a:gd name="T86" fmla="*/ 198 w 449"/>
                  <a:gd name="T87" fmla="*/ 451 h 523"/>
                  <a:gd name="T88" fmla="*/ 201 w 449"/>
                  <a:gd name="T89" fmla="*/ 464 h 523"/>
                  <a:gd name="T90" fmla="*/ 209 w 449"/>
                  <a:gd name="T91" fmla="*/ 479 h 523"/>
                  <a:gd name="T92" fmla="*/ 220 w 449"/>
                  <a:gd name="T93" fmla="*/ 492 h 523"/>
                  <a:gd name="T94" fmla="*/ 233 w 449"/>
                  <a:gd name="T95" fmla="*/ 503 h 523"/>
                  <a:gd name="T96" fmla="*/ 247 w 449"/>
                  <a:gd name="T97" fmla="*/ 512 h 523"/>
                  <a:gd name="T98" fmla="*/ 264 w 449"/>
                  <a:gd name="T99" fmla="*/ 519 h 523"/>
                  <a:gd name="T100" fmla="*/ 281 w 449"/>
                  <a:gd name="T101" fmla="*/ 523 h 523"/>
                  <a:gd name="T102" fmla="*/ 304 w 449"/>
                  <a:gd name="T103" fmla="*/ 502 h 523"/>
                  <a:gd name="T104" fmla="*/ 335 w 449"/>
                  <a:gd name="T105" fmla="*/ 462 h 523"/>
                  <a:gd name="T106" fmla="*/ 365 w 449"/>
                  <a:gd name="T107" fmla="*/ 427 h 523"/>
                  <a:gd name="T108" fmla="*/ 394 w 449"/>
                  <a:gd name="T109" fmla="*/ 390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5" name="Freeform 467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6598253" y="2918374"/>
                <a:ext cx="135132" cy="130204"/>
              </a:xfrm>
              <a:custGeom>
                <a:avLst/>
                <a:gdLst>
                  <a:gd name="T0" fmla="*/ 12 w 226"/>
                  <a:gd name="T1" fmla="*/ 228 h 246"/>
                  <a:gd name="T2" fmla="*/ 36 w 226"/>
                  <a:gd name="T3" fmla="*/ 240 h 246"/>
                  <a:gd name="T4" fmla="*/ 53 w 226"/>
                  <a:gd name="T5" fmla="*/ 245 h 246"/>
                  <a:gd name="T6" fmla="*/ 68 w 226"/>
                  <a:gd name="T7" fmla="*/ 245 h 246"/>
                  <a:gd name="T8" fmla="*/ 85 w 226"/>
                  <a:gd name="T9" fmla="*/ 241 h 246"/>
                  <a:gd name="T10" fmla="*/ 110 w 226"/>
                  <a:gd name="T11" fmla="*/ 228 h 246"/>
                  <a:gd name="T12" fmla="*/ 141 w 226"/>
                  <a:gd name="T13" fmla="*/ 205 h 246"/>
                  <a:gd name="T14" fmla="*/ 161 w 226"/>
                  <a:gd name="T15" fmla="*/ 184 h 246"/>
                  <a:gd name="T16" fmla="*/ 159 w 226"/>
                  <a:gd name="T17" fmla="*/ 173 h 246"/>
                  <a:gd name="T18" fmla="*/ 149 w 226"/>
                  <a:gd name="T19" fmla="*/ 160 h 246"/>
                  <a:gd name="T20" fmla="*/ 143 w 226"/>
                  <a:gd name="T21" fmla="*/ 145 h 246"/>
                  <a:gd name="T22" fmla="*/ 141 w 226"/>
                  <a:gd name="T23" fmla="*/ 130 h 246"/>
                  <a:gd name="T24" fmla="*/ 141 w 226"/>
                  <a:gd name="T25" fmla="*/ 116 h 246"/>
                  <a:gd name="T26" fmla="*/ 146 w 226"/>
                  <a:gd name="T27" fmla="*/ 105 h 246"/>
                  <a:gd name="T28" fmla="*/ 156 w 226"/>
                  <a:gd name="T29" fmla="*/ 94 h 246"/>
                  <a:gd name="T30" fmla="*/ 168 w 226"/>
                  <a:gd name="T31" fmla="*/ 86 h 246"/>
                  <a:gd name="T32" fmla="*/ 204 w 226"/>
                  <a:gd name="T33" fmla="*/ 71 h 246"/>
                  <a:gd name="T34" fmla="*/ 225 w 226"/>
                  <a:gd name="T35" fmla="*/ 49 h 246"/>
                  <a:gd name="T36" fmla="*/ 221 w 226"/>
                  <a:gd name="T37" fmla="*/ 30 h 246"/>
                  <a:gd name="T38" fmla="*/ 214 w 226"/>
                  <a:gd name="T39" fmla="*/ 17 h 246"/>
                  <a:gd name="T40" fmla="*/ 212 w 226"/>
                  <a:gd name="T41" fmla="*/ 6 h 246"/>
                  <a:gd name="T42" fmla="*/ 202 w 226"/>
                  <a:gd name="T43" fmla="*/ 1 h 246"/>
                  <a:gd name="T44" fmla="*/ 181 w 226"/>
                  <a:gd name="T45" fmla="*/ 7 h 246"/>
                  <a:gd name="T46" fmla="*/ 154 w 226"/>
                  <a:gd name="T47" fmla="*/ 20 h 246"/>
                  <a:gd name="T48" fmla="*/ 121 w 226"/>
                  <a:gd name="T49" fmla="*/ 38 h 246"/>
                  <a:gd name="T50" fmla="*/ 100 w 226"/>
                  <a:gd name="T51" fmla="*/ 51 h 246"/>
                  <a:gd name="T52" fmla="*/ 87 w 226"/>
                  <a:gd name="T53" fmla="*/ 55 h 246"/>
                  <a:gd name="T54" fmla="*/ 75 w 226"/>
                  <a:gd name="T55" fmla="*/ 54 h 246"/>
                  <a:gd name="T56" fmla="*/ 59 w 226"/>
                  <a:gd name="T57" fmla="*/ 47 h 246"/>
                  <a:gd name="T58" fmla="*/ 36 w 226"/>
                  <a:gd name="T59" fmla="*/ 31 h 246"/>
                  <a:gd name="T60" fmla="*/ 24 w 226"/>
                  <a:gd name="T61" fmla="*/ 39 h 246"/>
                  <a:gd name="T62" fmla="*/ 18 w 226"/>
                  <a:gd name="T63" fmla="*/ 95 h 246"/>
                  <a:gd name="T64" fmla="*/ 10 w 226"/>
                  <a:gd name="T65" fmla="*/ 163 h 246"/>
                  <a:gd name="T66" fmla="*/ 3 w 226"/>
                  <a:gd name="T67" fmla="*/ 21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6" name="Freeform 468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6995201" y="3021584"/>
                <a:ext cx="29560" cy="55575"/>
              </a:xfrm>
              <a:custGeom>
                <a:avLst/>
                <a:gdLst>
                  <a:gd name="T0" fmla="*/ 27 w 60"/>
                  <a:gd name="T1" fmla="*/ 0 h 81"/>
                  <a:gd name="T2" fmla="*/ 29 w 60"/>
                  <a:gd name="T3" fmla="*/ 2 h 81"/>
                  <a:gd name="T4" fmla="*/ 32 w 60"/>
                  <a:gd name="T5" fmla="*/ 3 h 81"/>
                  <a:gd name="T6" fmla="*/ 36 w 60"/>
                  <a:gd name="T7" fmla="*/ 3 h 81"/>
                  <a:gd name="T8" fmla="*/ 40 w 60"/>
                  <a:gd name="T9" fmla="*/ 2 h 81"/>
                  <a:gd name="T10" fmla="*/ 47 w 60"/>
                  <a:gd name="T11" fmla="*/ 1 h 81"/>
                  <a:gd name="T12" fmla="*/ 53 w 60"/>
                  <a:gd name="T13" fmla="*/ 0 h 81"/>
                  <a:gd name="T14" fmla="*/ 53 w 60"/>
                  <a:gd name="T15" fmla="*/ 26 h 81"/>
                  <a:gd name="T16" fmla="*/ 54 w 60"/>
                  <a:gd name="T17" fmla="*/ 47 h 81"/>
                  <a:gd name="T18" fmla="*/ 54 w 60"/>
                  <a:gd name="T19" fmla="*/ 57 h 81"/>
                  <a:gd name="T20" fmla="*/ 56 w 60"/>
                  <a:gd name="T21" fmla="*/ 65 h 81"/>
                  <a:gd name="T22" fmla="*/ 58 w 60"/>
                  <a:gd name="T23" fmla="*/ 73 h 81"/>
                  <a:gd name="T24" fmla="*/ 60 w 60"/>
                  <a:gd name="T25" fmla="*/ 81 h 81"/>
                  <a:gd name="T26" fmla="*/ 20 w 60"/>
                  <a:gd name="T27" fmla="*/ 81 h 81"/>
                  <a:gd name="T28" fmla="*/ 14 w 60"/>
                  <a:gd name="T29" fmla="*/ 80 h 81"/>
                  <a:gd name="T30" fmla="*/ 7 w 60"/>
                  <a:gd name="T31" fmla="*/ 77 h 81"/>
                  <a:gd name="T32" fmla="*/ 5 w 60"/>
                  <a:gd name="T33" fmla="*/ 74 h 81"/>
                  <a:gd name="T34" fmla="*/ 2 w 60"/>
                  <a:gd name="T35" fmla="*/ 72 h 81"/>
                  <a:gd name="T36" fmla="*/ 1 w 60"/>
                  <a:gd name="T37" fmla="*/ 70 h 81"/>
                  <a:gd name="T38" fmla="*/ 0 w 60"/>
                  <a:gd name="T39" fmla="*/ 68 h 81"/>
                  <a:gd name="T40" fmla="*/ 7 w 60"/>
                  <a:gd name="T41" fmla="*/ 12 h 81"/>
                  <a:gd name="T42" fmla="*/ 20 w 60"/>
                  <a:gd name="T43" fmla="*/ 6 h 81"/>
                  <a:gd name="T44" fmla="*/ 34 w 60"/>
                  <a:gd name="T45" fmla="*/ 0 h 81"/>
                  <a:gd name="T46" fmla="*/ 27 w 60"/>
                  <a:gd name="T4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7" name="Freeform 469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6047168" y="2156197"/>
                <a:ext cx="215366" cy="66690"/>
              </a:xfrm>
              <a:custGeom>
                <a:avLst/>
                <a:gdLst>
                  <a:gd name="T0" fmla="*/ 250 w 370"/>
                  <a:gd name="T1" fmla="*/ 117 h 129"/>
                  <a:gd name="T2" fmla="*/ 258 w 370"/>
                  <a:gd name="T3" fmla="*/ 119 h 129"/>
                  <a:gd name="T4" fmla="*/ 277 w 370"/>
                  <a:gd name="T5" fmla="*/ 123 h 129"/>
                  <a:gd name="T6" fmla="*/ 295 w 370"/>
                  <a:gd name="T7" fmla="*/ 127 h 129"/>
                  <a:gd name="T8" fmla="*/ 303 w 370"/>
                  <a:gd name="T9" fmla="*/ 129 h 129"/>
                  <a:gd name="T10" fmla="*/ 370 w 370"/>
                  <a:gd name="T11" fmla="*/ 97 h 129"/>
                  <a:gd name="T12" fmla="*/ 358 w 370"/>
                  <a:gd name="T13" fmla="*/ 75 h 129"/>
                  <a:gd name="T14" fmla="*/ 345 w 370"/>
                  <a:gd name="T15" fmla="*/ 48 h 129"/>
                  <a:gd name="T16" fmla="*/ 335 w 370"/>
                  <a:gd name="T17" fmla="*/ 27 h 129"/>
                  <a:gd name="T18" fmla="*/ 330 w 370"/>
                  <a:gd name="T19" fmla="*/ 18 h 129"/>
                  <a:gd name="T20" fmla="*/ 300 w 370"/>
                  <a:gd name="T21" fmla="*/ 15 h 129"/>
                  <a:gd name="T22" fmla="*/ 257 w 370"/>
                  <a:gd name="T23" fmla="*/ 9 h 129"/>
                  <a:gd name="T24" fmla="*/ 214 w 370"/>
                  <a:gd name="T25" fmla="*/ 2 h 129"/>
                  <a:gd name="T26" fmla="*/ 183 w 370"/>
                  <a:gd name="T27" fmla="*/ 0 h 129"/>
                  <a:gd name="T28" fmla="*/ 179 w 370"/>
                  <a:gd name="T29" fmla="*/ 0 h 129"/>
                  <a:gd name="T30" fmla="*/ 176 w 370"/>
                  <a:gd name="T31" fmla="*/ 1 h 129"/>
                  <a:gd name="T32" fmla="*/ 172 w 370"/>
                  <a:gd name="T33" fmla="*/ 2 h 129"/>
                  <a:gd name="T34" fmla="*/ 170 w 370"/>
                  <a:gd name="T35" fmla="*/ 3 h 129"/>
                  <a:gd name="T36" fmla="*/ 162 w 370"/>
                  <a:gd name="T37" fmla="*/ 7 h 129"/>
                  <a:gd name="T38" fmla="*/ 150 w 370"/>
                  <a:gd name="T39" fmla="*/ 12 h 129"/>
                  <a:gd name="T40" fmla="*/ 147 w 370"/>
                  <a:gd name="T41" fmla="*/ 21 h 129"/>
                  <a:gd name="T42" fmla="*/ 140 w 370"/>
                  <a:gd name="T43" fmla="*/ 35 h 129"/>
                  <a:gd name="T44" fmla="*/ 134 w 370"/>
                  <a:gd name="T45" fmla="*/ 48 h 129"/>
                  <a:gd name="T46" fmla="*/ 131 w 370"/>
                  <a:gd name="T47" fmla="*/ 55 h 129"/>
                  <a:gd name="T48" fmla="*/ 122 w 370"/>
                  <a:gd name="T49" fmla="*/ 54 h 129"/>
                  <a:gd name="T50" fmla="*/ 111 w 370"/>
                  <a:gd name="T51" fmla="*/ 49 h 129"/>
                  <a:gd name="T52" fmla="*/ 98 w 370"/>
                  <a:gd name="T53" fmla="*/ 44 h 129"/>
                  <a:gd name="T54" fmla="*/ 84 w 370"/>
                  <a:gd name="T55" fmla="*/ 38 h 129"/>
                  <a:gd name="T56" fmla="*/ 60 w 370"/>
                  <a:gd name="T57" fmla="*/ 26 h 129"/>
                  <a:gd name="T58" fmla="*/ 44 w 370"/>
                  <a:gd name="T59" fmla="*/ 18 h 129"/>
                  <a:gd name="T60" fmla="*/ 32 w 370"/>
                  <a:gd name="T61" fmla="*/ 25 h 129"/>
                  <a:gd name="T62" fmla="*/ 21 w 370"/>
                  <a:gd name="T63" fmla="*/ 33 h 129"/>
                  <a:gd name="T64" fmla="*/ 16 w 370"/>
                  <a:gd name="T65" fmla="*/ 37 h 129"/>
                  <a:gd name="T66" fmla="*/ 12 w 370"/>
                  <a:gd name="T67" fmla="*/ 41 h 129"/>
                  <a:gd name="T68" fmla="*/ 9 w 370"/>
                  <a:gd name="T69" fmla="*/ 46 h 129"/>
                  <a:gd name="T70" fmla="*/ 5 w 370"/>
                  <a:gd name="T71" fmla="*/ 52 h 129"/>
                  <a:gd name="T72" fmla="*/ 3 w 370"/>
                  <a:gd name="T73" fmla="*/ 57 h 129"/>
                  <a:gd name="T74" fmla="*/ 1 w 370"/>
                  <a:gd name="T75" fmla="*/ 63 h 129"/>
                  <a:gd name="T76" fmla="*/ 0 w 370"/>
                  <a:gd name="T77" fmla="*/ 69 h 129"/>
                  <a:gd name="T78" fmla="*/ 0 w 370"/>
                  <a:gd name="T79" fmla="*/ 75 h 129"/>
                  <a:gd name="T80" fmla="*/ 1 w 370"/>
                  <a:gd name="T81" fmla="*/ 82 h 129"/>
                  <a:gd name="T82" fmla="*/ 3 w 370"/>
                  <a:gd name="T83" fmla="*/ 88 h 129"/>
                  <a:gd name="T84" fmla="*/ 6 w 370"/>
                  <a:gd name="T85" fmla="*/ 96 h 129"/>
                  <a:gd name="T86" fmla="*/ 11 w 370"/>
                  <a:gd name="T87" fmla="*/ 103 h 129"/>
                  <a:gd name="T88" fmla="*/ 20 w 370"/>
                  <a:gd name="T89" fmla="*/ 101 h 129"/>
                  <a:gd name="T90" fmla="*/ 33 w 370"/>
                  <a:gd name="T91" fmla="*/ 99 h 129"/>
                  <a:gd name="T92" fmla="*/ 50 w 370"/>
                  <a:gd name="T93" fmla="*/ 97 h 129"/>
                  <a:gd name="T94" fmla="*/ 69 w 370"/>
                  <a:gd name="T95" fmla="*/ 95 h 129"/>
                  <a:gd name="T96" fmla="*/ 102 w 370"/>
                  <a:gd name="T97" fmla="*/ 92 h 129"/>
                  <a:gd name="T98" fmla="*/ 117 w 370"/>
                  <a:gd name="T99" fmla="*/ 91 h 129"/>
                  <a:gd name="T100" fmla="*/ 137 w 370"/>
                  <a:gd name="T101" fmla="*/ 92 h 129"/>
                  <a:gd name="T102" fmla="*/ 152 w 370"/>
                  <a:gd name="T103" fmla="*/ 94 h 129"/>
                  <a:gd name="T104" fmla="*/ 166 w 370"/>
                  <a:gd name="T105" fmla="*/ 97 h 129"/>
                  <a:gd name="T106" fmla="*/ 177 w 370"/>
                  <a:gd name="T107" fmla="*/ 100 h 129"/>
                  <a:gd name="T108" fmla="*/ 189 w 370"/>
                  <a:gd name="T109" fmla="*/ 104 h 129"/>
                  <a:gd name="T110" fmla="*/ 201 w 370"/>
                  <a:gd name="T111" fmla="*/ 108 h 129"/>
                  <a:gd name="T112" fmla="*/ 217 w 370"/>
                  <a:gd name="T113" fmla="*/ 110 h 129"/>
                  <a:gd name="T114" fmla="*/ 237 w 370"/>
                  <a:gd name="T115" fmla="*/ 111 h 129"/>
                  <a:gd name="T116" fmla="*/ 237 w 370"/>
                  <a:gd name="T117" fmla="*/ 117 h 129"/>
                  <a:gd name="T118" fmla="*/ 250 w 370"/>
                  <a:gd name="T119" fmla="*/ 11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8" name="Freeform 470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6594029" y="2877088"/>
                <a:ext cx="40117" cy="57162"/>
              </a:xfrm>
              <a:custGeom>
                <a:avLst/>
                <a:gdLst>
                  <a:gd name="T0" fmla="*/ 27 w 80"/>
                  <a:gd name="T1" fmla="*/ 1 h 94"/>
                  <a:gd name="T2" fmla="*/ 34 w 80"/>
                  <a:gd name="T3" fmla="*/ 0 h 94"/>
                  <a:gd name="T4" fmla="*/ 41 w 80"/>
                  <a:gd name="T5" fmla="*/ 0 h 94"/>
                  <a:gd name="T6" fmla="*/ 47 w 80"/>
                  <a:gd name="T7" fmla="*/ 2 h 94"/>
                  <a:gd name="T8" fmla="*/ 54 w 80"/>
                  <a:gd name="T9" fmla="*/ 4 h 94"/>
                  <a:gd name="T10" fmla="*/ 60 w 80"/>
                  <a:gd name="T11" fmla="*/ 6 h 94"/>
                  <a:gd name="T12" fmla="*/ 66 w 80"/>
                  <a:gd name="T13" fmla="*/ 8 h 94"/>
                  <a:gd name="T14" fmla="*/ 73 w 80"/>
                  <a:gd name="T15" fmla="*/ 8 h 94"/>
                  <a:gd name="T16" fmla="*/ 80 w 80"/>
                  <a:gd name="T17" fmla="*/ 7 h 94"/>
                  <a:gd name="T18" fmla="*/ 80 w 80"/>
                  <a:gd name="T19" fmla="*/ 38 h 94"/>
                  <a:gd name="T20" fmla="*/ 75 w 80"/>
                  <a:gd name="T21" fmla="*/ 44 h 94"/>
                  <a:gd name="T22" fmla="*/ 69 w 80"/>
                  <a:gd name="T23" fmla="*/ 51 h 94"/>
                  <a:gd name="T24" fmla="*/ 64 w 80"/>
                  <a:gd name="T25" fmla="*/ 59 h 94"/>
                  <a:gd name="T26" fmla="*/ 58 w 80"/>
                  <a:gd name="T27" fmla="*/ 68 h 94"/>
                  <a:gd name="T28" fmla="*/ 51 w 80"/>
                  <a:gd name="T29" fmla="*/ 84 h 94"/>
                  <a:gd name="T30" fmla="*/ 47 w 80"/>
                  <a:gd name="T31" fmla="*/ 94 h 94"/>
                  <a:gd name="T32" fmla="*/ 43 w 80"/>
                  <a:gd name="T33" fmla="*/ 93 h 94"/>
                  <a:gd name="T34" fmla="*/ 40 w 80"/>
                  <a:gd name="T35" fmla="*/ 92 h 94"/>
                  <a:gd name="T36" fmla="*/ 37 w 80"/>
                  <a:gd name="T37" fmla="*/ 91 h 94"/>
                  <a:gd name="T38" fmla="*/ 34 w 80"/>
                  <a:gd name="T39" fmla="*/ 89 h 94"/>
                  <a:gd name="T40" fmla="*/ 29 w 80"/>
                  <a:gd name="T41" fmla="*/ 84 h 94"/>
                  <a:gd name="T42" fmla="*/ 23 w 80"/>
                  <a:gd name="T43" fmla="*/ 78 h 94"/>
                  <a:gd name="T44" fmla="*/ 19 w 80"/>
                  <a:gd name="T45" fmla="*/ 72 h 94"/>
                  <a:gd name="T46" fmla="*/ 13 w 80"/>
                  <a:gd name="T47" fmla="*/ 65 h 94"/>
                  <a:gd name="T48" fmla="*/ 7 w 80"/>
                  <a:gd name="T49" fmla="*/ 60 h 94"/>
                  <a:gd name="T50" fmla="*/ 0 w 80"/>
                  <a:gd name="T51" fmla="*/ 56 h 94"/>
                  <a:gd name="T52" fmla="*/ 8 w 80"/>
                  <a:gd name="T53" fmla="*/ 41 h 94"/>
                  <a:gd name="T54" fmla="*/ 13 w 80"/>
                  <a:gd name="T55" fmla="*/ 29 h 94"/>
                  <a:gd name="T56" fmla="*/ 19 w 80"/>
                  <a:gd name="T57" fmla="*/ 17 h 94"/>
                  <a:gd name="T58" fmla="*/ 27 w 80"/>
                  <a:gd name="T59" fmla="*/ 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9" name="Freeform 471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6349103" y="4888917"/>
                <a:ext cx="82345" cy="57162"/>
              </a:xfrm>
              <a:custGeom>
                <a:avLst/>
                <a:gdLst>
                  <a:gd name="T0" fmla="*/ 3 w 135"/>
                  <a:gd name="T1" fmla="*/ 55 h 98"/>
                  <a:gd name="T2" fmla="*/ 11 w 135"/>
                  <a:gd name="T3" fmla="*/ 54 h 98"/>
                  <a:gd name="T4" fmla="*/ 18 w 135"/>
                  <a:gd name="T5" fmla="*/ 53 h 98"/>
                  <a:gd name="T6" fmla="*/ 24 w 135"/>
                  <a:gd name="T7" fmla="*/ 50 h 98"/>
                  <a:gd name="T8" fmla="*/ 31 w 135"/>
                  <a:gd name="T9" fmla="*/ 47 h 98"/>
                  <a:gd name="T10" fmla="*/ 42 w 135"/>
                  <a:gd name="T11" fmla="*/ 38 h 98"/>
                  <a:gd name="T12" fmla="*/ 52 w 135"/>
                  <a:gd name="T13" fmla="*/ 28 h 98"/>
                  <a:gd name="T14" fmla="*/ 61 w 135"/>
                  <a:gd name="T15" fmla="*/ 18 h 98"/>
                  <a:gd name="T16" fmla="*/ 71 w 135"/>
                  <a:gd name="T17" fmla="*/ 8 h 98"/>
                  <a:gd name="T18" fmla="*/ 76 w 135"/>
                  <a:gd name="T19" fmla="*/ 5 h 98"/>
                  <a:gd name="T20" fmla="*/ 82 w 135"/>
                  <a:gd name="T21" fmla="*/ 2 h 98"/>
                  <a:gd name="T22" fmla="*/ 88 w 135"/>
                  <a:gd name="T23" fmla="*/ 0 h 98"/>
                  <a:gd name="T24" fmla="*/ 96 w 135"/>
                  <a:gd name="T25" fmla="*/ 0 h 98"/>
                  <a:gd name="T26" fmla="*/ 102 w 135"/>
                  <a:gd name="T27" fmla="*/ 0 h 98"/>
                  <a:gd name="T28" fmla="*/ 110 w 135"/>
                  <a:gd name="T29" fmla="*/ 3 h 98"/>
                  <a:gd name="T30" fmla="*/ 117 w 135"/>
                  <a:gd name="T31" fmla="*/ 6 h 98"/>
                  <a:gd name="T32" fmla="*/ 123 w 135"/>
                  <a:gd name="T33" fmla="*/ 11 h 98"/>
                  <a:gd name="T34" fmla="*/ 128 w 135"/>
                  <a:gd name="T35" fmla="*/ 16 h 98"/>
                  <a:gd name="T36" fmla="*/ 132 w 135"/>
                  <a:gd name="T37" fmla="*/ 24 h 98"/>
                  <a:gd name="T38" fmla="*/ 134 w 135"/>
                  <a:gd name="T39" fmla="*/ 30 h 98"/>
                  <a:gd name="T40" fmla="*/ 135 w 135"/>
                  <a:gd name="T41" fmla="*/ 37 h 98"/>
                  <a:gd name="T42" fmla="*/ 134 w 135"/>
                  <a:gd name="T43" fmla="*/ 40 h 98"/>
                  <a:gd name="T44" fmla="*/ 132 w 135"/>
                  <a:gd name="T45" fmla="*/ 43 h 98"/>
                  <a:gd name="T46" fmla="*/ 129 w 135"/>
                  <a:gd name="T47" fmla="*/ 47 h 98"/>
                  <a:gd name="T48" fmla="*/ 124 w 135"/>
                  <a:gd name="T49" fmla="*/ 51 h 98"/>
                  <a:gd name="T50" fmla="*/ 113 w 135"/>
                  <a:gd name="T51" fmla="*/ 61 h 98"/>
                  <a:gd name="T52" fmla="*/ 100 w 135"/>
                  <a:gd name="T53" fmla="*/ 72 h 98"/>
                  <a:gd name="T54" fmla="*/ 87 w 135"/>
                  <a:gd name="T55" fmla="*/ 82 h 98"/>
                  <a:gd name="T56" fmla="*/ 74 w 135"/>
                  <a:gd name="T57" fmla="*/ 91 h 98"/>
                  <a:gd name="T58" fmla="*/ 63 w 135"/>
                  <a:gd name="T59" fmla="*/ 96 h 98"/>
                  <a:gd name="T60" fmla="*/ 55 w 135"/>
                  <a:gd name="T61" fmla="*/ 98 h 98"/>
                  <a:gd name="T62" fmla="*/ 51 w 135"/>
                  <a:gd name="T63" fmla="*/ 97 h 98"/>
                  <a:gd name="T64" fmla="*/ 43 w 135"/>
                  <a:gd name="T65" fmla="*/ 92 h 98"/>
                  <a:gd name="T66" fmla="*/ 32 w 135"/>
                  <a:gd name="T67" fmla="*/ 85 h 98"/>
                  <a:gd name="T68" fmla="*/ 21 w 135"/>
                  <a:gd name="T69" fmla="*/ 77 h 98"/>
                  <a:gd name="T70" fmla="*/ 11 w 135"/>
                  <a:gd name="T71" fmla="*/ 68 h 98"/>
                  <a:gd name="T72" fmla="*/ 5 w 135"/>
                  <a:gd name="T73" fmla="*/ 62 h 98"/>
                  <a:gd name="T74" fmla="*/ 1 w 135"/>
                  <a:gd name="T75" fmla="*/ 59 h 98"/>
                  <a:gd name="T76" fmla="*/ 0 w 135"/>
                  <a:gd name="T77" fmla="*/ 57 h 98"/>
                  <a:gd name="T78" fmla="*/ 0 w 135"/>
                  <a:gd name="T79" fmla="*/ 56 h 98"/>
                  <a:gd name="T80" fmla="*/ 3 w 135"/>
                  <a:gd name="T81" fmla="*/ 5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0" name="Freeform 472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6045057" y="2203833"/>
                <a:ext cx="175248" cy="84157"/>
              </a:xfrm>
              <a:custGeom>
                <a:avLst/>
                <a:gdLst>
                  <a:gd name="T0" fmla="*/ 192 w 312"/>
                  <a:gd name="T1" fmla="*/ 155 h 155"/>
                  <a:gd name="T2" fmla="*/ 194 w 312"/>
                  <a:gd name="T3" fmla="*/ 151 h 155"/>
                  <a:gd name="T4" fmla="*/ 197 w 312"/>
                  <a:gd name="T5" fmla="*/ 148 h 155"/>
                  <a:gd name="T6" fmla="*/ 200 w 312"/>
                  <a:gd name="T7" fmla="*/ 145 h 155"/>
                  <a:gd name="T8" fmla="*/ 203 w 312"/>
                  <a:gd name="T9" fmla="*/ 142 h 155"/>
                  <a:gd name="T10" fmla="*/ 211 w 312"/>
                  <a:gd name="T11" fmla="*/ 137 h 155"/>
                  <a:gd name="T12" fmla="*/ 220 w 312"/>
                  <a:gd name="T13" fmla="*/ 132 h 155"/>
                  <a:gd name="T14" fmla="*/ 238 w 312"/>
                  <a:gd name="T15" fmla="*/ 123 h 155"/>
                  <a:gd name="T16" fmla="*/ 253 w 312"/>
                  <a:gd name="T17" fmla="*/ 117 h 155"/>
                  <a:gd name="T18" fmla="*/ 255 w 312"/>
                  <a:gd name="T19" fmla="*/ 109 h 155"/>
                  <a:gd name="T20" fmla="*/ 260 w 312"/>
                  <a:gd name="T21" fmla="*/ 97 h 155"/>
                  <a:gd name="T22" fmla="*/ 264 w 312"/>
                  <a:gd name="T23" fmla="*/ 91 h 155"/>
                  <a:gd name="T24" fmla="*/ 267 w 312"/>
                  <a:gd name="T25" fmla="*/ 86 h 155"/>
                  <a:gd name="T26" fmla="*/ 269 w 312"/>
                  <a:gd name="T27" fmla="*/ 82 h 155"/>
                  <a:gd name="T28" fmla="*/ 272 w 312"/>
                  <a:gd name="T29" fmla="*/ 81 h 155"/>
                  <a:gd name="T30" fmla="*/ 312 w 312"/>
                  <a:gd name="T31" fmla="*/ 44 h 155"/>
                  <a:gd name="T32" fmla="*/ 312 w 312"/>
                  <a:gd name="T33" fmla="*/ 39 h 155"/>
                  <a:gd name="T34" fmla="*/ 310 w 312"/>
                  <a:gd name="T35" fmla="*/ 35 h 155"/>
                  <a:gd name="T36" fmla="*/ 306 w 312"/>
                  <a:gd name="T37" fmla="*/ 32 h 155"/>
                  <a:gd name="T38" fmla="*/ 302 w 312"/>
                  <a:gd name="T39" fmla="*/ 30 h 155"/>
                  <a:gd name="T40" fmla="*/ 291 w 312"/>
                  <a:gd name="T41" fmla="*/ 28 h 155"/>
                  <a:gd name="T42" fmla="*/ 280 w 312"/>
                  <a:gd name="T43" fmla="*/ 27 h 155"/>
                  <a:gd name="T44" fmla="*/ 268 w 312"/>
                  <a:gd name="T45" fmla="*/ 27 h 155"/>
                  <a:gd name="T46" fmla="*/ 259 w 312"/>
                  <a:gd name="T47" fmla="*/ 27 h 155"/>
                  <a:gd name="T48" fmla="*/ 256 w 312"/>
                  <a:gd name="T49" fmla="*/ 26 h 155"/>
                  <a:gd name="T50" fmla="*/ 253 w 312"/>
                  <a:gd name="T51" fmla="*/ 25 h 155"/>
                  <a:gd name="T52" fmla="*/ 252 w 312"/>
                  <a:gd name="T53" fmla="*/ 23 h 155"/>
                  <a:gd name="T54" fmla="*/ 253 w 312"/>
                  <a:gd name="T55" fmla="*/ 20 h 155"/>
                  <a:gd name="T56" fmla="*/ 232 w 312"/>
                  <a:gd name="T57" fmla="*/ 19 h 155"/>
                  <a:gd name="T58" fmla="*/ 216 w 312"/>
                  <a:gd name="T59" fmla="*/ 17 h 155"/>
                  <a:gd name="T60" fmla="*/ 202 w 312"/>
                  <a:gd name="T61" fmla="*/ 13 h 155"/>
                  <a:gd name="T62" fmla="*/ 189 w 312"/>
                  <a:gd name="T63" fmla="*/ 9 h 155"/>
                  <a:gd name="T64" fmla="*/ 177 w 312"/>
                  <a:gd name="T65" fmla="*/ 6 h 155"/>
                  <a:gd name="T66" fmla="*/ 163 w 312"/>
                  <a:gd name="T67" fmla="*/ 3 h 155"/>
                  <a:gd name="T68" fmla="*/ 146 w 312"/>
                  <a:gd name="T69" fmla="*/ 1 h 155"/>
                  <a:gd name="T70" fmla="*/ 126 w 312"/>
                  <a:gd name="T71" fmla="*/ 0 h 155"/>
                  <a:gd name="T72" fmla="*/ 110 w 312"/>
                  <a:gd name="T73" fmla="*/ 1 h 155"/>
                  <a:gd name="T74" fmla="*/ 74 w 312"/>
                  <a:gd name="T75" fmla="*/ 4 h 155"/>
                  <a:gd name="T76" fmla="*/ 53 w 312"/>
                  <a:gd name="T77" fmla="*/ 6 h 155"/>
                  <a:gd name="T78" fmla="*/ 34 w 312"/>
                  <a:gd name="T79" fmla="*/ 8 h 155"/>
                  <a:gd name="T80" fmla="*/ 18 w 312"/>
                  <a:gd name="T81" fmla="*/ 10 h 155"/>
                  <a:gd name="T82" fmla="*/ 7 w 312"/>
                  <a:gd name="T83" fmla="*/ 12 h 155"/>
                  <a:gd name="T84" fmla="*/ 9 w 312"/>
                  <a:gd name="T85" fmla="*/ 17 h 155"/>
                  <a:gd name="T86" fmla="*/ 11 w 312"/>
                  <a:gd name="T87" fmla="*/ 19 h 155"/>
                  <a:gd name="T88" fmla="*/ 13 w 312"/>
                  <a:gd name="T89" fmla="*/ 19 h 155"/>
                  <a:gd name="T90" fmla="*/ 15 w 312"/>
                  <a:gd name="T91" fmla="*/ 20 h 155"/>
                  <a:gd name="T92" fmla="*/ 18 w 312"/>
                  <a:gd name="T93" fmla="*/ 20 h 155"/>
                  <a:gd name="T94" fmla="*/ 19 w 312"/>
                  <a:gd name="T95" fmla="*/ 20 h 155"/>
                  <a:gd name="T96" fmla="*/ 20 w 312"/>
                  <a:gd name="T97" fmla="*/ 22 h 155"/>
                  <a:gd name="T98" fmla="*/ 20 w 312"/>
                  <a:gd name="T99" fmla="*/ 26 h 155"/>
                  <a:gd name="T100" fmla="*/ 20 w 312"/>
                  <a:gd name="T101" fmla="*/ 30 h 155"/>
                  <a:gd name="T102" fmla="*/ 19 w 312"/>
                  <a:gd name="T103" fmla="*/ 35 h 155"/>
                  <a:gd name="T104" fmla="*/ 18 w 312"/>
                  <a:gd name="T105" fmla="*/ 39 h 155"/>
                  <a:gd name="T106" fmla="*/ 15 w 312"/>
                  <a:gd name="T107" fmla="*/ 42 h 155"/>
                  <a:gd name="T108" fmla="*/ 12 w 312"/>
                  <a:gd name="T109" fmla="*/ 45 h 155"/>
                  <a:gd name="T110" fmla="*/ 9 w 312"/>
                  <a:gd name="T111" fmla="*/ 48 h 155"/>
                  <a:gd name="T112" fmla="*/ 4 w 312"/>
                  <a:gd name="T113" fmla="*/ 49 h 155"/>
                  <a:gd name="T114" fmla="*/ 0 w 312"/>
                  <a:gd name="T115" fmla="*/ 50 h 155"/>
                  <a:gd name="T116" fmla="*/ 74 w 312"/>
                  <a:gd name="T117" fmla="*/ 68 h 155"/>
                  <a:gd name="T118" fmla="*/ 87 w 312"/>
                  <a:gd name="T119" fmla="*/ 111 h 155"/>
                  <a:gd name="T120" fmla="*/ 166 w 312"/>
                  <a:gd name="T121" fmla="*/ 123 h 155"/>
                  <a:gd name="T122" fmla="*/ 192 w 312"/>
                  <a:gd name="T123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1" name="Freeform 473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5654442" y="2389613"/>
                <a:ext cx="25337" cy="60339"/>
              </a:xfrm>
              <a:custGeom>
                <a:avLst/>
                <a:gdLst>
                  <a:gd name="T0" fmla="*/ 0 w 46"/>
                  <a:gd name="T1" fmla="*/ 25 h 50"/>
                  <a:gd name="T2" fmla="*/ 2 w 46"/>
                  <a:gd name="T3" fmla="*/ 18 h 50"/>
                  <a:gd name="T4" fmla="*/ 1 w 46"/>
                  <a:gd name="T5" fmla="*/ 14 h 50"/>
                  <a:gd name="T6" fmla="*/ 2 w 46"/>
                  <a:gd name="T7" fmla="*/ 13 h 50"/>
                  <a:gd name="T8" fmla="*/ 3 w 46"/>
                  <a:gd name="T9" fmla="*/ 13 h 50"/>
                  <a:gd name="T10" fmla="*/ 6 w 46"/>
                  <a:gd name="T11" fmla="*/ 12 h 50"/>
                  <a:gd name="T12" fmla="*/ 13 w 46"/>
                  <a:gd name="T13" fmla="*/ 12 h 50"/>
                  <a:gd name="T14" fmla="*/ 46 w 46"/>
                  <a:gd name="T15" fmla="*/ 0 h 50"/>
                  <a:gd name="T16" fmla="*/ 46 w 46"/>
                  <a:gd name="T17" fmla="*/ 50 h 50"/>
                  <a:gd name="T18" fmla="*/ 40 w 46"/>
                  <a:gd name="T19" fmla="*/ 49 h 50"/>
                  <a:gd name="T20" fmla="*/ 33 w 46"/>
                  <a:gd name="T21" fmla="*/ 45 h 50"/>
                  <a:gd name="T22" fmla="*/ 25 w 46"/>
                  <a:gd name="T23" fmla="*/ 41 h 50"/>
                  <a:gd name="T24" fmla="*/ 17 w 46"/>
                  <a:gd name="T25" fmla="*/ 37 h 50"/>
                  <a:gd name="T26" fmla="*/ 5 w 46"/>
                  <a:gd name="T27" fmla="*/ 28 h 50"/>
                  <a:gd name="T28" fmla="*/ 0 w 46"/>
                  <a:gd name="T29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002B54"/>
                  </a:solidFill>
                </a:endParaRPr>
              </a:p>
            </p:txBody>
          </p:sp>
          <p:sp>
            <p:nvSpPr>
              <p:cNvPr id="892" name="Freeform 474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6581360" y="4274411"/>
                <a:ext cx="92903" cy="241356"/>
              </a:xfrm>
              <a:custGeom>
                <a:avLst/>
                <a:gdLst>
                  <a:gd name="T0" fmla="*/ 10 w 166"/>
                  <a:gd name="T1" fmla="*/ 282 h 456"/>
                  <a:gd name="T2" fmla="*/ 19 w 166"/>
                  <a:gd name="T3" fmla="*/ 290 h 456"/>
                  <a:gd name="T4" fmla="*/ 37 w 166"/>
                  <a:gd name="T5" fmla="*/ 300 h 456"/>
                  <a:gd name="T6" fmla="*/ 58 w 166"/>
                  <a:gd name="T7" fmla="*/ 306 h 456"/>
                  <a:gd name="T8" fmla="*/ 70 w 166"/>
                  <a:gd name="T9" fmla="*/ 312 h 456"/>
                  <a:gd name="T10" fmla="*/ 80 w 166"/>
                  <a:gd name="T11" fmla="*/ 320 h 456"/>
                  <a:gd name="T12" fmla="*/ 86 w 166"/>
                  <a:gd name="T13" fmla="*/ 331 h 456"/>
                  <a:gd name="T14" fmla="*/ 86 w 166"/>
                  <a:gd name="T15" fmla="*/ 347 h 456"/>
                  <a:gd name="T16" fmla="*/ 78 w 166"/>
                  <a:gd name="T17" fmla="*/ 363 h 456"/>
                  <a:gd name="T18" fmla="*/ 68 w 166"/>
                  <a:gd name="T19" fmla="*/ 375 h 456"/>
                  <a:gd name="T20" fmla="*/ 62 w 166"/>
                  <a:gd name="T21" fmla="*/ 388 h 456"/>
                  <a:gd name="T22" fmla="*/ 60 w 166"/>
                  <a:gd name="T23" fmla="*/ 400 h 456"/>
                  <a:gd name="T24" fmla="*/ 64 w 166"/>
                  <a:gd name="T25" fmla="*/ 411 h 456"/>
                  <a:gd name="T26" fmla="*/ 76 w 166"/>
                  <a:gd name="T27" fmla="*/ 424 h 456"/>
                  <a:gd name="T28" fmla="*/ 104 w 166"/>
                  <a:gd name="T29" fmla="*/ 445 h 456"/>
                  <a:gd name="T30" fmla="*/ 120 w 166"/>
                  <a:gd name="T31" fmla="*/ 443 h 456"/>
                  <a:gd name="T32" fmla="*/ 120 w 166"/>
                  <a:gd name="T33" fmla="*/ 423 h 456"/>
                  <a:gd name="T34" fmla="*/ 131 w 166"/>
                  <a:gd name="T35" fmla="*/ 413 h 456"/>
                  <a:gd name="T36" fmla="*/ 145 w 166"/>
                  <a:gd name="T37" fmla="*/ 407 h 456"/>
                  <a:gd name="T38" fmla="*/ 153 w 166"/>
                  <a:gd name="T39" fmla="*/ 402 h 456"/>
                  <a:gd name="T40" fmla="*/ 160 w 166"/>
                  <a:gd name="T41" fmla="*/ 393 h 456"/>
                  <a:gd name="T42" fmla="*/ 166 w 166"/>
                  <a:gd name="T43" fmla="*/ 375 h 456"/>
                  <a:gd name="T44" fmla="*/ 165 w 166"/>
                  <a:gd name="T45" fmla="*/ 350 h 456"/>
                  <a:gd name="T46" fmla="*/ 158 w 166"/>
                  <a:gd name="T47" fmla="*/ 328 h 456"/>
                  <a:gd name="T48" fmla="*/ 148 w 166"/>
                  <a:gd name="T49" fmla="*/ 307 h 456"/>
                  <a:gd name="T50" fmla="*/ 141 w 166"/>
                  <a:gd name="T51" fmla="*/ 284 h 456"/>
                  <a:gd name="T52" fmla="*/ 135 w 166"/>
                  <a:gd name="T53" fmla="*/ 269 h 456"/>
                  <a:gd name="T54" fmla="*/ 118 w 166"/>
                  <a:gd name="T55" fmla="*/ 251 h 456"/>
                  <a:gd name="T56" fmla="*/ 97 w 166"/>
                  <a:gd name="T57" fmla="*/ 224 h 456"/>
                  <a:gd name="T58" fmla="*/ 85 w 166"/>
                  <a:gd name="T59" fmla="*/ 206 h 456"/>
                  <a:gd name="T60" fmla="*/ 80 w 166"/>
                  <a:gd name="T61" fmla="*/ 195 h 456"/>
                  <a:gd name="T62" fmla="*/ 81 w 166"/>
                  <a:gd name="T63" fmla="*/ 177 h 456"/>
                  <a:gd name="T64" fmla="*/ 88 w 166"/>
                  <a:gd name="T65" fmla="*/ 147 h 456"/>
                  <a:gd name="T66" fmla="*/ 96 w 166"/>
                  <a:gd name="T67" fmla="*/ 129 h 456"/>
                  <a:gd name="T68" fmla="*/ 98 w 166"/>
                  <a:gd name="T69" fmla="*/ 113 h 456"/>
                  <a:gd name="T70" fmla="*/ 95 w 166"/>
                  <a:gd name="T71" fmla="*/ 82 h 456"/>
                  <a:gd name="T72" fmla="*/ 92 w 166"/>
                  <a:gd name="T73" fmla="*/ 45 h 456"/>
                  <a:gd name="T74" fmla="*/ 89 w 166"/>
                  <a:gd name="T75" fmla="*/ 18 h 456"/>
                  <a:gd name="T76" fmla="*/ 71 w 166"/>
                  <a:gd name="T77" fmla="*/ 8 h 456"/>
                  <a:gd name="T78" fmla="*/ 33 w 166"/>
                  <a:gd name="T79" fmla="*/ 4 h 456"/>
                  <a:gd name="T80" fmla="*/ 12 w 166"/>
                  <a:gd name="T81" fmla="*/ 10 h 456"/>
                  <a:gd name="T82" fmla="*/ 22 w 166"/>
                  <a:gd name="T83" fmla="*/ 25 h 456"/>
                  <a:gd name="T84" fmla="*/ 33 w 166"/>
                  <a:gd name="T85" fmla="*/ 30 h 456"/>
                  <a:gd name="T86" fmla="*/ 40 w 166"/>
                  <a:gd name="T87" fmla="*/ 44 h 456"/>
                  <a:gd name="T88" fmla="*/ 40 w 166"/>
                  <a:gd name="T89" fmla="*/ 64 h 456"/>
                  <a:gd name="T90" fmla="*/ 40 w 166"/>
                  <a:gd name="T91" fmla="*/ 78 h 456"/>
                  <a:gd name="T92" fmla="*/ 36 w 166"/>
                  <a:gd name="T93" fmla="*/ 85 h 456"/>
                  <a:gd name="T94" fmla="*/ 29 w 166"/>
                  <a:gd name="T95" fmla="*/ 95 h 456"/>
                  <a:gd name="T96" fmla="*/ 15 w 166"/>
                  <a:gd name="T97" fmla="*/ 109 h 456"/>
                  <a:gd name="T98" fmla="*/ 3 w 166"/>
                  <a:gd name="T99" fmla="*/ 122 h 456"/>
                  <a:gd name="T100" fmla="*/ 7 w 166"/>
                  <a:gd name="T101" fmla="*/ 277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3" name="Freeform 475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905702" y="2845331"/>
                <a:ext cx="19001" cy="57162"/>
              </a:xfrm>
              <a:custGeom>
                <a:avLst/>
                <a:gdLst>
                  <a:gd name="T0" fmla="*/ 27 w 27"/>
                  <a:gd name="T1" fmla="*/ 0 h 19"/>
                  <a:gd name="T2" fmla="*/ 27 w 27"/>
                  <a:gd name="T3" fmla="*/ 12 h 19"/>
                  <a:gd name="T4" fmla="*/ 27 w 27"/>
                  <a:gd name="T5" fmla="*/ 19 h 19"/>
                  <a:gd name="T6" fmla="*/ 9 w 27"/>
                  <a:gd name="T7" fmla="*/ 19 h 19"/>
                  <a:gd name="T8" fmla="*/ 0 w 27"/>
                  <a:gd name="T9" fmla="*/ 19 h 19"/>
                  <a:gd name="T10" fmla="*/ 9 w 27"/>
                  <a:gd name="T11" fmla="*/ 12 h 19"/>
                  <a:gd name="T12" fmla="*/ 27 w 27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4" name="Freeform 476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6330099" y="4466544"/>
                <a:ext cx="251261" cy="217537"/>
              </a:xfrm>
              <a:custGeom>
                <a:avLst/>
                <a:gdLst>
                  <a:gd name="T0" fmla="*/ 284 w 438"/>
                  <a:gd name="T1" fmla="*/ 8 h 406"/>
                  <a:gd name="T2" fmla="*/ 320 w 438"/>
                  <a:gd name="T3" fmla="*/ 27 h 406"/>
                  <a:gd name="T4" fmla="*/ 363 w 438"/>
                  <a:gd name="T5" fmla="*/ 47 h 406"/>
                  <a:gd name="T6" fmla="*/ 395 w 438"/>
                  <a:gd name="T7" fmla="*/ 58 h 406"/>
                  <a:gd name="T8" fmla="*/ 416 w 438"/>
                  <a:gd name="T9" fmla="*/ 61 h 406"/>
                  <a:gd name="T10" fmla="*/ 425 w 438"/>
                  <a:gd name="T11" fmla="*/ 81 h 406"/>
                  <a:gd name="T12" fmla="*/ 429 w 438"/>
                  <a:gd name="T13" fmla="*/ 120 h 406"/>
                  <a:gd name="T14" fmla="*/ 434 w 438"/>
                  <a:gd name="T15" fmla="*/ 157 h 406"/>
                  <a:gd name="T16" fmla="*/ 438 w 438"/>
                  <a:gd name="T17" fmla="*/ 195 h 406"/>
                  <a:gd name="T18" fmla="*/ 438 w 438"/>
                  <a:gd name="T19" fmla="*/ 223 h 406"/>
                  <a:gd name="T20" fmla="*/ 435 w 438"/>
                  <a:gd name="T21" fmla="*/ 237 h 406"/>
                  <a:gd name="T22" fmla="*/ 425 w 438"/>
                  <a:gd name="T23" fmla="*/ 259 h 406"/>
                  <a:gd name="T24" fmla="*/ 407 w 438"/>
                  <a:gd name="T25" fmla="*/ 287 h 406"/>
                  <a:gd name="T26" fmla="*/ 391 w 438"/>
                  <a:gd name="T27" fmla="*/ 307 h 406"/>
                  <a:gd name="T28" fmla="*/ 381 w 438"/>
                  <a:gd name="T29" fmla="*/ 320 h 406"/>
                  <a:gd name="T30" fmla="*/ 374 w 438"/>
                  <a:gd name="T31" fmla="*/ 332 h 406"/>
                  <a:gd name="T32" fmla="*/ 372 w 438"/>
                  <a:gd name="T33" fmla="*/ 352 h 406"/>
                  <a:gd name="T34" fmla="*/ 359 w 438"/>
                  <a:gd name="T35" fmla="*/ 372 h 406"/>
                  <a:gd name="T36" fmla="*/ 321 w 438"/>
                  <a:gd name="T37" fmla="*/ 401 h 406"/>
                  <a:gd name="T38" fmla="*/ 205 w 438"/>
                  <a:gd name="T39" fmla="*/ 388 h 406"/>
                  <a:gd name="T40" fmla="*/ 182 w 438"/>
                  <a:gd name="T41" fmla="*/ 379 h 406"/>
                  <a:gd name="T42" fmla="*/ 165 w 438"/>
                  <a:gd name="T43" fmla="*/ 370 h 406"/>
                  <a:gd name="T44" fmla="*/ 150 w 438"/>
                  <a:gd name="T45" fmla="*/ 359 h 406"/>
                  <a:gd name="T46" fmla="*/ 139 w 438"/>
                  <a:gd name="T47" fmla="*/ 346 h 406"/>
                  <a:gd name="T48" fmla="*/ 124 w 438"/>
                  <a:gd name="T49" fmla="*/ 322 h 406"/>
                  <a:gd name="T50" fmla="*/ 108 w 438"/>
                  <a:gd name="T51" fmla="*/ 296 h 406"/>
                  <a:gd name="T52" fmla="*/ 94 w 438"/>
                  <a:gd name="T53" fmla="*/ 279 h 406"/>
                  <a:gd name="T54" fmla="*/ 72 w 438"/>
                  <a:gd name="T55" fmla="*/ 259 h 406"/>
                  <a:gd name="T56" fmla="*/ 44 w 438"/>
                  <a:gd name="T57" fmla="*/ 234 h 406"/>
                  <a:gd name="T58" fmla="*/ 24 w 438"/>
                  <a:gd name="T59" fmla="*/ 213 h 406"/>
                  <a:gd name="T60" fmla="*/ 13 w 438"/>
                  <a:gd name="T61" fmla="*/ 195 h 406"/>
                  <a:gd name="T62" fmla="*/ 4 w 438"/>
                  <a:gd name="T63" fmla="*/ 176 h 406"/>
                  <a:gd name="T64" fmla="*/ 0 w 438"/>
                  <a:gd name="T65" fmla="*/ 154 h 406"/>
                  <a:gd name="T66" fmla="*/ 18 w 438"/>
                  <a:gd name="T67" fmla="*/ 141 h 406"/>
                  <a:gd name="T68" fmla="*/ 40 w 438"/>
                  <a:gd name="T69" fmla="*/ 141 h 406"/>
                  <a:gd name="T70" fmla="*/ 53 w 438"/>
                  <a:gd name="T71" fmla="*/ 141 h 406"/>
                  <a:gd name="T72" fmla="*/ 63 w 438"/>
                  <a:gd name="T73" fmla="*/ 138 h 406"/>
                  <a:gd name="T74" fmla="*/ 77 w 438"/>
                  <a:gd name="T75" fmla="*/ 131 h 406"/>
                  <a:gd name="T76" fmla="*/ 99 w 438"/>
                  <a:gd name="T77" fmla="*/ 108 h 406"/>
                  <a:gd name="T78" fmla="*/ 117 w 438"/>
                  <a:gd name="T79" fmla="*/ 87 h 406"/>
                  <a:gd name="T80" fmla="*/ 130 w 438"/>
                  <a:gd name="T81" fmla="*/ 80 h 406"/>
                  <a:gd name="T82" fmla="*/ 150 w 438"/>
                  <a:gd name="T83" fmla="*/ 71 h 406"/>
                  <a:gd name="T84" fmla="*/ 179 w 438"/>
                  <a:gd name="T85" fmla="*/ 60 h 406"/>
                  <a:gd name="T86" fmla="*/ 203 w 438"/>
                  <a:gd name="T87" fmla="*/ 50 h 406"/>
                  <a:gd name="T88" fmla="*/ 211 w 438"/>
                  <a:gd name="T89" fmla="*/ 43 h 406"/>
                  <a:gd name="T90" fmla="*/ 210 w 438"/>
                  <a:gd name="T91" fmla="*/ 38 h 406"/>
                  <a:gd name="T92" fmla="*/ 211 w 438"/>
                  <a:gd name="T93" fmla="*/ 30 h 406"/>
                  <a:gd name="T94" fmla="*/ 213 w 438"/>
                  <a:gd name="T95" fmla="*/ 17 h 406"/>
                  <a:gd name="T96" fmla="*/ 217 w 438"/>
                  <a:gd name="T97" fmla="*/ 12 h 406"/>
                  <a:gd name="T98" fmla="*/ 225 w 438"/>
                  <a:gd name="T99" fmla="*/ 12 h 406"/>
                  <a:gd name="T100" fmla="*/ 232 w 438"/>
                  <a:gd name="T101" fmla="*/ 9 h 406"/>
                  <a:gd name="T102" fmla="*/ 236 w 438"/>
                  <a:gd name="T103" fmla="*/ 4 h 406"/>
                  <a:gd name="T104" fmla="*/ 244 w 438"/>
                  <a:gd name="T105" fmla="*/ 2 h 406"/>
                  <a:gd name="T106" fmla="*/ 251 w 438"/>
                  <a:gd name="T107" fmla="*/ 3 h 406"/>
                  <a:gd name="T108" fmla="*/ 264 w 438"/>
                  <a:gd name="T109" fmla="*/ 1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5" name="Freeform 477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6213971" y="4242653"/>
                <a:ext cx="390614" cy="300107"/>
              </a:xfrm>
              <a:custGeom>
                <a:avLst/>
                <a:gdLst>
                  <a:gd name="T0" fmla="*/ 513 w 678"/>
                  <a:gd name="T1" fmla="*/ 8 h 574"/>
                  <a:gd name="T2" fmla="*/ 552 w 678"/>
                  <a:gd name="T3" fmla="*/ 26 h 574"/>
                  <a:gd name="T4" fmla="*/ 645 w 678"/>
                  <a:gd name="T5" fmla="*/ 63 h 574"/>
                  <a:gd name="T6" fmla="*/ 660 w 678"/>
                  <a:gd name="T7" fmla="*/ 88 h 574"/>
                  <a:gd name="T8" fmla="*/ 678 w 678"/>
                  <a:gd name="T9" fmla="*/ 94 h 574"/>
                  <a:gd name="T10" fmla="*/ 678 w 678"/>
                  <a:gd name="T11" fmla="*/ 127 h 574"/>
                  <a:gd name="T12" fmla="*/ 677 w 678"/>
                  <a:gd name="T13" fmla="*/ 144 h 574"/>
                  <a:gd name="T14" fmla="*/ 667 w 678"/>
                  <a:gd name="T15" fmla="*/ 158 h 574"/>
                  <a:gd name="T16" fmla="*/ 647 w 678"/>
                  <a:gd name="T17" fmla="*/ 178 h 574"/>
                  <a:gd name="T18" fmla="*/ 638 w 678"/>
                  <a:gd name="T19" fmla="*/ 346 h 574"/>
                  <a:gd name="T20" fmla="*/ 461 w 678"/>
                  <a:gd name="T21" fmla="*/ 388 h 574"/>
                  <a:gd name="T22" fmla="*/ 461 w 678"/>
                  <a:gd name="T23" fmla="*/ 415 h 574"/>
                  <a:gd name="T24" fmla="*/ 455 w 678"/>
                  <a:gd name="T25" fmla="*/ 435 h 574"/>
                  <a:gd name="T26" fmla="*/ 444 w 678"/>
                  <a:gd name="T27" fmla="*/ 435 h 574"/>
                  <a:gd name="T28" fmla="*/ 434 w 678"/>
                  <a:gd name="T29" fmla="*/ 440 h 574"/>
                  <a:gd name="T30" fmla="*/ 425 w 678"/>
                  <a:gd name="T31" fmla="*/ 445 h 574"/>
                  <a:gd name="T32" fmla="*/ 414 w 678"/>
                  <a:gd name="T33" fmla="*/ 447 h 574"/>
                  <a:gd name="T34" fmla="*/ 411 w 678"/>
                  <a:gd name="T35" fmla="*/ 463 h 574"/>
                  <a:gd name="T36" fmla="*/ 410 w 678"/>
                  <a:gd name="T37" fmla="*/ 474 h 574"/>
                  <a:gd name="T38" fmla="*/ 403 w 678"/>
                  <a:gd name="T39" fmla="*/ 483 h 574"/>
                  <a:gd name="T40" fmla="*/ 365 w 678"/>
                  <a:gd name="T41" fmla="*/ 498 h 574"/>
                  <a:gd name="T42" fmla="*/ 330 w 678"/>
                  <a:gd name="T43" fmla="*/ 513 h 574"/>
                  <a:gd name="T44" fmla="*/ 313 w 678"/>
                  <a:gd name="T45" fmla="*/ 525 h 574"/>
                  <a:gd name="T46" fmla="*/ 277 w 678"/>
                  <a:gd name="T47" fmla="*/ 564 h 574"/>
                  <a:gd name="T48" fmla="*/ 258 w 678"/>
                  <a:gd name="T49" fmla="*/ 573 h 574"/>
                  <a:gd name="T50" fmla="*/ 238 w 678"/>
                  <a:gd name="T51" fmla="*/ 574 h 574"/>
                  <a:gd name="T52" fmla="*/ 193 w 678"/>
                  <a:gd name="T53" fmla="*/ 574 h 574"/>
                  <a:gd name="T54" fmla="*/ 186 w 678"/>
                  <a:gd name="T55" fmla="*/ 559 h 574"/>
                  <a:gd name="T56" fmla="*/ 165 w 678"/>
                  <a:gd name="T57" fmla="*/ 547 h 574"/>
                  <a:gd name="T58" fmla="*/ 133 w 678"/>
                  <a:gd name="T59" fmla="*/ 545 h 574"/>
                  <a:gd name="T60" fmla="*/ 93 w 678"/>
                  <a:gd name="T61" fmla="*/ 556 h 574"/>
                  <a:gd name="T62" fmla="*/ 33 w 678"/>
                  <a:gd name="T63" fmla="*/ 527 h 574"/>
                  <a:gd name="T64" fmla="*/ 0 w 678"/>
                  <a:gd name="T65" fmla="*/ 285 h 574"/>
                  <a:gd name="T66" fmla="*/ 73 w 678"/>
                  <a:gd name="T67" fmla="*/ 286 h 574"/>
                  <a:gd name="T68" fmla="*/ 103 w 678"/>
                  <a:gd name="T69" fmla="*/ 282 h 574"/>
                  <a:gd name="T70" fmla="*/ 119 w 678"/>
                  <a:gd name="T71" fmla="*/ 275 h 574"/>
                  <a:gd name="T72" fmla="*/ 129 w 678"/>
                  <a:gd name="T73" fmla="*/ 256 h 574"/>
                  <a:gd name="T74" fmla="*/ 131 w 678"/>
                  <a:gd name="T75" fmla="*/ 229 h 574"/>
                  <a:gd name="T76" fmla="*/ 126 w 678"/>
                  <a:gd name="T77" fmla="*/ 185 h 574"/>
                  <a:gd name="T78" fmla="*/ 130 w 678"/>
                  <a:gd name="T79" fmla="*/ 165 h 574"/>
                  <a:gd name="T80" fmla="*/ 140 w 678"/>
                  <a:gd name="T81" fmla="*/ 171 h 574"/>
                  <a:gd name="T82" fmla="*/ 174 w 678"/>
                  <a:gd name="T83" fmla="*/ 175 h 574"/>
                  <a:gd name="T84" fmla="*/ 188 w 678"/>
                  <a:gd name="T85" fmla="*/ 186 h 574"/>
                  <a:gd name="T86" fmla="*/ 195 w 678"/>
                  <a:gd name="T87" fmla="*/ 201 h 574"/>
                  <a:gd name="T88" fmla="*/ 208 w 678"/>
                  <a:gd name="T89" fmla="*/ 210 h 574"/>
                  <a:gd name="T90" fmla="*/ 241 w 678"/>
                  <a:gd name="T91" fmla="*/ 217 h 574"/>
                  <a:gd name="T92" fmla="*/ 269 w 678"/>
                  <a:gd name="T93" fmla="*/ 214 h 574"/>
                  <a:gd name="T94" fmla="*/ 301 w 678"/>
                  <a:gd name="T95" fmla="*/ 199 h 574"/>
                  <a:gd name="T96" fmla="*/ 319 w 678"/>
                  <a:gd name="T97" fmla="*/ 196 h 574"/>
                  <a:gd name="T98" fmla="*/ 331 w 678"/>
                  <a:gd name="T99" fmla="*/ 193 h 574"/>
                  <a:gd name="T100" fmla="*/ 343 w 678"/>
                  <a:gd name="T101" fmla="*/ 190 h 574"/>
                  <a:gd name="T102" fmla="*/ 357 w 678"/>
                  <a:gd name="T103" fmla="*/ 182 h 574"/>
                  <a:gd name="T104" fmla="*/ 368 w 678"/>
                  <a:gd name="T105" fmla="*/ 168 h 574"/>
                  <a:gd name="T106" fmla="*/ 383 w 678"/>
                  <a:gd name="T107" fmla="*/ 126 h 574"/>
                  <a:gd name="T108" fmla="*/ 403 w 678"/>
                  <a:gd name="T109" fmla="*/ 47 h 574"/>
                  <a:gd name="T110" fmla="*/ 414 w 678"/>
                  <a:gd name="T111" fmla="*/ 10 h 574"/>
                  <a:gd name="T112" fmla="*/ 431 w 678"/>
                  <a:gd name="T113" fmla="*/ 6 h 574"/>
                  <a:gd name="T114" fmla="*/ 453 w 678"/>
                  <a:gd name="T115" fmla="*/ 8 h 574"/>
                  <a:gd name="T116" fmla="*/ 482 w 678"/>
                  <a:gd name="T117" fmla="*/ 1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6" name="Freeform 478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863473" y="4515767"/>
                <a:ext cx="466625" cy="381088"/>
              </a:xfrm>
              <a:custGeom>
                <a:avLst/>
                <a:gdLst>
                  <a:gd name="T0" fmla="*/ 797 w 810"/>
                  <a:gd name="T1" fmla="*/ 42 h 727"/>
                  <a:gd name="T2" fmla="*/ 766 w 810"/>
                  <a:gd name="T3" fmla="*/ 26 h 727"/>
                  <a:gd name="T4" fmla="*/ 718 w 810"/>
                  <a:gd name="T5" fmla="*/ 33 h 727"/>
                  <a:gd name="T6" fmla="*/ 634 w 810"/>
                  <a:gd name="T7" fmla="*/ 44 h 727"/>
                  <a:gd name="T8" fmla="*/ 604 w 810"/>
                  <a:gd name="T9" fmla="*/ 55 h 727"/>
                  <a:gd name="T10" fmla="*/ 280 w 810"/>
                  <a:gd name="T11" fmla="*/ 40 h 727"/>
                  <a:gd name="T12" fmla="*/ 232 w 810"/>
                  <a:gd name="T13" fmla="*/ 37 h 727"/>
                  <a:gd name="T14" fmla="*/ 172 w 810"/>
                  <a:gd name="T15" fmla="*/ 17 h 727"/>
                  <a:gd name="T16" fmla="*/ 116 w 810"/>
                  <a:gd name="T17" fmla="*/ 0 h 727"/>
                  <a:gd name="T18" fmla="*/ 83 w 810"/>
                  <a:gd name="T19" fmla="*/ 5 h 727"/>
                  <a:gd name="T20" fmla="*/ 53 w 810"/>
                  <a:gd name="T21" fmla="*/ 24 h 727"/>
                  <a:gd name="T22" fmla="*/ 0 w 810"/>
                  <a:gd name="T23" fmla="*/ 55 h 727"/>
                  <a:gd name="T24" fmla="*/ 7 w 810"/>
                  <a:gd name="T25" fmla="*/ 68 h 727"/>
                  <a:gd name="T26" fmla="*/ 26 w 810"/>
                  <a:gd name="T27" fmla="*/ 74 h 727"/>
                  <a:gd name="T28" fmla="*/ 36 w 810"/>
                  <a:gd name="T29" fmla="*/ 129 h 727"/>
                  <a:gd name="T30" fmla="*/ 60 w 810"/>
                  <a:gd name="T31" fmla="*/ 192 h 727"/>
                  <a:gd name="T32" fmla="*/ 109 w 810"/>
                  <a:gd name="T33" fmla="*/ 276 h 727"/>
                  <a:gd name="T34" fmla="*/ 133 w 810"/>
                  <a:gd name="T35" fmla="*/ 300 h 727"/>
                  <a:gd name="T36" fmla="*/ 159 w 810"/>
                  <a:gd name="T37" fmla="*/ 302 h 727"/>
                  <a:gd name="T38" fmla="*/ 159 w 810"/>
                  <a:gd name="T39" fmla="*/ 332 h 727"/>
                  <a:gd name="T40" fmla="*/ 152 w 810"/>
                  <a:gd name="T41" fmla="*/ 359 h 727"/>
                  <a:gd name="T42" fmla="*/ 146 w 810"/>
                  <a:gd name="T43" fmla="*/ 394 h 727"/>
                  <a:gd name="T44" fmla="*/ 150 w 810"/>
                  <a:gd name="T45" fmla="*/ 425 h 727"/>
                  <a:gd name="T46" fmla="*/ 173 w 810"/>
                  <a:gd name="T47" fmla="*/ 484 h 727"/>
                  <a:gd name="T48" fmla="*/ 179 w 810"/>
                  <a:gd name="T49" fmla="*/ 518 h 727"/>
                  <a:gd name="T50" fmla="*/ 187 w 810"/>
                  <a:gd name="T51" fmla="*/ 606 h 727"/>
                  <a:gd name="T52" fmla="*/ 204 w 810"/>
                  <a:gd name="T53" fmla="*/ 647 h 727"/>
                  <a:gd name="T54" fmla="*/ 231 w 810"/>
                  <a:gd name="T55" fmla="*/ 690 h 727"/>
                  <a:gd name="T56" fmla="*/ 245 w 810"/>
                  <a:gd name="T57" fmla="*/ 700 h 727"/>
                  <a:gd name="T58" fmla="*/ 259 w 810"/>
                  <a:gd name="T59" fmla="*/ 715 h 727"/>
                  <a:gd name="T60" fmla="*/ 265 w 810"/>
                  <a:gd name="T61" fmla="*/ 678 h 727"/>
                  <a:gd name="T62" fmla="*/ 308 w 810"/>
                  <a:gd name="T63" fmla="*/ 696 h 727"/>
                  <a:gd name="T64" fmla="*/ 328 w 810"/>
                  <a:gd name="T65" fmla="*/ 713 h 727"/>
                  <a:gd name="T66" fmla="*/ 372 w 810"/>
                  <a:gd name="T67" fmla="*/ 726 h 727"/>
                  <a:gd name="T68" fmla="*/ 407 w 810"/>
                  <a:gd name="T69" fmla="*/ 723 h 727"/>
                  <a:gd name="T70" fmla="*/ 429 w 810"/>
                  <a:gd name="T71" fmla="*/ 710 h 727"/>
                  <a:gd name="T72" fmla="*/ 452 w 810"/>
                  <a:gd name="T73" fmla="*/ 675 h 727"/>
                  <a:gd name="T74" fmla="*/ 463 w 810"/>
                  <a:gd name="T75" fmla="*/ 529 h 727"/>
                  <a:gd name="T76" fmla="*/ 465 w 810"/>
                  <a:gd name="T77" fmla="*/ 480 h 727"/>
                  <a:gd name="T78" fmla="*/ 471 w 810"/>
                  <a:gd name="T79" fmla="*/ 469 h 727"/>
                  <a:gd name="T80" fmla="*/ 463 w 810"/>
                  <a:gd name="T81" fmla="*/ 426 h 727"/>
                  <a:gd name="T82" fmla="*/ 469 w 810"/>
                  <a:gd name="T83" fmla="*/ 368 h 727"/>
                  <a:gd name="T84" fmla="*/ 500 w 810"/>
                  <a:gd name="T85" fmla="*/ 330 h 727"/>
                  <a:gd name="T86" fmla="*/ 525 w 810"/>
                  <a:gd name="T87" fmla="*/ 320 h 727"/>
                  <a:gd name="T88" fmla="*/ 538 w 810"/>
                  <a:gd name="T89" fmla="*/ 232 h 727"/>
                  <a:gd name="T90" fmla="*/ 551 w 810"/>
                  <a:gd name="T91" fmla="*/ 148 h 727"/>
                  <a:gd name="T92" fmla="*/ 541 w 810"/>
                  <a:gd name="T93" fmla="*/ 124 h 727"/>
                  <a:gd name="T94" fmla="*/ 531 w 810"/>
                  <a:gd name="T95" fmla="*/ 99 h 727"/>
                  <a:gd name="T96" fmla="*/ 539 w 810"/>
                  <a:gd name="T97" fmla="*/ 86 h 727"/>
                  <a:gd name="T98" fmla="*/ 617 w 810"/>
                  <a:gd name="T99" fmla="*/ 80 h 727"/>
                  <a:gd name="T100" fmla="*/ 708 w 810"/>
                  <a:gd name="T101" fmla="*/ 63 h 727"/>
                  <a:gd name="T102" fmla="*/ 803 w 810"/>
                  <a:gd name="T103" fmla="*/ 6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7" name="Freeform 479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904885" y="3445545"/>
                <a:ext cx="215366" cy="141321"/>
              </a:xfrm>
              <a:custGeom>
                <a:avLst/>
                <a:gdLst>
                  <a:gd name="T0" fmla="*/ 203 w 365"/>
                  <a:gd name="T1" fmla="*/ 250 h 271"/>
                  <a:gd name="T2" fmla="*/ 163 w 365"/>
                  <a:gd name="T3" fmla="*/ 246 h 271"/>
                  <a:gd name="T4" fmla="*/ 121 w 365"/>
                  <a:gd name="T5" fmla="*/ 247 h 271"/>
                  <a:gd name="T6" fmla="*/ 92 w 365"/>
                  <a:gd name="T7" fmla="*/ 250 h 271"/>
                  <a:gd name="T8" fmla="*/ 74 w 365"/>
                  <a:gd name="T9" fmla="*/ 255 h 271"/>
                  <a:gd name="T10" fmla="*/ 26 w 365"/>
                  <a:gd name="T11" fmla="*/ 271 h 271"/>
                  <a:gd name="T12" fmla="*/ 20 w 365"/>
                  <a:gd name="T13" fmla="*/ 270 h 271"/>
                  <a:gd name="T14" fmla="*/ 17 w 365"/>
                  <a:gd name="T15" fmla="*/ 266 h 271"/>
                  <a:gd name="T16" fmla="*/ 18 w 365"/>
                  <a:gd name="T17" fmla="*/ 254 h 271"/>
                  <a:gd name="T18" fmla="*/ 26 w 365"/>
                  <a:gd name="T19" fmla="*/ 228 h 271"/>
                  <a:gd name="T20" fmla="*/ 61 w 365"/>
                  <a:gd name="T21" fmla="*/ 226 h 271"/>
                  <a:gd name="T22" fmla="*/ 89 w 365"/>
                  <a:gd name="T23" fmla="*/ 222 h 271"/>
                  <a:gd name="T24" fmla="*/ 115 w 365"/>
                  <a:gd name="T25" fmla="*/ 218 h 271"/>
                  <a:gd name="T26" fmla="*/ 146 w 365"/>
                  <a:gd name="T27" fmla="*/ 216 h 271"/>
                  <a:gd name="T28" fmla="*/ 182 w 365"/>
                  <a:gd name="T29" fmla="*/ 218 h 271"/>
                  <a:gd name="T30" fmla="*/ 199 w 365"/>
                  <a:gd name="T31" fmla="*/ 218 h 271"/>
                  <a:gd name="T32" fmla="*/ 219 w 365"/>
                  <a:gd name="T33" fmla="*/ 216 h 271"/>
                  <a:gd name="T34" fmla="*/ 215 w 365"/>
                  <a:gd name="T35" fmla="*/ 208 h 271"/>
                  <a:gd name="T36" fmla="*/ 210 w 365"/>
                  <a:gd name="T37" fmla="*/ 201 h 271"/>
                  <a:gd name="T38" fmla="*/ 195 w 365"/>
                  <a:gd name="T39" fmla="*/ 194 h 271"/>
                  <a:gd name="T40" fmla="*/ 175 w 365"/>
                  <a:gd name="T41" fmla="*/ 191 h 271"/>
                  <a:gd name="T42" fmla="*/ 152 w 365"/>
                  <a:gd name="T43" fmla="*/ 190 h 271"/>
                  <a:gd name="T44" fmla="*/ 93 w 365"/>
                  <a:gd name="T45" fmla="*/ 192 h 271"/>
                  <a:gd name="T46" fmla="*/ 64 w 365"/>
                  <a:gd name="T47" fmla="*/ 196 h 271"/>
                  <a:gd name="T48" fmla="*/ 33 w 365"/>
                  <a:gd name="T49" fmla="*/ 203 h 271"/>
                  <a:gd name="T50" fmla="*/ 38 w 365"/>
                  <a:gd name="T51" fmla="*/ 183 h 271"/>
                  <a:gd name="T52" fmla="*/ 39 w 365"/>
                  <a:gd name="T53" fmla="*/ 172 h 271"/>
                  <a:gd name="T54" fmla="*/ 26 w 365"/>
                  <a:gd name="T55" fmla="*/ 164 h 271"/>
                  <a:gd name="T56" fmla="*/ 13 w 365"/>
                  <a:gd name="T57" fmla="*/ 160 h 271"/>
                  <a:gd name="T58" fmla="*/ 11 w 365"/>
                  <a:gd name="T59" fmla="*/ 147 h 271"/>
                  <a:gd name="T60" fmla="*/ 6 w 365"/>
                  <a:gd name="T61" fmla="*/ 143 h 271"/>
                  <a:gd name="T62" fmla="*/ 2 w 365"/>
                  <a:gd name="T63" fmla="*/ 141 h 271"/>
                  <a:gd name="T64" fmla="*/ 0 w 365"/>
                  <a:gd name="T65" fmla="*/ 135 h 271"/>
                  <a:gd name="T66" fmla="*/ 5 w 365"/>
                  <a:gd name="T67" fmla="*/ 115 h 271"/>
                  <a:gd name="T68" fmla="*/ 17 w 365"/>
                  <a:gd name="T69" fmla="*/ 92 h 271"/>
                  <a:gd name="T70" fmla="*/ 30 w 365"/>
                  <a:gd name="T71" fmla="*/ 69 h 271"/>
                  <a:gd name="T72" fmla="*/ 39 w 365"/>
                  <a:gd name="T73" fmla="*/ 49 h 271"/>
                  <a:gd name="T74" fmla="*/ 48 w 365"/>
                  <a:gd name="T75" fmla="*/ 42 h 271"/>
                  <a:gd name="T76" fmla="*/ 49 w 365"/>
                  <a:gd name="T77" fmla="*/ 48 h 271"/>
                  <a:gd name="T78" fmla="*/ 52 w 365"/>
                  <a:gd name="T79" fmla="*/ 36 h 271"/>
                  <a:gd name="T80" fmla="*/ 75 w 365"/>
                  <a:gd name="T81" fmla="*/ 31 h 271"/>
                  <a:gd name="T82" fmla="*/ 114 w 365"/>
                  <a:gd name="T83" fmla="*/ 18 h 271"/>
                  <a:gd name="T84" fmla="*/ 165 w 365"/>
                  <a:gd name="T85" fmla="*/ 0 h 271"/>
                  <a:gd name="T86" fmla="*/ 184 w 365"/>
                  <a:gd name="T87" fmla="*/ 15 h 271"/>
                  <a:gd name="T88" fmla="*/ 202 w 365"/>
                  <a:gd name="T89" fmla="*/ 24 h 271"/>
                  <a:gd name="T90" fmla="*/ 220 w 365"/>
                  <a:gd name="T91" fmla="*/ 29 h 271"/>
                  <a:gd name="T92" fmla="*/ 239 w 365"/>
                  <a:gd name="T93" fmla="*/ 30 h 271"/>
                  <a:gd name="T94" fmla="*/ 241 w 365"/>
                  <a:gd name="T95" fmla="*/ 52 h 271"/>
                  <a:gd name="T96" fmla="*/ 247 w 365"/>
                  <a:gd name="T97" fmla="*/ 69 h 271"/>
                  <a:gd name="T98" fmla="*/ 254 w 365"/>
                  <a:gd name="T99" fmla="*/ 84 h 271"/>
                  <a:gd name="T100" fmla="*/ 264 w 365"/>
                  <a:gd name="T101" fmla="*/ 95 h 271"/>
                  <a:gd name="T102" fmla="*/ 305 w 365"/>
                  <a:gd name="T103" fmla="*/ 129 h 271"/>
                  <a:gd name="T104" fmla="*/ 352 w 365"/>
                  <a:gd name="T105" fmla="*/ 234 h 271"/>
                  <a:gd name="T106" fmla="*/ 359 w 365"/>
                  <a:gd name="T107" fmla="*/ 257 h 271"/>
                  <a:gd name="T108" fmla="*/ 365 w 365"/>
                  <a:gd name="T109" fmla="*/ 271 h 271"/>
                  <a:gd name="T110" fmla="*/ 321 w 365"/>
                  <a:gd name="T111" fmla="*/ 259 h 271"/>
                  <a:gd name="T112" fmla="*/ 275 w 365"/>
                  <a:gd name="T113" fmla="*/ 252 h 271"/>
                  <a:gd name="T114" fmla="*/ 248 w 365"/>
                  <a:gd name="T115" fmla="*/ 251 h 271"/>
                  <a:gd name="T116" fmla="*/ 219 w 365"/>
                  <a:gd name="T117" fmla="*/ 252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8" name="Freeform 480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6465231" y="4007649"/>
                <a:ext cx="358943" cy="335041"/>
              </a:xfrm>
              <a:custGeom>
                <a:avLst/>
                <a:gdLst>
                  <a:gd name="T0" fmla="*/ 146 w 624"/>
                  <a:gd name="T1" fmla="*/ 12 h 640"/>
                  <a:gd name="T2" fmla="*/ 239 w 624"/>
                  <a:gd name="T3" fmla="*/ 12 h 640"/>
                  <a:gd name="T4" fmla="*/ 287 w 624"/>
                  <a:gd name="T5" fmla="*/ 5 h 640"/>
                  <a:gd name="T6" fmla="*/ 326 w 624"/>
                  <a:gd name="T7" fmla="*/ 22 h 640"/>
                  <a:gd name="T8" fmla="*/ 396 w 624"/>
                  <a:gd name="T9" fmla="*/ 66 h 640"/>
                  <a:gd name="T10" fmla="*/ 465 w 624"/>
                  <a:gd name="T11" fmla="*/ 111 h 640"/>
                  <a:gd name="T12" fmla="*/ 469 w 624"/>
                  <a:gd name="T13" fmla="*/ 131 h 640"/>
                  <a:gd name="T14" fmla="*/ 480 w 624"/>
                  <a:gd name="T15" fmla="*/ 153 h 640"/>
                  <a:gd name="T16" fmla="*/ 497 w 624"/>
                  <a:gd name="T17" fmla="*/ 170 h 640"/>
                  <a:gd name="T18" fmla="*/ 519 w 624"/>
                  <a:gd name="T19" fmla="*/ 183 h 640"/>
                  <a:gd name="T20" fmla="*/ 543 w 624"/>
                  <a:gd name="T21" fmla="*/ 190 h 640"/>
                  <a:gd name="T22" fmla="*/ 554 w 624"/>
                  <a:gd name="T23" fmla="*/ 195 h 640"/>
                  <a:gd name="T24" fmla="*/ 565 w 624"/>
                  <a:gd name="T25" fmla="*/ 205 h 640"/>
                  <a:gd name="T26" fmla="*/ 561 w 624"/>
                  <a:gd name="T27" fmla="*/ 227 h 640"/>
                  <a:gd name="T28" fmla="*/ 537 w 624"/>
                  <a:gd name="T29" fmla="*/ 252 h 640"/>
                  <a:gd name="T30" fmla="*/ 525 w 624"/>
                  <a:gd name="T31" fmla="*/ 271 h 640"/>
                  <a:gd name="T32" fmla="*/ 533 w 624"/>
                  <a:gd name="T33" fmla="*/ 287 h 640"/>
                  <a:gd name="T34" fmla="*/ 547 w 624"/>
                  <a:gd name="T35" fmla="*/ 299 h 640"/>
                  <a:gd name="T36" fmla="*/ 552 w 624"/>
                  <a:gd name="T37" fmla="*/ 425 h 640"/>
                  <a:gd name="T38" fmla="*/ 550 w 624"/>
                  <a:gd name="T39" fmla="*/ 439 h 640"/>
                  <a:gd name="T40" fmla="*/ 558 w 624"/>
                  <a:gd name="T41" fmla="*/ 462 h 640"/>
                  <a:gd name="T42" fmla="*/ 558 w 624"/>
                  <a:gd name="T43" fmla="*/ 489 h 640"/>
                  <a:gd name="T44" fmla="*/ 561 w 624"/>
                  <a:gd name="T45" fmla="*/ 515 h 640"/>
                  <a:gd name="T46" fmla="*/ 594 w 624"/>
                  <a:gd name="T47" fmla="*/ 549 h 640"/>
                  <a:gd name="T48" fmla="*/ 616 w 624"/>
                  <a:gd name="T49" fmla="*/ 579 h 640"/>
                  <a:gd name="T50" fmla="*/ 575 w 624"/>
                  <a:gd name="T51" fmla="*/ 600 h 640"/>
                  <a:gd name="T52" fmla="*/ 491 w 624"/>
                  <a:gd name="T53" fmla="*/ 631 h 640"/>
                  <a:gd name="T54" fmla="*/ 443 w 624"/>
                  <a:gd name="T55" fmla="*/ 638 h 640"/>
                  <a:gd name="T56" fmla="*/ 392 w 624"/>
                  <a:gd name="T57" fmla="*/ 628 h 640"/>
                  <a:gd name="T58" fmla="*/ 339 w 624"/>
                  <a:gd name="T59" fmla="*/ 633 h 640"/>
                  <a:gd name="T60" fmla="*/ 306 w 624"/>
                  <a:gd name="T61" fmla="*/ 628 h 640"/>
                  <a:gd name="T62" fmla="*/ 299 w 624"/>
                  <a:gd name="T63" fmla="*/ 614 h 640"/>
                  <a:gd name="T64" fmla="*/ 294 w 624"/>
                  <a:gd name="T65" fmla="*/ 573 h 640"/>
                  <a:gd name="T66" fmla="*/ 288 w 624"/>
                  <a:gd name="T67" fmla="*/ 529 h 640"/>
                  <a:gd name="T68" fmla="*/ 253 w 624"/>
                  <a:gd name="T69" fmla="*/ 517 h 640"/>
                  <a:gd name="T70" fmla="*/ 185 w 624"/>
                  <a:gd name="T71" fmla="*/ 502 h 640"/>
                  <a:gd name="T72" fmla="*/ 90 w 624"/>
                  <a:gd name="T73" fmla="*/ 459 h 640"/>
                  <a:gd name="T74" fmla="*/ 68 w 624"/>
                  <a:gd name="T75" fmla="*/ 446 h 640"/>
                  <a:gd name="T76" fmla="*/ 66 w 624"/>
                  <a:gd name="T77" fmla="*/ 428 h 640"/>
                  <a:gd name="T78" fmla="*/ 65 w 624"/>
                  <a:gd name="T79" fmla="*/ 402 h 640"/>
                  <a:gd name="T80" fmla="*/ 53 w 624"/>
                  <a:gd name="T81" fmla="*/ 377 h 640"/>
                  <a:gd name="T82" fmla="*/ 41 w 624"/>
                  <a:gd name="T83" fmla="*/ 357 h 640"/>
                  <a:gd name="T84" fmla="*/ 27 w 624"/>
                  <a:gd name="T85" fmla="*/ 347 h 640"/>
                  <a:gd name="T86" fmla="*/ 12 w 624"/>
                  <a:gd name="T87" fmla="*/ 332 h 640"/>
                  <a:gd name="T88" fmla="*/ 5 w 624"/>
                  <a:gd name="T89" fmla="*/ 308 h 640"/>
                  <a:gd name="T90" fmla="*/ 0 w 624"/>
                  <a:gd name="T91" fmla="*/ 262 h 640"/>
                  <a:gd name="T92" fmla="*/ 0 w 624"/>
                  <a:gd name="T93" fmla="*/ 234 h 640"/>
                  <a:gd name="T94" fmla="*/ 10 w 624"/>
                  <a:gd name="T95" fmla="*/ 212 h 640"/>
                  <a:gd name="T96" fmla="*/ 38 w 624"/>
                  <a:gd name="T97" fmla="*/ 195 h 640"/>
                  <a:gd name="T98" fmla="*/ 61 w 624"/>
                  <a:gd name="T99" fmla="*/ 173 h 640"/>
                  <a:gd name="T100" fmla="*/ 77 w 624"/>
                  <a:gd name="T101" fmla="*/ 77 h 640"/>
                  <a:gd name="T102" fmla="*/ 84 w 624"/>
                  <a:gd name="T103" fmla="*/ 43 h 640"/>
                  <a:gd name="T104" fmla="*/ 82 w 624"/>
                  <a:gd name="T105" fmla="*/ 8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9" name="Freeform 481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9875193" y="2521406"/>
                <a:ext cx="25337" cy="57162"/>
              </a:xfrm>
              <a:custGeom>
                <a:avLst/>
                <a:gdLst>
                  <a:gd name="T0" fmla="*/ 13 w 52"/>
                  <a:gd name="T1" fmla="*/ 50 h 50"/>
                  <a:gd name="T2" fmla="*/ 0 w 52"/>
                  <a:gd name="T3" fmla="*/ 32 h 50"/>
                  <a:gd name="T4" fmla="*/ 2 w 52"/>
                  <a:gd name="T5" fmla="*/ 25 h 50"/>
                  <a:gd name="T6" fmla="*/ 6 w 52"/>
                  <a:gd name="T7" fmla="*/ 18 h 50"/>
                  <a:gd name="T8" fmla="*/ 12 w 52"/>
                  <a:gd name="T9" fmla="*/ 13 h 50"/>
                  <a:gd name="T10" fmla="*/ 18 w 52"/>
                  <a:gd name="T11" fmla="*/ 9 h 50"/>
                  <a:gd name="T12" fmla="*/ 26 w 52"/>
                  <a:gd name="T13" fmla="*/ 5 h 50"/>
                  <a:gd name="T14" fmla="*/ 34 w 52"/>
                  <a:gd name="T15" fmla="*/ 3 h 50"/>
                  <a:gd name="T16" fmla="*/ 43 w 52"/>
                  <a:gd name="T17" fmla="*/ 1 h 50"/>
                  <a:gd name="T18" fmla="*/ 52 w 52"/>
                  <a:gd name="T19" fmla="*/ 0 h 50"/>
                  <a:gd name="T20" fmla="*/ 40 w 52"/>
                  <a:gd name="T21" fmla="*/ 11 h 50"/>
                  <a:gd name="T22" fmla="*/ 27 w 52"/>
                  <a:gd name="T23" fmla="*/ 22 h 50"/>
                  <a:gd name="T24" fmla="*/ 22 w 52"/>
                  <a:gd name="T25" fmla="*/ 30 h 50"/>
                  <a:gd name="T26" fmla="*/ 17 w 52"/>
                  <a:gd name="T27" fmla="*/ 36 h 50"/>
                  <a:gd name="T28" fmla="*/ 14 w 52"/>
                  <a:gd name="T29" fmla="*/ 43 h 50"/>
                  <a:gd name="T30" fmla="*/ 13 w 52"/>
                  <a:gd name="T3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0" name="Freeform 482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9687274" y="2522994"/>
                <a:ext cx="187918" cy="125441"/>
              </a:xfrm>
              <a:custGeom>
                <a:avLst/>
                <a:gdLst>
                  <a:gd name="T0" fmla="*/ 76 w 320"/>
                  <a:gd name="T1" fmla="*/ 231 h 234"/>
                  <a:gd name="T2" fmla="*/ 61 w 320"/>
                  <a:gd name="T3" fmla="*/ 226 h 234"/>
                  <a:gd name="T4" fmla="*/ 66 w 320"/>
                  <a:gd name="T5" fmla="*/ 222 h 234"/>
                  <a:gd name="T6" fmla="*/ 77 w 320"/>
                  <a:gd name="T7" fmla="*/ 217 h 234"/>
                  <a:gd name="T8" fmla="*/ 64 w 320"/>
                  <a:gd name="T9" fmla="*/ 204 h 234"/>
                  <a:gd name="T10" fmla="*/ 43 w 320"/>
                  <a:gd name="T11" fmla="*/ 189 h 234"/>
                  <a:gd name="T12" fmla="*/ 36 w 320"/>
                  <a:gd name="T13" fmla="*/ 179 h 234"/>
                  <a:gd name="T14" fmla="*/ 34 w 320"/>
                  <a:gd name="T15" fmla="*/ 171 h 234"/>
                  <a:gd name="T16" fmla="*/ 34 w 320"/>
                  <a:gd name="T17" fmla="*/ 164 h 234"/>
                  <a:gd name="T18" fmla="*/ 36 w 320"/>
                  <a:gd name="T19" fmla="*/ 157 h 234"/>
                  <a:gd name="T20" fmla="*/ 43 w 320"/>
                  <a:gd name="T21" fmla="*/ 149 h 234"/>
                  <a:gd name="T22" fmla="*/ 56 w 320"/>
                  <a:gd name="T23" fmla="*/ 141 h 234"/>
                  <a:gd name="T24" fmla="*/ 73 w 320"/>
                  <a:gd name="T25" fmla="*/ 137 h 234"/>
                  <a:gd name="T26" fmla="*/ 80 w 320"/>
                  <a:gd name="T27" fmla="*/ 126 h 234"/>
                  <a:gd name="T28" fmla="*/ 67 w 320"/>
                  <a:gd name="T29" fmla="*/ 111 h 234"/>
                  <a:gd name="T30" fmla="*/ 61 w 320"/>
                  <a:gd name="T31" fmla="*/ 102 h 234"/>
                  <a:gd name="T32" fmla="*/ 60 w 320"/>
                  <a:gd name="T33" fmla="*/ 86 h 234"/>
                  <a:gd name="T34" fmla="*/ 55 w 320"/>
                  <a:gd name="T35" fmla="*/ 70 h 234"/>
                  <a:gd name="T36" fmla="*/ 46 w 320"/>
                  <a:gd name="T37" fmla="*/ 46 h 234"/>
                  <a:gd name="T38" fmla="*/ 33 w 320"/>
                  <a:gd name="T39" fmla="*/ 31 h 234"/>
                  <a:gd name="T40" fmla="*/ 20 w 320"/>
                  <a:gd name="T41" fmla="*/ 25 h 234"/>
                  <a:gd name="T42" fmla="*/ 7 w 320"/>
                  <a:gd name="T43" fmla="*/ 10 h 234"/>
                  <a:gd name="T44" fmla="*/ 9 w 320"/>
                  <a:gd name="T45" fmla="*/ 0 h 234"/>
                  <a:gd name="T46" fmla="*/ 24 w 320"/>
                  <a:gd name="T47" fmla="*/ 0 h 234"/>
                  <a:gd name="T48" fmla="*/ 38 w 320"/>
                  <a:gd name="T49" fmla="*/ 3 h 234"/>
                  <a:gd name="T50" fmla="*/ 56 w 320"/>
                  <a:gd name="T51" fmla="*/ 16 h 234"/>
                  <a:gd name="T52" fmla="*/ 78 w 320"/>
                  <a:gd name="T53" fmla="*/ 35 h 234"/>
                  <a:gd name="T54" fmla="*/ 96 w 320"/>
                  <a:gd name="T55" fmla="*/ 48 h 234"/>
                  <a:gd name="T56" fmla="*/ 119 w 320"/>
                  <a:gd name="T57" fmla="*/ 58 h 234"/>
                  <a:gd name="T58" fmla="*/ 152 w 320"/>
                  <a:gd name="T59" fmla="*/ 70 h 234"/>
                  <a:gd name="T60" fmla="*/ 181 w 320"/>
                  <a:gd name="T61" fmla="*/ 79 h 234"/>
                  <a:gd name="T62" fmla="*/ 214 w 320"/>
                  <a:gd name="T63" fmla="*/ 85 h 234"/>
                  <a:gd name="T64" fmla="*/ 236 w 320"/>
                  <a:gd name="T65" fmla="*/ 77 h 234"/>
                  <a:gd name="T66" fmla="*/ 257 w 320"/>
                  <a:gd name="T67" fmla="*/ 83 h 234"/>
                  <a:gd name="T68" fmla="*/ 284 w 320"/>
                  <a:gd name="T69" fmla="*/ 107 h 234"/>
                  <a:gd name="T70" fmla="*/ 305 w 320"/>
                  <a:gd name="T71" fmla="*/ 119 h 234"/>
                  <a:gd name="T72" fmla="*/ 297 w 320"/>
                  <a:gd name="T73" fmla="*/ 133 h 234"/>
                  <a:gd name="T74" fmla="*/ 268 w 320"/>
                  <a:gd name="T75" fmla="*/ 144 h 234"/>
                  <a:gd name="T76" fmla="*/ 249 w 320"/>
                  <a:gd name="T77" fmla="*/ 148 h 234"/>
                  <a:gd name="T78" fmla="*/ 237 w 320"/>
                  <a:gd name="T79" fmla="*/ 159 h 234"/>
                  <a:gd name="T80" fmla="*/ 232 w 320"/>
                  <a:gd name="T81" fmla="*/ 176 h 234"/>
                  <a:gd name="T82" fmla="*/ 231 w 320"/>
                  <a:gd name="T83" fmla="*/ 187 h 234"/>
                  <a:gd name="T84" fmla="*/ 222 w 320"/>
                  <a:gd name="T85" fmla="*/ 192 h 234"/>
                  <a:gd name="T86" fmla="*/ 204 w 320"/>
                  <a:gd name="T87" fmla="*/ 189 h 234"/>
                  <a:gd name="T88" fmla="*/ 186 w 320"/>
                  <a:gd name="T89" fmla="*/ 181 h 234"/>
                  <a:gd name="T90" fmla="*/ 168 w 320"/>
                  <a:gd name="T91" fmla="*/ 170 h 234"/>
                  <a:gd name="T92" fmla="*/ 155 w 320"/>
                  <a:gd name="T93" fmla="*/ 164 h 234"/>
                  <a:gd name="T94" fmla="*/ 145 w 320"/>
                  <a:gd name="T95" fmla="*/ 161 h 234"/>
                  <a:gd name="T96" fmla="*/ 131 w 320"/>
                  <a:gd name="T97" fmla="*/ 162 h 234"/>
                  <a:gd name="T98" fmla="*/ 114 w 320"/>
                  <a:gd name="T99" fmla="*/ 167 h 234"/>
                  <a:gd name="T100" fmla="*/ 100 w 320"/>
                  <a:gd name="T101" fmla="*/ 173 h 234"/>
                  <a:gd name="T102" fmla="*/ 87 w 320"/>
                  <a:gd name="T103" fmla="*/ 178 h 234"/>
                  <a:gd name="T104" fmla="*/ 85 w 320"/>
                  <a:gd name="T105" fmla="*/ 183 h 234"/>
                  <a:gd name="T106" fmla="*/ 96 w 320"/>
                  <a:gd name="T107" fmla="*/ 191 h 234"/>
                  <a:gd name="T108" fmla="*/ 116 w 320"/>
                  <a:gd name="T109" fmla="*/ 200 h 234"/>
                  <a:gd name="T110" fmla="*/ 126 w 320"/>
                  <a:gd name="T111" fmla="*/ 212 h 234"/>
                  <a:gd name="T112" fmla="*/ 113 w 320"/>
                  <a:gd name="T113" fmla="*/ 224 h 234"/>
                  <a:gd name="T114" fmla="*/ 102 w 320"/>
                  <a:gd name="T115" fmla="*/ 231 h 234"/>
                  <a:gd name="T116" fmla="*/ 91 w 320"/>
                  <a:gd name="T117" fmla="*/ 23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1" name="Freeform 483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9647158" y="2877088"/>
                <a:ext cx="69677" cy="57162"/>
              </a:xfrm>
              <a:custGeom>
                <a:avLst/>
                <a:gdLst>
                  <a:gd name="T0" fmla="*/ 33 w 125"/>
                  <a:gd name="T1" fmla="*/ 19 h 93"/>
                  <a:gd name="T2" fmla="*/ 43 w 125"/>
                  <a:gd name="T3" fmla="*/ 19 h 93"/>
                  <a:gd name="T4" fmla="*/ 52 w 125"/>
                  <a:gd name="T5" fmla="*/ 19 h 93"/>
                  <a:gd name="T6" fmla="*/ 55 w 125"/>
                  <a:gd name="T7" fmla="*/ 19 h 93"/>
                  <a:gd name="T8" fmla="*/ 58 w 125"/>
                  <a:gd name="T9" fmla="*/ 17 h 93"/>
                  <a:gd name="T10" fmla="*/ 61 w 125"/>
                  <a:gd name="T11" fmla="*/ 15 h 93"/>
                  <a:gd name="T12" fmla="*/ 65 w 125"/>
                  <a:gd name="T13" fmla="*/ 11 h 93"/>
                  <a:gd name="T14" fmla="*/ 68 w 125"/>
                  <a:gd name="T15" fmla="*/ 8 h 93"/>
                  <a:gd name="T16" fmla="*/ 70 w 125"/>
                  <a:gd name="T17" fmla="*/ 5 h 93"/>
                  <a:gd name="T18" fmla="*/ 72 w 125"/>
                  <a:gd name="T19" fmla="*/ 3 h 93"/>
                  <a:gd name="T20" fmla="*/ 72 w 125"/>
                  <a:gd name="T21" fmla="*/ 0 h 93"/>
                  <a:gd name="T22" fmla="*/ 118 w 125"/>
                  <a:gd name="T23" fmla="*/ 0 h 93"/>
                  <a:gd name="T24" fmla="*/ 122 w 125"/>
                  <a:gd name="T25" fmla="*/ 15 h 93"/>
                  <a:gd name="T26" fmla="*/ 125 w 125"/>
                  <a:gd name="T27" fmla="*/ 25 h 93"/>
                  <a:gd name="T28" fmla="*/ 124 w 125"/>
                  <a:gd name="T29" fmla="*/ 29 h 93"/>
                  <a:gd name="T30" fmla="*/ 122 w 125"/>
                  <a:gd name="T31" fmla="*/ 33 h 93"/>
                  <a:gd name="T32" fmla="*/ 119 w 125"/>
                  <a:gd name="T33" fmla="*/ 35 h 93"/>
                  <a:gd name="T34" fmla="*/ 117 w 125"/>
                  <a:gd name="T35" fmla="*/ 37 h 93"/>
                  <a:gd name="T36" fmla="*/ 111 w 125"/>
                  <a:gd name="T37" fmla="*/ 40 h 93"/>
                  <a:gd name="T38" fmla="*/ 104 w 125"/>
                  <a:gd name="T39" fmla="*/ 41 h 93"/>
                  <a:gd name="T40" fmla="*/ 88 w 125"/>
                  <a:gd name="T41" fmla="*/ 41 h 93"/>
                  <a:gd name="T42" fmla="*/ 72 w 125"/>
                  <a:gd name="T43" fmla="*/ 43 h 93"/>
                  <a:gd name="T44" fmla="*/ 70 w 125"/>
                  <a:gd name="T45" fmla="*/ 47 h 93"/>
                  <a:gd name="T46" fmla="*/ 69 w 125"/>
                  <a:gd name="T47" fmla="*/ 53 h 93"/>
                  <a:gd name="T48" fmla="*/ 67 w 125"/>
                  <a:gd name="T49" fmla="*/ 61 h 93"/>
                  <a:gd name="T50" fmla="*/ 67 w 125"/>
                  <a:gd name="T51" fmla="*/ 71 h 93"/>
                  <a:gd name="T52" fmla="*/ 66 w 125"/>
                  <a:gd name="T53" fmla="*/ 86 h 93"/>
                  <a:gd name="T54" fmla="*/ 66 w 125"/>
                  <a:gd name="T55" fmla="*/ 93 h 93"/>
                  <a:gd name="T56" fmla="*/ 49 w 125"/>
                  <a:gd name="T57" fmla="*/ 85 h 93"/>
                  <a:gd name="T58" fmla="*/ 27 w 125"/>
                  <a:gd name="T59" fmla="*/ 73 h 93"/>
                  <a:gd name="T60" fmla="*/ 16 w 125"/>
                  <a:gd name="T61" fmla="*/ 65 h 93"/>
                  <a:gd name="T62" fmla="*/ 7 w 125"/>
                  <a:gd name="T63" fmla="*/ 58 h 93"/>
                  <a:gd name="T64" fmla="*/ 4 w 125"/>
                  <a:gd name="T65" fmla="*/ 54 h 93"/>
                  <a:gd name="T66" fmla="*/ 2 w 125"/>
                  <a:gd name="T67" fmla="*/ 50 h 93"/>
                  <a:gd name="T68" fmla="*/ 0 w 125"/>
                  <a:gd name="T69" fmla="*/ 47 h 93"/>
                  <a:gd name="T70" fmla="*/ 0 w 125"/>
                  <a:gd name="T71" fmla="*/ 43 h 93"/>
                  <a:gd name="T72" fmla="*/ 7 w 125"/>
                  <a:gd name="T73" fmla="*/ 43 h 93"/>
                  <a:gd name="T74" fmla="*/ 15 w 125"/>
                  <a:gd name="T75" fmla="*/ 41 h 93"/>
                  <a:gd name="T76" fmla="*/ 20 w 125"/>
                  <a:gd name="T77" fmla="*/ 39 h 93"/>
                  <a:gd name="T78" fmla="*/ 23 w 125"/>
                  <a:gd name="T79" fmla="*/ 36 h 93"/>
                  <a:gd name="T80" fmla="*/ 28 w 125"/>
                  <a:gd name="T81" fmla="*/ 28 h 93"/>
                  <a:gd name="T82" fmla="*/ 33 w 125"/>
                  <a:gd name="T83" fmla="*/ 1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2" name="Freeform 484"/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9575370" y="2891380"/>
                <a:ext cx="80234" cy="84156"/>
              </a:xfrm>
              <a:custGeom>
                <a:avLst/>
                <a:gdLst>
                  <a:gd name="T0" fmla="*/ 20 w 133"/>
                  <a:gd name="T1" fmla="*/ 12 h 154"/>
                  <a:gd name="T2" fmla="*/ 24 w 133"/>
                  <a:gd name="T3" fmla="*/ 10 h 154"/>
                  <a:gd name="T4" fmla="*/ 31 w 133"/>
                  <a:gd name="T5" fmla="*/ 6 h 154"/>
                  <a:gd name="T6" fmla="*/ 34 w 133"/>
                  <a:gd name="T7" fmla="*/ 4 h 154"/>
                  <a:gd name="T8" fmla="*/ 37 w 133"/>
                  <a:gd name="T9" fmla="*/ 2 h 154"/>
                  <a:gd name="T10" fmla="*/ 42 w 133"/>
                  <a:gd name="T11" fmla="*/ 1 h 154"/>
                  <a:gd name="T12" fmla="*/ 46 w 133"/>
                  <a:gd name="T13" fmla="*/ 0 h 154"/>
                  <a:gd name="T14" fmla="*/ 59 w 133"/>
                  <a:gd name="T15" fmla="*/ 1 h 154"/>
                  <a:gd name="T16" fmla="*/ 70 w 133"/>
                  <a:gd name="T17" fmla="*/ 4 h 154"/>
                  <a:gd name="T18" fmla="*/ 81 w 133"/>
                  <a:gd name="T19" fmla="*/ 8 h 154"/>
                  <a:gd name="T20" fmla="*/ 90 w 133"/>
                  <a:gd name="T21" fmla="*/ 14 h 154"/>
                  <a:gd name="T22" fmla="*/ 99 w 133"/>
                  <a:gd name="T23" fmla="*/ 21 h 154"/>
                  <a:gd name="T24" fmla="*/ 105 w 133"/>
                  <a:gd name="T25" fmla="*/ 30 h 154"/>
                  <a:gd name="T26" fmla="*/ 112 w 133"/>
                  <a:gd name="T27" fmla="*/ 40 h 154"/>
                  <a:gd name="T28" fmla="*/ 116 w 133"/>
                  <a:gd name="T29" fmla="*/ 50 h 154"/>
                  <a:gd name="T30" fmla="*/ 121 w 133"/>
                  <a:gd name="T31" fmla="*/ 60 h 154"/>
                  <a:gd name="T32" fmla="*/ 124 w 133"/>
                  <a:gd name="T33" fmla="*/ 71 h 154"/>
                  <a:gd name="T34" fmla="*/ 127 w 133"/>
                  <a:gd name="T35" fmla="*/ 82 h 154"/>
                  <a:gd name="T36" fmla="*/ 130 w 133"/>
                  <a:gd name="T37" fmla="*/ 94 h 154"/>
                  <a:gd name="T38" fmla="*/ 132 w 133"/>
                  <a:gd name="T39" fmla="*/ 116 h 154"/>
                  <a:gd name="T40" fmla="*/ 133 w 133"/>
                  <a:gd name="T41" fmla="*/ 135 h 154"/>
                  <a:gd name="T42" fmla="*/ 132 w 133"/>
                  <a:gd name="T43" fmla="*/ 138 h 154"/>
                  <a:gd name="T44" fmla="*/ 130 w 133"/>
                  <a:gd name="T45" fmla="*/ 141 h 154"/>
                  <a:gd name="T46" fmla="*/ 125 w 133"/>
                  <a:gd name="T47" fmla="*/ 144 h 154"/>
                  <a:gd name="T48" fmla="*/ 121 w 133"/>
                  <a:gd name="T49" fmla="*/ 147 h 154"/>
                  <a:gd name="T50" fmla="*/ 115 w 133"/>
                  <a:gd name="T51" fmla="*/ 150 h 154"/>
                  <a:gd name="T52" fmla="*/ 110 w 133"/>
                  <a:gd name="T53" fmla="*/ 153 h 154"/>
                  <a:gd name="T54" fmla="*/ 104 w 133"/>
                  <a:gd name="T55" fmla="*/ 154 h 154"/>
                  <a:gd name="T56" fmla="*/ 99 w 133"/>
                  <a:gd name="T57" fmla="*/ 154 h 154"/>
                  <a:gd name="T58" fmla="*/ 93 w 133"/>
                  <a:gd name="T59" fmla="*/ 153 h 154"/>
                  <a:gd name="T60" fmla="*/ 87 w 133"/>
                  <a:gd name="T61" fmla="*/ 149 h 154"/>
                  <a:gd name="T62" fmla="*/ 79 w 133"/>
                  <a:gd name="T63" fmla="*/ 141 h 154"/>
                  <a:gd name="T64" fmla="*/ 71 w 133"/>
                  <a:gd name="T65" fmla="*/ 134 h 154"/>
                  <a:gd name="T66" fmla="*/ 64 w 133"/>
                  <a:gd name="T67" fmla="*/ 126 h 154"/>
                  <a:gd name="T68" fmla="*/ 58 w 133"/>
                  <a:gd name="T69" fmla="*/ 118 h 154"/>
                  <a:gd name="T70" fmla="*/ 54 w 133"/>
                  <a:gd name="T71" fmla="*/ 111 h 154"/>
                  <a:gd name="T72" fmla="*/ 53 w 133"/>
                  <a:gd name="T73" fmla="*/ 105 h 154"/>
                  <a:gd name="T74" fmla="*/ 54 w 133"/>
                  <a:gd name="T75" fmla="*/ 98 h 154"/>
                  <a:gd name="T76" fmla="*/ 56 w 133"/>
                  <a:gd name="T77" fmla="*/ 83 h 154"/>
                  <a:gd name="T78" fmla="*/ 58 w 133"/>
                  <a:gd name="T79" fmla="*/ 68 h 154"/>
                  <a:gd name="T80" fmla="*/ 59 w 133"/>
                  <a:gd name="T81" fmla="*/ 62 h 154"/>
                  <a:gd name="T82" fmla="*/ 47 w 133"/>
                  <a:gd name="T83" fmla="*/ 61 h 154"/>
                  <a:gd name="T84" fmla="*/ 36 w 133"/>
                  <a:gd name="T85" fmla="*/ 59 h 154"/>
                  <a:gd name="T86" fmla="*/ 25 w 133"/>
                  <a:gd name="T87" fmla="*/ 56 h 154"/>
                  <a:gd name="T88" fmla="*/ 17 w 133"/>
                  <a:gd name="T89" fmla="*/ 52 h 154"/>
                  <a:gd name="T90" fmla="*/ 13 w 133"/>
                  <a:gd name="T91" fmla="*/ 49 h 154"/>
                  <a:gd name="T92" fmla="*/ 10 w 133"/>
                  <a:gd name="T93" fmla="*/ 46 h 154"/>
                  <a:gd name="T94" fmla="*/ 7 w 133"/>
                  <a:gd name="T95" fmla="*/ 43 h 154"/>
                  <a:gd name="T96" fmla="*/ 4 w 133"/>
                  <a:gd name="T97" fmla="*/ 39 h 154"/>
                  <a:gd name="T98" fmla="*/ 2 w 133"/>
                  <a:gd name="T99" fmla="*/ 34 h 154"/>
                  <a:gd name="T100" fmla="*/ 1 w 133"/>
                  <a:gd name="T101" fmla="*/ 29 h 154"/>
                  <a:gd name="T102" fmla="*/ 0 w 133"/>
                  <a:gd name="T103" fmla="*/ 24 h 154"/>
                  <a:gd name="T104" fmla="*/ 0 w 133"/>
                  <a:gd name="T105" fmla="*/ 18 h 154"/>
                  <a:gd name="T106" fmla="*/ 7 w 133"/>
                  <a:gd name="T107" fmla="*/ 15 h 154"/>
                  <a:gd name="T108" fmla="*/ 20 w 133"/>
                  <a:gd name="T109" fmla="*/ 1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3" name="Freeform 485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9596484" y="2653199"/>
                <a:ext cx="278710" cy="244532"/>
              </a:xfrm>
              <a:custGeom>
                <a:avLst/>
                <a:gdLst>
                  <a:gd name="T0" fmla="*/ 134 w 485"/>
                  <a:gd name="T1" fmla="*/ 351 h 468"/>
                  <a:gd name="T2" fmla="*/ 167 w 485"/>
                  <a:gd name="T3" fmla="*/ 339 h 468"/>
                  <a:gd name="T4" fmla="*/ 200 w 485"/>
                  <a:gd name="T5" fmla="*/ 339 h 468"/>
                  <a:gd name="T6" fmla="*/ 226 w 485"/>
                  <a:gd name="T7" fmla="*/ 348 h 468"/>
                  <a:gd name="T8" fmla="*/ 224 w 485"/>
                  <a:gd name="T9" fmla="*/ 327 h 468"/>
                  <a:gd name="T10" fmla="*/ 220 w 485"/>
                  <a:gd name="T11" fmla="*/ 316 h 468"/>
                  <a:gd name="T12" fmla="*/ 233 w 485"/>
                  <a:gd name="T13" fmla="*/ 303 h 468"/>
                  <a:gd name="T14" fmla="*/ 239 w 485"/>
                  <a:gd name="T15" fmla="*/ 276 h 468"/>
                  <a:gd name="T16" fmla="*/ 242 w 485"/>
                  <a:gd name="T17" fmla="*/ 246 h 468"/>
                  <a:gd name="T18" fmla="*/ 268 w 485"/>
                  <a:gd name="T19" fmla="*/ 255 h 468"/>
                  <a:gd name="T20" fmla="*/ 300 w 485"/>
                  <a:gd name="T21" fmla="*/ 238 h 468"/>
                  <a:gd name="T22" fmla="*/ 316 w 485"/>
                  <a:gd name="T23" fmla="*/ 217 h 468"/>
                  <a:gd name="T24" fmla="*/ 293 w 485"/>
                  <a:gd name="T25" fmla="*/ 194 h 468"/>
                  <a:gd name="T26" fmla="*/ 318 w 485"/>
                  <a:gd name="T27" fmla="*/ 199 h 468"/>
                  <a:gd name="T28" fmla="*/ 343 w 485"/>
                  <a:gd name="T29" fmla="*/ 202 h 468"/>
                  <a:gd name="T30" fmla="*/ 346 w 485"/>
                  <a:gd name="T31" fmla="*/ 185 h 468"/>
                  <a:gd name="T32" fmla="*/ 295 w 485"/>
                  <a:gd name="T33" fmla="*/ 96 h 468"/>
                  <a:gd name="T34" fmla="*/ 285 w 485"/>
                  <a:gd name="T35" fmla="*/ 53 h 468"/>
                  <a:gd name="T36" fmla="*/ 291 w 485"/>
                  <a:gd name="T37" fmla="*/ 19 h 468"/>
                  <a:gd name="T38" fmla="*/ 316 w 485"/>
                  <a:gd name="T39" fmla="*/ 1 h 468"/>
                  <a:gd name="T40" fmla="*/ 336 w 485"/>
                  <a:gd name="T41" fmla="*/ 18 h 468"/>
                  <a:gd name="T42" fmla="*/ 377 w 485"/>
                  <a:gd name="T43" fmla="*/ 45 h 468"/>
                  <a:gd name="T44" fmla="*/ 415 w 485"/>
                  <a:gd name="T45" fmla="*/ 72 h 468"/>
                  <a:gd name="T46" fmla="*/ 426 w 485"/>
                  <a:gd name="T47" fmla="*/ 98 h 468"/>
                  <a:gd name="T48" fmla="*/ 436 w 485"/>
                  <a:gd name="T49" fmla="*/ 137 h 468"/>
                  <a:gd name="T50" fmla="*/ 445 w 485"/>
                  <a:gd name="T51" fmla="*/ 173 h 468"/>
                  <a:gd name="T52" fmla="*/ 428 w 485"/>
                  <a:gd name="T53" fmla="*/ 179 h 468"/>
                  <a:gd name="T54" fmla="*/ 412 w 485"/>
                  <a:gd name="T55" fmla="*/ 185 h 468"/>
                  <a:gd name="T56" fmla="*/ 426 w 485"/>
                  <a:gd name="T57" fmla="*/ 199 h 468"/>
                  <a:gd name="T58" fmla="*/ 445 w 485"/>
                  <a:gd name="T59" fmla="*/ 203 h 468"/>
                  <a:gd name="T60" fmla="*/ 455 w 485"/>
                  <a:gd name="T61" fmla="*/ 262 h 468"/>
                  <a:gd name="T62" fmla="*/ 475 w 485"/>
                  <a:gd name="T63" fmla="*/ 312 h 468"/>
                  <a:gd name="T64" fmla="*/ 480 w 485"/>
                  <a:gd name="T65" fmla="*/ 381 h 468"/>
                  <a:gd name="T66" fmla="*/ 463 w 485"/>
                  <a:gd name="T67" fmla="*/ 364 h 468"/>
                  <a:gd name="T68" fmla="*/ 453 w 485"/>
                  <a:gd name="T69" fmla="*/ 356 h 468"/>
                  <a:gd name="T70" fmla="*/ 436 w 485"/>
                  <a:gd name="T71" fmla="*/ 363 h 468"/>
                  <a:gd name="T72" fmla="*/ 429 w 485"/>
                  <a:gd name="T73" fmla="*/ 399 h 468"/>
                  <a:gd name="T74" fmla="*/ 408 w 485"/>
                  <a:gd name="T75" fmla="*/ 389 h 468"/>
                  <a:gd name="T76" fmla="*/ 389 w 485"/>
                  <a:gd name="T77" fmla="*/ 382 h 468"/>
                  <a:gd name="T78" fmla="*/ 376 w 485"/>
                  <a:gd name="T79" fmla="*/ 402 h 468"/>
                  <a:gd name="T80" fmla="*/ 345 w 485"/>
                  <a:gd name="T81" fmla="*/ 413 h 468"/>
                  <a:gd name="T82" fmla="*/ 334 w 485"/>
                  <a:gd name="T83" fmla="*/ 400 h 468"/>
                  <a:gd name="T84" fmla="*/ 312 w 485"/>
                  <a:gd name="T85" fmla="*/ 395 h 468"/>
                  <a:gd name="T86" fmla="*/ 303 w 485"/>
                  <a:gd name="T87" fmla="*/ 426 h 468"/>
                  <a:gd name="T88" fmla="*/ 299 w 485"/>
                  <a:gd name="T89" fmla="*/ 450 h 468"/>
                  <a:gd name="T90" fmla="*/ 307 w 485"/>
                  <a:gd name="T91" fmla="*/ 466 h 468"/>
                  <a:gd name="T92" fmla="*/ 272 w 485"/>
                  <a:gd name="T93" fmla="*/ 468 h 468"/>
                  <a:gd name="T94" fmla="*/ 258 w 485"/>
                  <a:gd name="T95" fmla="*/ 465 h 468"/>
                  <a:gd name="T96" fmla="*/ 244 w 485"/>
                  <a:gd name="T97" fmla="*/ 440 h 468"/>
                  <a:gd name="T98" fmla="*/ 229 w 485"/>
                  <a:gd name="T99" fmla="*/ 418 h 468"/>
                  <a:gd name="T100" fmla="*/ 204 w 485"/>
                  <a:gd name="T101" fmla="*/ 406 h 468"/>
                  <a:gd name="T102" fmla="*/ 190 w 485"/>
                  <a:gd name="T103" fmla="*/ 394 h 468"/>
                  <a:gd name="T104" fmla="*/ 136 w 485"/>
                  <a:gd name="T105" fmla="*/ 417 h 468"/>
                  <a:gd name="T106" fmla="*/ 90 w 485"/>
                  <a:gd name="T107" fmla="*/ 435 h 468"/>
                  <a:gd name="T108" fmla="*/ 65 w 485"/>
                  <a:gd name="T109" fmla="*/ 459 h 468"/>
                  <a:gd name="T110" fmla="*/ 27 w 485"/>
                  <a:gd name="T111" fmla="*/ 461 h 468"/>
                  <a:gd name="T112" fmla="*/ 7 w 485"/>
                  <a:gd name="T113" fmla="*/ 438 h 468"/>
                  <a:gd name="T114" fmla="*/ 0 w 485"/>
                  <a:gd name="T115" fmla="*/ 417 h 468"/>
                  <a:gd name="T116" fmla="*/ 7 w 485"/>
                  <a:gd name="T117" fmla="*/ 413 h 468"/>
                  <a:gd name="T118" fmla="*/ 27 w 485"/>
                  <a:gd name="T119" fmla="*/ 414 h 468"/>
                  <a:gd name="T120" fmla="*/ 48 w 485"/>
                  <a:gd name="T121" fmla="*/ 405 h 468"/>
                  <a:gd name="T122" fmla="*/ 72 w 485"/>
                  <a:gd name="T123" fmla="*/ 369 h 468"/>
                  <a:gd name="T124" fmla="*/ 93 w 485"/>
                  <a:gd name="T125" fmla="*/ 35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4" name="Freeform 486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6382886" y="1543280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5" name="Freeform 487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6572915" y="1525815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6" name="Freeform 488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6621477" y="1533752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7" name="Freeform 489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330918" y="1719534"/>
                <a:ext cx="54897" cy="57162"/>
              </a:xfrm>
              <a:custGeom>
                <a:avLst/>
                <a:gdLst>
                  <a:gd name="T0" fmla="*/ 93 w 100"/>
                  <a:gd name="T1" fmla="*/ 0 h 42"/>
                  <a:gd name="T2" fmla="*/ 97 w 100"/>
                  <a:gd name="T3" fmla="*/ 7 h 42"/>
                  <a:gd name="T4" fmla="*/ 100 w 100"/>
                  <a:gd name="T5" fmla="*/ 18 h 42"/>
                  <a:gd name="T6" fmla="*/ 92 w 100"/>
                  <a:gd name="T7" fmla="*/ 24 h 42"/>
                  <a:gd name="T8" fmla="*/ 86 w 100"/>
                  <a:gd name="T9" fmla="*/ 29 h 42"/>
                  <a:gd name="T10" fmla="*/ 79 w 100"/>
                  <a:gd name="T11" fmla="*/ 34 h 42"/>
                  <a:gd name="T12" fmla="*/ 72 w 100"/>
                  <a:gd name="T13" fmla="*/ 37 h 42"/>
                  <a:gd name="T14" fmla="*/ 65 w 100"/>
                  <a:gd name="T15" fmla="*/ 39 h 42"/>
                  <a:gd name="T16" fmla="*/ 57 w 100"/>
                  <a:gd name="T17" fmla="*/ 41 h 42"/>
                  <a:gd name="T18" fmla="*/ 49 w 100"/>
                  <a:gd name="T19" fmla="*/ 42 h 42"/>
                  <a:gd name="T20" fmla="*/ 40 w 100"/>
                  <a:gd name="T21" fmla="*/ 42 h 42"/>
                  <a:gd name="T22" fmla="*/ 27 w 100"/>
                  <a:gd name="T23" fmla="*/ 41 h 42"/>
                  <a:gd name="T24" fmla="*/ 12 w 100"/>
                  <a:gd name="T25" fmla="*/ 39 h 42"/>
                  <a:gd name="T26" fmla="*/ 1 w 100"/>
                  <a:gd name="T27" fmla="*/ 37 h 42"/>
                  <a:gd name="T28" fmla="*/ 0 w 100"/>
                  <a:gd name="T29" fmla="*/ 36 h 42"/>
                  <a:gd name="T30" fmla="*/ 6 w 100"/>
                  <a:gd name="T31" fmla="*/ 36 h 42"/>
                  <a:gd name="T32" fmla="*/ 12 w 100"/>
                  <a:gd name="T33" fmla="*/ 35 h 42"/>
                  <a:gd name="T34" fmla="*/ 18 w 100"/>
                  <a:gd name="T35" fmla="*/ 33 h 42"/>
                  <a:gd name="T36" fmla="*/ 23 w 100"/>
                  <a:gd name="T37" fmla="*/ 30 h 42"/>
                  <a:gd name="T38" fmla="*/ 33 w 100"/>
                  <a:gd name="T39" fmla="*/ 25 h 42"/>
                  <a:gd name="T40" fmla="*/ 44 w 100"/>
                  <a:gd name="T41" fmla="*/ 18 h 42"/>
                  <a:gd name="T42" fmla="*/ 55 w 100"/>
                  <a:gd name="T43" fmla="*/ 11 h 42"/>
                  <a:gd name="T44" fmla="*/ 66 w 100"/>
                  <a:gd name="T45" fmla="*/ 5 h 42"/>
                  <a:gd name="T46" fmla="*/ 72 w 100"/>
                  <a:gd name="T47" fmla="*/ 3 h 42"/>
                  <a:gd name="T48" fmla="*/ 79 w 100"/>
                  <a:gd name="T49" fmla="*/ 1 h 42"/>
                  <a:gd name="T50" fmla="*/ 86 w 100"/>
                  <a:gd name="T51" fmla="*/ 0 h 42"/>
                  <a:gd name="T52" fmla="*/ 93 w 100"/>
                  <a:gd name="T5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8" name="Freeform 490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210566" y="1578213"/>
                <a:ext cx="21114" cy="58752"/>
              </a:xfrm>
              <a:custGeom>
                <a:avLst/>
                <a:gdLst>
                  <a:gd name="T0" fmla="*/ 40 w 40"/>
                  <a:gd name="T1" fmla="*/ 5 h 5"/>
                  <a:gd name="T2" fmla="*/ 0 w 40"/>
                  <a:gd name="T3" fmla="*/ 5 h 5"/>
                  <a:gd name="T4" fmla="*/ 5 w 40"/>
                  <a:gd name="T5" fmla="*/ 3 h 5"/>
                  <a:gd name="T6" fmla="*/ 9 w 40"/>
                  <a:gd name="T7" fmla="*/ 1 h 5"/>
                  <a:gd name="T8" fmla="*/ 15 w 40"/>
                  <a:gd name="T9" fmla="*/ 0 h 5"/>
                  <a:gd name="T10" fmla="*/ 20 w 40"/>
                  <a:gd name="T11" fmla="*/ 0 h 5"/>
                  <a:gd name="T12" fmla="*/ 25 w 40"/>
                  <a:gd name="T13" fmla="*/ 0 h 5"/>
                  <a:gd name="T14" fmla="*/ 30 w 40"/>
                  <a:gd name="T15" fmla="*/ 1 h 5"/>
                  <a:gd name="T16" fmla="*/ 35 w 40"/>
                  <a:gd name="T17" fmla="*/ 3 h 5"/>
                  <a:gd name="T18" fmla="*/ 40 w 40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9" name="Freeform 491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240127" y="1536929"/>
                <a:ext cx="19001" cy="60339"/>
              </a:xfrm>
              <a:custGeom>
                <a:avLst/>
                <a:gdLst>
                  <a:gd name="T0" fmla="*/ 0 w 33"/>
                  <a:gd name="T1" fmla="*/ 19 h 31"/>
                  <a:gd name="T2" fmla="*/ 20 w 33"/>
                  <a:gd name="T3" fmla="*/ 0 h 31"/>
                  <a:gd name="T4" fmla="*/ 20 w 33"/>
                  <a:gd name="T5" fmla="*/ 4 h 31"/>
                  <a:gd name="T6" fmla="*/ 22 w 33"/>
                  <a:gd name="T7" fmla="*/ 10 h 31"/>
                  <a:gd name="T8" fmla="*/ 25 w 33"/>
                  <a:gd name="T9" fmla="*/ 14 h 31"/>
                  <a:gd name="T10" fmla="*/ 27 w 33"/>
                  <a:gd name="T11" fmla="*/ 18 h 31"/>
                  <a:gd name="T12" fmla="*/ 31 w 33"/>
                  <a:gd name="T13" fmla="*/ 26 h 31"/>
                  <a:gd name="T14" fmla="*/ 33 w 33"/>
                  <a:gd name="T15" fmla="*/ 31 h 31"/>
                  <a:gd name="T16" fmla="*/ 0 w 33"/>
                  <a:gd name="T17" fmla="*/ 31 h 31"/>
                  <a:gd name="T18" fmla="*/ 0 w 33"/>
                  <a:gd name="T19" fmla="*/ 25 h 31"/>
                  <a:gd name="T20" fmla="*/ 0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0" name="Freeform 492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432266" y="1652844"/>
                <a:ext cx="23226" cy="57162"/>
              </a:xfrm>
              <a:custGeom>
                <a:avLst/>
                <a:gdLst>
                  <a:gd name="T0" fmla="*/ 41 w 41"/>
                  <a:gd name="T1" fmla="*/ 0 h 43"/>
                  <a:gd name="T2" fmla="*/ 41 w 41"/>
                  <a:gd name="T3" fmla="*/ 43 h 43"/>
                  <a:gd name="T4" fmla="*/ 31 w 41"/>
                  <a:gd name="T5" fmla="*/ 42 h 43"/>
                  <a:gd name="T6" fmla="*/ 24 w 41"/>
                  <a:gd name="T7" fmla="*/ 40 h 43"/>
                  <a:gd name="T8" fmla="*/ 18 w 41"/>
                  <a:gd name="T9" fmla="*/ 37 h 43"/>
                  <a:gd name="T10" fmla="*/ 13 w 41"/>
                  <a:gd name="T11" fmla="*/ 33 h 43"/>
                  <a:gd name="T12" fmla="*/ 5 w 41"/>
                  <a:gd name="T13" fmla="*/ 25 h 43"/>
                  <a:gd name="T14" fmla="*/ 0 w 41"/>
                  <a:gd name="T15" fmla="*/ 19 h 43"/>
                  <a:gd name="T16" fmla="*/ 12 w 41"/>
                  <a:gd name="T17" fmla="*/ 13 h 43"/>
                  <a:gd name="T18" fmla="*/ 25 w 41"/>
                  <a:gd name="T19" fmla="*/ 7 h 43"/>
                  <a:gd name="T20" fmla="*/ 36 w 41"/>
                  <a:gd name="T21" fmla="*/ 2 h 43"/>
                  <a:gd name="T22" fmla="*/ 41 w 41"/>
                  <a:gd name="T23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1" name="Freeform 493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504055" y="1536929"/>
                <a:ext cx="124575" cy="60339"/>
              </a:xfrm>
              <a:custGeom>
                <a:avLst/>
                <a:gdLst>
                  <a:gd name="T0" fmla="*/ 61 w 213"/>
                  <a:gd name="T1" fmla="*/ 0 h 62"/>
                  <a:gd name="T2" fmla="*/ 83 w 213"/>
                  <a:gd name="T3" fmla="*/ 0 h 62"/>
                  <a:gd name="T4" fmla="*/ 105 w 213"/>
                  <a:gd name="T5" fmla="*/ 1 h 62"/>
                  <a:gd name="T6" fmla="*/ 127 w 213"/>
                  <a:gd name="T7" fmla="*/ 3 h 62"/>
                  <a:gd name="T8" fmla="*/ 146 w 213"/>
                  <a:gd name="T9" fmla="*/ 7 h 62"/>
                  <a:gd name="T10" fmla="*/ 166 w 213"/>
                  <a:gd name="T11" fmla="*/ 11 h 62"/>
                  <a:gd name="T12" fmla="*/ 184 w 213"/>
                  <a:gd name="T13" fmla="*/ 16 h 62"/>
                  <a:gd name="T14" fmla="*/ 191 w 213"/>
                  <a:gd name="T15" fmla="*/ 19 h 62"/>
                  <a:gd name="T16" fmla="*/ 199 w 213"/>
                  <a:gd name="T17" fmla="*/ 23 h 62"/>
                  <a:gd name="T18" fmla="*/ 207 w 213"/>
                  <a:gd name="T19" fmla="*/ 27 h 62"/>
                  <a:gd name="T20" fmla="*/ 213 w 213"/>
                  <a:gd name="T21" fmla="*/ 31 h 62"/>
                  <a:gd name="T22" fmla="*/ 211 w 213"/>
                  <a:gd name="T23" fmla="*/ 35 h 62"/>
                  <a:gd name="T24" fmla="*/ 207 w 213"/>
                  <a:gd name="T25" fmla="*/ 38 h 62"/>
                  <a:gd name="T26" fmla="*/ 201 w 213"/>
                  <a:gd name="T27" fmla="*/ 41 h 62"/>
                  <a:gd name="T28" fmla="*/ 195 w 213"/>
                  <a:gd name="T29" fmla="*/ 44 h 62"/>
                  <a:gd name="T30" fmla="*/ 177 w 213"/>
                  <a:gd name="T31" fmla="*/ 49 h 62"/>
                  <a:gd name="T32" fmla="*/ 156 w 213"/>
                  <a:gd name="T33" fmla="*/ 53 h 62"/>
                  <a:gd name="T34" fmla="*/ 135 w 213"/>
                  <a:gd name="T35" fmla="*/ 57 h 62"/>
                  <a:gd name="T36" fmla="*/ 114 w 213"/>
                  <a:gd name="T37" fmla="*/ 59 h 62"/>
                  <a:gd name="T38" fmla="*/ 95 w 213"/>
                  <a:gd name="T39" fmla="*/ 62 h 62"/>
                  <a:gd name="T40" fmla="*/ 80 w 213"/>
                  <a:gd name="T41" fmla="*/ 62 h 62"/>
                  <a:gd name="T42" fmla="*/ 62 w 213"/>
                  <a:gd name="T43" fmla="*/ 62 h 62"/>
                  <a:gd name="T44" fmla="*/ 43 w 213"/>
                  <a:gd name="T45" fmla="*/ 59 h 62"/>
                  <a:gd name="T46" fmla="*/ 33 w 213"/>
                  <a:gd name="T47" fmla="*/ 59 h 62"/>
                  <a:gd name="T48" fmla="*/ 23 w 213"/>
                  <a:gd name="T49" fmla="*/ 59 h 62"/>
                  <a:gd name="T50" fmla="*/ 12 w 213"/>
                  <a:gd name="T51" fmla="*/ 60 h 62"/>
                  <a:gd name="T52" fmla="*/ 0 w 213"/>
                  <a:gd name="T53" fmla="*/ 62 h 62"/>
                  <a:gd name="T54" fmla="*/ 6 w 213"/>
                  <a:gd name="T55" fmla="*/ 50 h 62"/>
                  <a:gd name="T56" fmla="*/ 11 w 213"/>
                  <a:gd name="T57" fmla="*/ 39 h 62"/>
                  <a:gd name="T58" fmla="*/ 17 w 213"/>
                  <a:gd name="T59" fmla="*/ 29 h 62"/>
                  <a:gd name="T60" fmla="*/ 23 w 213"/>
                  <a:gd name="T61" fmla="*/ 20 h 62"/>
                  <a:gd name="T62" fmla="*/ 27 w 213"/>
                  <a:gd name="T63" fmla="*/ 16 h 62"/>
                  <a:gd name="T64" fmla="*/ 30 w 213"/>
                  <a:gd name="T65" fmla="*/ 12 h 62"/>
                  <a:gd name="T66" fmla="*/ 34 w 213"/>
                  <a:gd name="T67" fmla="*/ 9 h 62"/>
                  <a:gd name="T68" fmla="*/ 39 w 213"/>
                  <a:gd name="T69" fmla="*/ 6 h 62"/>
                  <a:gd name="T70" fmla="*/ 43 w 213"/>
                  <a:gd name="T71" fmla="*/ 3 h 62"/>
                  <a:gd name="T72" fmla="*/ 49 w 213"/>
                  <a:gd name="T73" fmla="*/ 1 h 62"/>
                  <a:gd name="T74" fmla="*/ 54 w 213"/>
                  <a:gd name="T75" fmla="*/ 0 h 62"/>
                  <a:gd name="T76" fmla="*/ 61 w 213"/>
                  <a:gd name="T7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2" name="Freeform 494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7584289" y="1562335"/>
                <a:ext cx="137244" cy="60339"/>
              </a:xfrm>
              <a:custGeom>
                <a:avLst/>
                <a:gdLst>
                  <a:gd name="T0" fmla="*/ 41 w 239"/>
                  <a:gd name="T1" fmla="*/ 0 h 56"/>
                  <a:gd name="T2" fmla="*/ 30 w 239"/>
                  <a:gd name="T3" fmla="*/ 3 h 56"/>
                  <a:gd name="T4" fmla="*/ 23 w 239"/>
                  <a:gd name="T5" fmla="*/ 5 h 56"/>
                  <a:gd name="T6" fmla="*/ 19 w 239"/>
                  <a:gd name="T7" fmla="*/ 7 h 56"/>
                  <a:gd name="T8" fmla="*/ 15 w 239"/>
                  <a:gd name="T9" fmla="*/ 9 h 56"/>
                  <a:gd name="T10" fmla="*/ 13 w 239"/>
                  <a:gd name="T11" fmla="*/ 13 h 56"/>
                  <a:gd name="T12" fmla="*/ 10 w 239"/>
                  <a:gd name="T13" fmla="*/ 15 h 56"/>
                  <a:gd name="T14" fmla="*/ 7 w 239"/>
                  <a:gd name="T15" fmla="*/ 17 h 56"/>
                  <a:gd name="T16" fmla="*/ 0 w 239"/>
                  <a:gd name="T17" fmla="*/ 19 h 56"/>
                  <a:gd name="T18" fmla="*/ 2 w 239"/>
                  <a:gd name="T19" fmla="*/ 24 h 56"/>
                  <a:gd name="T20" fmla="*/ 5 w 239"/>
                  <a:gd name="T21" fmla="*/ 27 h 56"/>
                  <a:gd name="T22" fmla="*/ 7 w 239"/>
                  <a:gd name="T23" fmla="*/ 30 h 56"/>
                  <a:gd name="T24" fmla="*/ 10 w 239"/>
                  <a:gd name="T25" fmla="*/ 33 h 56"/>
                  <a:gd name="T26" fmla="*/ 17 w 239"/>
                  <a:gd name="T27" fmla="*/ 36 h 56"/>
                  <a:gd name="T28" fmla="*/ 24 w 239"/>
                  <a:gd name="T29" fmla="*/ 38 h 56"/>
                  <a:gd name="T30" fmla="*/ 41 w 239"/>
                  <a:gd name="T31" fmla="*/ 38 h 56"/>
                  <a:gd name="T32" fmla="*/ 54 w 239"/>
                  <a:gd name="T33" fmla="*/ 38 h 56"/>
                  <a:gd name="T34" fmla="*/ 153 w 239"/>
                  <a:gd name="T35" fmla="*/ 38 h 56"/>
                  <a:gd name="T36" fmla="*/ 155 w 239"/>
                  <a:gd name="T37" fmla="*/ 41 h 56"/>
                  <a:gd name="T38" fmla="*/ 156 w 239"/>
                  <a:gd name="T39" fmla="*/ 44 h 56"/>
                  <a:gd name="T40" fmla="*/ 159 w 239"/>
                  <a:gd name="T41" fmla="*/ 46 h 56"/>
                  <a:gd name="T42" fmla="*/ 162 w 239"/>
                  <a:gd name="T43" fmla="*/ 48 h 56"/>
                  <a:gd name="T44" fmla="*/ 167 w 239"/>
                  <a:gd name="T45" fmla="*/ 51 h 56"/>
                  <a:gd name="T46" fmla="*/ 174 w 239"/>
                  <a:gd name="T47" fmla="*/ 54 h 56"/>
                  <a:gd name="T48" fmla="*/ 188 w 239"/>
                  <a:gd name="T49" fmla="*/ 56 h 56"/>
                  <a:gd name="T50" fmla="*/ 200 w 239"/>
                  <a:gd name="T51" fmla="*/ 56 h 56"/>
                  <a:gd name="T52" fmla="*/ 204 w 239"/>
                  <a:gd name="T53" fmla="*/ 55 h 56"/>
                  <a:gd name="T54" fmla="*/ 210 w 239"/>
                  <a:gd name="T55" fmla="*/ 54 h 56"/>
                  <a:gd name="T56" fmla="*/ 214 w 239"/>
                  <a:gd name="T57" fmla="*/ 52 h 56"/>
                  <a:gd name="T58" fmla="*/ 220 w 239"/>
                  <a:gd name="T59" fmla="*/ 49 h 56"/>
                  <a:gd name="T60" fmla="*/ 230 w 239"/>
                  <a:gd name="T61" fmla="*/ 43 h 56"/>
                  <a:gd name="T62" fmla="*/ 239 w 239"/>
                  <a:gd name="T63" fmla="*/ 38 h 56"/>
                  <a:gd name="T64" fmla="*/ 232 w 239"/>
                  <a:gd name="T65" fmla="*/ 37 h 56"/>
                  <a:gd name="T66" fmla="*/ 225 w 239"/>
                  <a:gd name="T67" fmla="*/ 36 h 56"/>
                  <a:gd name="T68" fmla="*/ 219 w 239"/>
                  <a:gd name="T69" fmla="*/ 34 h 56"/>
                  <a:gd name="T70" fmla="*/ 213 w 239"/>
                  <a:gd name="T71" fmla="*/ 32 h 56"/>
                  <a:gd name="T72" fmla="*/ 201 w 239"/>
                  <a:gd name="T73" fmla="*/ 26 h 56"/>
                  <a:gd name="T74" fmla="*/ 190 w 239"/>
                  <a:gd name="T75" fmla="*/ 19 h 56"/>
                  <a:gd name="T76" fmla="*/ 178 w 239"/>
                  <a:gd name="T77" fmla="*/ 13 h 56"/>
                  <a:gd name="T78" fmla="*/ 167 w 239"/>
                  <a:gd name="T79" fmla="*/ 6 h 56"/>
                  <a:gd name="T80" fmla="*/ 160 w 239"/>
                  <a:gd name="T81" fmla="*/ 4 h 56"/>
                  <a:gd name="T82" fmla="*/ 154 w 239"/>
                  <a:gd name="T83" fmla="*/ 2 h 56"/>
                  <a:gd name="T84" fmla="*/ 147 w 239"/>
                  <a:gd name="T85" fmla="*/ 1 h 56"/>
                  <a:gd name="T86" fmla="*/ 140 w 239"/>
                  <a:gd name="T87" fmla="*/ 0 h 56"/>
                  <a:gd name="T88" fmla="*/ 134 w 239"/>
                  <a:gd name="T89" fmla="*/ 1 h 56"/>
                  <a:gd name="T90" fmla="*/ 127 w 239"/>
                  <a:gd name="T91" fmla="*/ 4 h 56"/>
                  <a:gd name="T92" fmla="*/ 124 w 239"/>
                  <a:gd name="T93" fmla="*/ 6 h 56"/>
                  <a:gd name="T94" fmla="*/ 122 w 239"/>
                  <a:gd name="T95" fmla="*/ 8 h 56"/>
                  <a:gd name="T96" fmla="*/ 121 w 239"/>
                  <a:gd name="T97" fmla="*/ 10 h 56"/>
                  <a:gd name="T98" fmla="*/ 120 w 239"/>
                  <a:gd name="T99" fmla="*/ 13 h 56"/>
                  <a:gd name="T100" fmla="*/ 100 w 239"/>
                  <a:gd name="T101" fmla="*/ 8 h 56"/>
                  <a:gd name="T102" fmla="*/ 80 w 239"/>
                  <a:gd name="T103" fmla="*/ 4 h 56"/>
                  <a:gd name="T104" fmla="*/ 61 w 239"/>
                  <a:gd name="T105" fmla="*/ 1 h 56"/>
                  <a:gd name="T106" fmla="*/ 41 w 239"/>
                  <a:gd name="T10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3" name="Freeform 495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7740536" y="1576626"/>
                <a:ext cx="109794" cy="57162"/>
              </a:xfrm>
              <a:custGeom>
                <a:avLst/>
                <a:gdLst>
                  <a:gd name="T0" fmla="*/ 14 w 187"/>
                  <a:gd name="T1" fmla="*/ 19 h 80"/>
                  <a:gd name="T2" fmla="*/ 41 w 187"/>
                  <a:gd name="T3" fmla="*/ 0 h 80"/>
                  <a:gd name="T4" fmla="*/ 44 w 187"/>
                  <a:gd name="T5" fmla="*/ 3 h 80"/>
                  <a:gd name="T6" fmla="*/ 50 w 187"/>
                  <a:gd name="T7" fmla="*/ 6 h 80"/>
                  <a:gd name="T8" fmla="*/ 58 w 187"/>
                  <a:gd name="T9" fmla="*/ 9 h 80"/>
                  <a:gd name="T10" fmla="*/ 67 w 187"/>
                  <a:gd name="T11" fmla="*/ 12 h 80"/>
                  <a:gd name="T12" fmla="*/ 89 w 187"/>
                  <a:gd name="T13" fmla="*/ 19 h 80"/>
                  <a:gd name="T14" fmla="*/ 114 w 187"/>
                  <a:gd name="T15" fmla="*/ 26 h 80"/>
                  <a:gd name="T16" fmla="*/ 139 w 187"/>
                  <a:gd name="T17" fmla="*/ 33 h 80"/>
                  <a:gd name="T18" fmla="*/ 161 w 187"/>
                  <a:gd name="T19" fmla="*/ 38 h 80"/>
                  <a:gd name="T20" fmla="*/ 177 w 187"/>
                  <a:gd name="T21" fmla="*/ 42 h 80"/>
                  <a:gd name="T22" fmla="*/ 187 w 187"/>
                  <a:gd name="T23" fmla="*/ 43 h 80"/>
                  <a:gd name="T24" fmla="*/ 187 w 187"/>
                  <a:gd name="T25" fmla="*/ 56 h 80"/>
                  <a:gd name="T26" fmla="*/ 187 w 187"/>
                  <a:gd name="T27" fmla="*/ 68 h 80"/>
                  <a:gd name="T28" fmla="*/ 170 w 187"/>
                  <a:gd name="T29" fmla="*/ 70 h 80"/>
                  <a:gd name="T30" fmla="*/ 151 w 187"/>
                  <a:gd name="T31" fmla="*/ 71 h 80"/>
                  <a:gd name="T32" fmla="*/ 133 w 187"/>
                  <a:gd name="T33" fmla="*/ 71 h 80"/>
                  <a:gd name="T34" fmla="*/ 116 w 187"/>
                  <a:gd name="T35" fmla="*/ 70 h 80"/>
                  <a:gd name="T36" fmla="*/ 85 w 187"/>
                  <a:gd name="T37" fmla="*/ 69 h 80"/>
                  <a:gd name="T38" fmla="*/ 61 w 187"/>
                  <a:gd name="T39" fmla="*/ 68 h 80"/>
                  <a:gd name="T40" fmla="*/ 55 w 187"/>
                  <a:gd name="T41" fmla="*/ 69 h 80"/>
                  <a:gd name="T42" fmla="*/ 51 w 187"/>
                  <a:gd name="T43" fmla="*/ 70 h 80"/>
                  <a:gd name="T44" fmla="*/ 45 w 187"/>
                  <a:gd name="T45" fmla="*/ 72 h 80"/>
                  <a:gd name="T46" fmla="*/ 41 w 187"/>
                  <a:gd name="T47" fmla="*/ 74 h 80"/>
                  <a:gd name="T48" fmla="*/ 33 w 187"/>
                  <a:gd name="T49" fmla="*/ 78 h 80"/>
                  <a:gd name="T50" fmla="*/ 28 w 187"/>
                  <a:gd name="T51" fmla="*/ 80 h 80"/>
                  <a:gd name="T52" fmla="*/ 22 w 187"/>
                  <a:gd name="T53" fmla="*/ 79 h 80"/>
                  <a:gd name="T54" fmla="*/ 18 w 187"/>
                  <a:gd name="T55" fmla="*/ 76 h 80"/>
                  <a:gd name="T56" fmla="*/ 14 w 187"/>
                  <a:gd name="T57" fmla="*/ 72 h 80"/>
                  <a:gd name="T58" fmla="*/ 9 w 187"/>
                  <a:gd name="T59" fmla="*/ 67 h 80"/>
                  <a:gd name="T60" fmla="*/ 6 w 187"/>
                  <a:gd name="T61" fmla="*/ 62 h 80"/>
                  <a:gd name="T62" fmla="*/ 3 w 187"/>
                  <a:gd name="T63" fmla="*/ 57 h 80"/>
                  <a:gd name="T64" fmla="*/ 2 w 187"/>
                  <a:gd name="T65" fmla="*/ 53 h 80"/>
                  <a:gd name="T66" fmla="*/ 0 w 187"/>
                  <a:gd name="T67" fmla="*/ 50 h 80"/>
                  <a:gd name="T68" fmla="*/ 2 w 187"/>
                  <a:gd name="T69" fmla="*/ 44 h 80"/>
                  <a:gd name="T70" fmla="*/ 3 w 187"/>
                  <a:gd name="T71" fmla="*/ 40 h 80"/>
                  <a:gd name="T72" fmla="*/ 5 w 187"/>
                  <a:gd name="T73" fmla="*/ 36 h 80"/>
                  <a:gd name="T74" fmla="*/ 7 w 187"/>
                  <a:gd name="T75" fmla="*/ 31 h 80"/>
                  <a:gd name="T76" fmla="*/ 13 w 187"/>
                  <a:gd name="T77" fmla="*/ 24 h 80"/>
                  <a:gd name="T78" fmla="*/ 14 w 187"/>
                  <a:gd name="T79" fmla="*/ 1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4" name="Freeform 496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8441531" y="1702067"/>
                <a:ext cx="105572" cy="58752"/>
              </a:xfrm>
              <a:custGeom>
                <a:avLst/>
                <a:gdLst>
                  <a:gd name="T0" fmla="*/ 50 w 183"/>
                  <a:gd name="T1" fmla="*/ 0 h 73"/>
                  <a:gd name="T2" fmla="*/ 63 w 183"/>
                  <a:gd name="T3" fmla="*/ 0 h 73"/>
                  <a:gd name="T4" fmla="*/ 75 w 183"/>
                  <a:gd name="T5" fmla="*/ 1 h 73"/>
                  <a:gd name="T6" fmla="*/ 86 w 183"/>
                  <a:gd name="T7" fmla="*/ 4 h 73"/>
                  <a:gd name="T8" fmla="*/ 97 w 183"/>
                  <a:gd name="T9" fmla="*/ 7 h 73"/>
                  <a:gd name="T10" fmla="*/ 106 w 183"/>
                  <a:gd name="T11" fmla="*/ 10 h 73"/>
                  <a:gd name="T12" fmla="*/ 116 w 183"/>
                  <a:gd name="T13" fmla="*/ 15 h 73"/>
                  <a:gd name="T14" fmla="*/ 124 w 183"/>
                  <a:gd name="T15" fmla="*/ 19 h 73"/>
                  <a:gd name="T16" fmla="*/ 131 w 183"/>
                  <a:gd name="T17" fmla="*/ 25 h 73"/>
                  <a:gd name="T18" fmla="*/ 159 w 183"/>
                  <a:gd name="T19" fmla="*/ 49 h 73"/>
                  <a:gd name="T20" fmla="*/ 183 w 183"/>
                  <a:gd name="T21" fmla="*/ 73 h 73"/>
                  <a:gd name="T22" fmla="*/ 137 w 183"/>
                  <a:gd name="T23" fmla="*/ 73 h 73"/>
                  <a:gd name="T24" fmla="*/ 128 w 183"/>
                  <a:gd name="T25" fmla="*/ 72 h 73"/>
                  <a:gd name="T26" fmla="*/ 117 w 183"/>
                  <a:gd name="T27" fmla="*/ 70 h 73"/>
                  <a:gd name="T28" fmla="*/ 104 w 183"/>
                  <a:gd name="T29" fmla="*/ 66 h 73"/>
                  <a:gd name="T30" fmla="*/ 90 w 183"/>
                  <a:gd name="T31" fmla="*/ 62 h 73"/>
                  <a:gd name="T32" fmla="*/ 73 w 183"/>
                  <a:gd name="T33" fmla="*/ 56 h 73"/>
                  <a:gd name="T34" fmla="*/ 58 w 183"/>
                  <a:gd name="T35" fmla="*/ 50 h 73"/>
                  <a:gd name="T36" fmla="*/ 42 w 183"/>
                  <a:gd name="T37" fmla="*/ 44 h 73"/>
                  <a:gd name="T38" fmla="*/ 28 w 183"/>
                  <a:gd name="T39" fmla="*/ 37 h 73"/>
                  <a:gd name="T40" fmla="*/ 16 w 183"/>
                  <a:gd name="T41" fmla="*/ 30 h 73"/>
                  <a:gd name="T42" fmla="*/ 7 w 183"/>
                  <a:gd name="T43" fmla="*/ 23 h 73"/>
                  <a:gd name="T44" fmla="*/ 4 w 183"/>
                  <a:gd name="T45" fmla="*/ 19 h 73"/>
                  <a:gd name="T46" fmla="*/ 2 w 183"/>
                  <a:gd name="T47" fmla="*/ 16 h 73"/>
                  <a:gd name="T48" fmla="*/ 1 w 183"/>
                  <a:gd name="T49" fmla="*/ 14 h 73"/>
                  <a:gd name="T50" fmla="*/ 0 w 183"/>
                  <a:gd name="T51" fmla="*/ 11 h 73"/>
                  <a:gd name="T52" fmla="*/ 1 w 183"/>
                  <a:gd name="T53" fmla="*/ 8 h 73"/>
                  <a:gd name="T54" fmla="*/ 3 w 183"/>
                  <a:gd name="T55" fmla="*/ 6 h 73"/>
                  <a:gd name="T56" fmla="*/ 7 w 183"/>
                  <a:gd name="T57" fmla="*/ 4 h 73"/>
                  <a:gd name="T58" fmla="*/ 13 w 183"/>
                  <a:gd name="T59" fmla="*/ 3 h 73"/>
                  <a:gd name="T60" fmla="*/ 19 w 183"/>
                  <a:gd name="T61" fmla="*/ 1 h 73"/>
                  <a:gd name="T62" fmla="*/ 28 w 183"/>
                  <a:gd name="T63" fmla="*/ 0 h 73"/>
                  <a:gd name="T64" fmla="*/ 38 w 183"/>
                  <a:gd name="T65" fmla="*/ 0 h 73"/>
                  <a:gd name="T66" fmla="*/ 50 w 183"/>
                  <a:gd name="T6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5" name="Freeform 497"/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8530212" y="1719534"/>
                <a:ext cx="44341" cy="57162"/>
              </a:xfrm>
              <a:custGeom>
                <a:avLst/>
                <a:gdLst>
                  <a:gd name="T0" fmla="*/ 0 w 79"/>
                  <a:gd name="T1" fmla="*/ 6 h 42"/>
                  <a:gd name="T2" fmla="*/ 23 w 79"/>
                  <a:gd name="T3" fmla="*/ 2 h 42"/>
                  <a:gd name="T4" fmla="*/ 41 w 79"/>
                  <a:gd name="T5" fmla="*/ 1 h 42"/>
                  <a:gd name="T6" fmla="*/ 60 w 79"/>
                  <a:gd name="T7" fmla="*/ 0 h 42"/>
                  <a:gd name="T8" fmla="*/ 79 w 79"/>
                  <a:gd name="T9" fmla="*/ 0 h 42"/>
                  <a:gd name="T10" fmla="*/ 79 w 79"/>
                  <a:gd name="T11" fmla="*/ 9 h 42"/>
                  <a:gd name="T12" fmla="*/ 79 w 79"/>
                  <a:gd name="T13" fmla="*/ 18 h 42"/>
                  <a:gd name="T14" fmla="*/ 79 w 79"/>
                  <a:gd name="T15" fmla="*/ 22 h 42"/>
                  <a:gd name="T16" fmla="*/ 75 w 79"/>
                  <a:gd name="T17" fmla="*/ 27 h 42"/>
                  <a:gd name="T18" fmla="*/ 72 w 79"/>
                  <a:gd name="T19" fmla="*/ 31 h 42"/>
                  <a:gd name="T20" fmla="*/ 68 w 79"/>
                  <a:gd name="T21" fmla="*/ 35 h 42"/>
                  <a:gd name="T22" fmla="*/ 62 w 79"/>
                  <a:gd name="T23" fmla="*/ 38 h 42"/>
                  <a:gd name="T24" fmla="*/ 57 w 79"/>
                  <a:gd name="T25" fmla="*/ 40 h 42"/>
                  <a:gd name="T26" fmla="*/ 51 w 79"/>
                  <a:gd name="T27" fmla="*/ 42 h 42"/>
                  <a:gd name="T28" fmla="*/ 46 w 79"/>
                  <a:gd name="T29" fmla="*/ 42 h 42"/>
                  <a:gd name="T30" fmla="*/ 40 w 79"/>
                  <a:gd name="T31" fmla="*/ 42 h 42"/>
                  <a:gd name="T32" fmla="*/ 35 w 79"/>
                  <a:gd name="T33" fmla="*/ 41 h 42"/>
                  <a:gd name="T34" fmla="*/ 29 w 79"/>
                  <a:gd name="T35" fmla="*/ 39 h 42"/>
                  <a:gd name="T36" fmla="*/ 25 w 79"/>
                  <a:gd name="T37" fmla="*/ 37 h 42"/>
                  <a:gd name="T38" fmla="*/ 16 w 79"/>
                  <a:gd name="T39" fmla="*/ 32 h 42"/>
                  <a:gd name="T40" fmla="*/ 11 w 79"/>
                  <a:gd name="T41" fmla="*/ 26 h 42"/>
                  <a:gd name="T42" fmla="*/ 5 w 79"/>
                  <a:gd name="T43" fmla="*/ 20 h 42"/>
                  <a:gd name="T44" fmla="*/ 2 w 79"/>
                  <a:gd name="T45" fmla="*/ 14 h 42"/>
                  <a:gd name="T46" fmla="*/ 0 w 79"/>
                  <a:gd name="T47" fmla="*/ 9 h 42"/>
                  <a:gd name="T48" fmla="*/ 0 w 79"/>
                  <a:gd name="T49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6" name="Freeform 498"/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8570328" y="1730649"/>
                <a:ext cx="69677" cy="58752"/>
              </a:xfrm>
              <a:custGeom>
                <a:avLst/>
                <a:gdLst>
                  <a:gd name="T0" fmla="*/ 113 w 113"/>
                  <a:gd name="T1" fmla="*/ 39 h 52"/>
                  <a:gd name="T2" fmla="*/ 112 w 113"/>
                  <a:gd name="T3" fmla="*/ 42 h 52"/>
                  <a:gd name="T4" fmla="*/ 109 w 113"/>
                  <a:gd name="T5" fmla="*/ 45 h 52"/>
                  <a:gd name="T6" fmla="*/ 106 w 113"/>
                  <a:gd name="T7" fmla="*/ 47 h 52"/>
                  <a:gd name="T8" fmla="*/ 103 w 113"/>
                  <a:gd name="T9" fmla="*/ 49 h 52"/>
                  <a:gd name="T10" fmla="*/ 94 w 113"/>
                  <a:gd name="T11" fmla="*/ 51 h 52"/>
                  <a:gd name="T12" fmla="*/ 85 w 113"/>
                  <a:gd name="T13" fmla="*/ 52 h 52"/>
                  <a:gd name="T14" fmla="*/ 66 w 113"/>
                  <a:gd name="T15" fmla="*/ 52 h 52"/>
                  <a:gd name="T16" fmla="*/ 53 w 113"/>
                  <a:gd name="T17" fmla="*/ 51 h 52"/>
                  <a:gd name="T18" fmla="*/ 47 w 113"/>
                  <a:gd name="T19" fmla="*/ 51 h 52"/>
                  <a:gd name="T20" fmla="*/ 39 w 113"/>
                  <a:gd name="T21" fmla="*/ 48 h 52"/>
                  <a:gd name="T22" fmla="*/ 30 w 113"/>
                  <a:gd name="T23" fmla="*/ 45 h 52"/>
                  <a:gd name="T24" fmla="*/ 21 w 113"/>
                  <a:gd name="T25" fmla="*/ 41 h 52"/>
                  <a:gd name="T26" fmla="*/ 13 w 113"/>
                  <a:gd name="T27" fmla="*/ 36 h 52"/>
                  <a:gd name="T28" fmla="*/ 6 w 113"/>
                  <a:gd name="T29" fmla="*/ 31 h 52"/>
                  <a:gd name="T30" fmla="*/ 4 w 113"/>
                  <a:gd name="T31" fmla="*/ 28 h 52"/>
                  <a:gd name="T32" fmla="*/ 2 w 113"/>
                  <a:gd name="T33" fmla="*/ 25 h 52"/>
                  <a:gd name="T34" fmla="*/ 1 w 113"/>
                  <a:gd name="T35" fmla="*/ 22 h 52"/>
                  <a:gd name="T36" fmla="*/ 0 w 113"/>
                  <a:gd name="T37" fmla="*/ 20 h 52"/>
                  <a:gd name="T38" fmla="*/ 1 w 113"/>
                  <a:gd name="T39" fmla="*/ 15 h 52"/>
                  <a:gd name="T40" fmla="*/ 1 w 113"/>
                  <a:gd name="T41" fmla="*/ 11 h 52"/>
                  <a:gd name="T42" fmla="*/ 3 w 113"/>
                  <a:gd name="T43" fmla="*/ 8 h 52"/>
                  <a:gd name="T44" fmla="*/ 5 w 113"/>
                  <a:gd name="T45" fmla="*/ 5 h 52"/>
                  <a:gd name="T46" fmla="*/ 7 w 113"/>
                  <a:gd name="T47" fmla="*/ 3 h 52"/>
                  <a:gd name="T48" fmla="*/ 10 w 113"/>
                  <a:gd name="T49" fmla="*/ 2 h 52"/>
                  <a:gd name="T50" fmla="*/ 14 w 113"/>
                  <a:gd name="T51" fmla="*/ 1 h 52"/>
                  <a:gd name="T52" fmla="*/ 17 w 113"/>
                  <a:gd name="T53" fmla="*/ 0 h 52"/>
                  <a:gd name="T54" fmla="*/ 26 w 113"/>
                  <a:gd name="T55" fmla="*/ 0 h 52"/>
                  <a:gd name="T56" fmla="*/ 36 w 113"/>
                  <a:gd name="T57" fmla="*/ 2 h 52"/>
                  <a:gd name="T58" fmla="*/ 46 w 113"/>
                  <a:gd name="T59" fmla="*/ 5 h 52"/>
                  <a:gd name="T60" fmla="*/ 57 w 113"/>
                  <a:gd name="T61" fmla="*/ 9 h 52"/>
                  <a:gd name="T62" fmla="*/ 77 w 113"/>
                  <a:gd name="T63" fmla="*/ 18 h 52"/>
                  <a:gd name="T64" fmla="*/ 95 w 113"/>
                  <a:gd name="T65" fmla="*/ 29 h 52"/>
                  <a:gd name="T66" fmla="*/ 108 w 113"/>
                  <a:gd name="T67" fmla="*/ 36 h 52"/>
                  <a:gd name="T68" fmla="*/ 113 w 113"/>
                  <a:gd name="T69" fmla="*/ 3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7" name="Freeform 499"/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8266283" y="1703656"/>
                <a:ext cx="82345" cy="58751"/>
              </a:xfrm>
              <a:custGeom>
                <a:avLst/>
                <a:gdLst>
                  <a:gd name="T0" fmla="*/ 0 w 139"/>
                  <a:gd name="T1" fmla="*/ 8 h 40"/>
                  <a:gd name="T2" fmla="*/ 8 w 139"/>
                  <a:gd name="T3" fmla="*/ 9 h 40"/>
                  <a:gd name="T4" fmla="*/ 19 w 139"/>
                  <a:gd name="T5" fmla="*/ 8 h 40"/>
                  <a:gd name="T6" fmla="*/ 30 w 139"/>
                  <a:gd name="T7" fmla="*/ 7 h 40"/>
                  <a:gd name="T8" fmla="*/ 42 w 139"/>
                  <a:gd name="T9" fmla="*/ 5 h 40"/>
                  <a:gd name="T10" fmla="*/ 53 w 139"/>
                  <a:gd name="T11" fmla="*/ 2 h 40"/>
                  <a:gd name="T12" fmla="*/ 64 w 139"/>
                  <a:gd name="T13" fmla="*/ 1 h 40"/>
                  <a:gd name="T14" fmla="*/ 73 w 139"/>
                  <a:gd name="T15" fmla="*/ 0 h 40"/>
                  <a:gd name="T16" fmla="*/ 80 w 139"/>
                  <a:gd name="T17" fmla="*/ 2 h 40"/>
                  <a:gd name="T18" fmla="*/ 139 w 139"/>
                  <a:gd name="T19" fmla="*/ 39 h 40"/>
                  <a:gd name="T20" fmla="*/ 133 w 139"/>
                  <a:gd name="T21" fmla="*/ 40 h 40"/>
                  <a:gd name="T22" fmla="*/ 125 w 139"/>
                  <a:gd name="T23" fmla="*/ 39 h 40"/>
                  <a:gd name="T24" fmla="*/ 116 w 139"/>
                  <a:gd name="T25" fmla="*/ 38 h 40"/>
                  <a:gd name="T26" fmla="*/ 106 w 139"/>
                  <a:gd name="T27" fmla="*/ 36 h 40"/>
                  <a:gd name="T28" fmla="*/ 86 w 139"/>
                  <a:gd name="T29" fmla="*/ 30 h 40"/>
                  <a:gd name="T30" fmla="*/ 64 w 139"/>
                  <a:gd name="T31" fmla="*/ 24 h 40"/>
                  <a:gd name="T32" fmla="*/ 44 w 139"/>
                  <a:gd name="T33" fmla="*/ 16 h 40"/>
                  <a:gd name="T34" fmla="*/ 26 w 139"/>
                  <a:gd name="T35" fmla="*/ 11 h 40"/>
                  <a:gd name="T36" fmla="*/ 17 w 139"/>
                  <a:gd name="T37" fmla="*/ 9 h 40"/>
                  <a:gd name="T38" fmla="*/ 11 w 139"/>
                  <a:gd name="T39" fmla="*/ 7 h 40"/>
                  <a:gd name="T40" fmla="*/ 4 w 139"/>
                  <a:gd name="T41" fmla="*/ 7 h 40"/>
                  <a:gd name="T42" fmla="*/ 0 w 139"/>
                  <a:gd name="T4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8" name="Freeform 500"/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8665342" y="1644903"/>
                <a:ext cx="185806" cy="57162"/>
              </a:xfrm>
              <a:custGeom>
                <a:avLst/>
                <a:gdLst>
                  <a:gd name="T0" fmla="*/ 10 w 325"/>
                  <a:gd name="T1" fmla="*/ 7 h 71"/>
                  <a:gd name="T2" fmla="*/ 31 w 325"/>
                  <a:gd name="T3" fmla="*/ 1 h 71"/>
                  <a:gd name="T4" fmla="*/ 53 w 325"/>
                  <a:gd name="T5" fmla="*/ 0 h 71"/>
                  <a:gd name="T6" fmla="*/ 73 w 325"/>
                  <a:gd name="T7" fmla="*/ 4 h 71"/>
                  <a:gd name="T8" fmla="*/ 92 w 325"/>
                  <a:gd name="T9" fmla="*/ 10 h 71"/>
                  <a:gd name="T10" fmla="*/ 110 w 325"/>
                  <a:gd name="T11" fmla="*/ 18 h 71"/>
                  <a:gd name="T12" fmla="*/ 122 w 325"/>
                  <a:gd name="T13" fmla="*/ 29 h 71"/>
                  <a:gd name="T14" fmla="*/ 130 w 325"/>
                  <a:gd name="T15" fmla="*/ 38 h 71"/>
                  <a:gd name="T16" fmla="*/ 136 w 325"/>
                  <a:gd name="T17" fmla="*/ 34 h 71"/>
                  <a:gd name="T18" fmla="*/ 139 w 325"/>
                  <a:gd name="T19" fmla="*/ 15 h 71"/>
                  <a:gd name="T20" fmla="*/ 161 w 325"/>
                  <a:gd name="T21" fmla="*/ 7 h 71"/>
                  <a:gd name="T22" fmla="*/ 216 w 325"/>
                  <a:gd name="T23" fmla="*/ 13 h 71"/>
                  <a:gd name="T24" fmla="*/ 258 w 325"/>
                  <a:gd name="T25" fmla="*/ 23 h 71"/>
                  <a:gd name="T26" fmla="*/ 283 w 325"/>
                  <a:gd name="T27" fmla="*/ 32 h 71"/>
                  <a:gd name="T28" fmla="*/ 305 w 325"/>
                  <a:gd name="T29" fmla="*/ 43 h 71"/>
                  <a:gd name="T30" fmla="*/ 320 w 325"/>
                  <a:gd name="T31" fmla="*/ 55 h 71"/>
                  <a:gd name="T32" fmla="*/ 316 w 325"/>
                  <a:gd name="T33" fmla="*/ 64 h 71"/>
                  <a:gd name="T34" fmla="*/ 294 w 325"/>
                  <a:gd name="T35" fmla="*/ 68 h 71"/>
                  <a:gd name="T36" fmla="*/ 259 w 325"/>
                  <a:gd name="T37" fmla="*/ 71 h 71"/>
                  <a:gd name="T38" fmla="*/ 210 w 325"/>
                  <a:gd name="T39" fmla="*/ 70 h 71"/>
                  <a:gd name="T40" fmla="*/ 167 w 325"/>
                  <a:gd name="T41" fmla="*/ 68 h 71"/>
                  <a:gd name="T42" fmla="*/ 133 w 325"/>
                  <a:gd name="T43" fmla="*/ 69 h 71"/>
                  <a:gd name="T44" fmla="*/ 90 w 325"/>
                  <a:gd name="T45" fmla="*/ 71 h 71"/>
                  <a:gd name="T46" fmla="*/ 72 w 325"/>
                  <a:gd name="T47" fmla="*/ 68 h 71"/>
                  <a:gd name="T48" fmla="*/ 67 w 325"/>
                  <a:gd name="T49" fmla="*/ 64 h 71"/>
                  <a:gd name="T50" fmla="*/ 58 w 325"/>
                  <a:gd name="T51" fmla="*/ 61 h 71"/>
                  <a:gd name="T52" fmla="*/ 46 w 325"/>
                  <a:gd name="T53" fmla="*/ 59 h 71"/>
                  <a:gd name="T54" fmla="*/ 35 w 325"/>
                  <a:gd name="T55" fmla="*/ 53 h 71"/>
                  <a:gd name="T56" fmla="*/ 25 w 325"/>
                  <a:gd name="T57" fmla="*/ 45 h 71"/>
                  <a:gd name="T58" fmla="*/ 16 w 325"/>
                  <a:gd name="T59" fmla="*/ 39 h 71"/>
                  <a:gd name="T60" fmla="*/ 6 w 325"/>
                  <a:gd name="T61" fmla="*/ 37 h 71"/>
                  <a:gd name="T62" fmla="*/ 0 w 325"/>
                  <a:gd name="T63" fmla="*/ 2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9" name="Freeform 501"/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8878597" y="1652844"/>
                <a:ext cx="126687" cy="57162"/>
              </a:xfrm>
              <a:custGeom>
                <a:avLst/>
                <a:gdLst>
                  <a:gd name="T0" fmla="*/ 87 w 220"/>
                  <a:gd name="T1" fmla="*/ 25 h 72"/>
                  <a:gd name="T2" fmla="*/ 92 w 220"/>
                  <a:gd name="T3" fmla="*/ 26 h 72"/>
                  <a:gd name="T4" fmla="*/ 98 w 220"/>
                  <a:gd name="T5" fmla="*/ 27 h 72"/>
                  <a:gd name="T6" fmla="*/ 101 w 220"/>
                  <a:gd name="T7" fmla="*/ 28 h 72"/>
                  <a:gd name="T8" fmla="*/ 104 w 220"/>
                  <a:gd name="T9" fmla="*/ 27 h 72"/>
                  <a:gd name="T10" fmla="*/ 109 w 220"/>
                  <a:gd name="T11" fmla="*/ 27 h 72"/>
                  <a:gd name="T12" fmla="*/ 113 w 220"/>
                  <a:gd name="T13" fmla="*/ 25 h 72"/>
                  <a:gd name="T14" fmla="*/ 114 w 220"/>
                  <a:gd name="T15" fmla="*/ 26 h 72"/>
                  <a:gd name="T16" fmla="*/ 115 w 220"/>
                  <a:gd name="T17" fmla="*/ 26 h 72"/>
                  <a:gd name="T18" fmla="*/ 116 w 220"/>
                  <a:gd name="T19" fmla="*/ 25 h 72"/>
                  <a:gd name="T20" fmla="*/ 117 w 220"/>
                  <a:gd name="T21" fmla="*/ 25 h 72"/>
                  <a:gd name="T22" fmla="*/ 119 w 220"/>
                  <a:gd name="T23" fmla="*/ 22 h 72"/>
                  <a:gd name="T24" fmla="*/ 120 w 220"/>
                  <a:gd name="T25" fmla="*/ 17 h 72"/>
                  <a:gd name="T26" fmla="*/ 120 w 220"/>
                  <a:gd name="T27" fmla="*/ 7 h 72"/>
                  <a:gd name="T28" fmla="*/ 120 w 220"/>
                  <a:gd name="T29" fmla="*/ 0 h 72"/>
                  <a:gd name="T30" fmla="*/ 125 w 220"/>
                  <a:gd name="T31" fmla="*/ 5 h 72"/>
                  <a:gd name="T32" fmla="*/ 131 w 220"/>
                  <a:gd name="T33" fmla="*/ 10 h 72"/>
                  <a:gd name="T34" fmla="*/ 137 w 220"/>
                  <a:gd name="T35" fmla="*/ 15 h 72"/>
                  <a:gd name="T36" fmla="*/ 143 w 220"/>
                  <a:gd name="T37" fmla="*/ 19 h 72"/>
                  <a:gd name="T38" fmla="*/ 156 w 220"/>
                  <a:gd name="T39" fmla="*/ 25 h 72"/>
                  <a:gd name="T40" fmla="*/ 170 w 220"/>
                  <a:gd name="T41" fmla="*/ 30 h 72"/>
                  <a:gd name="T42" fmla="*/ 183 w 220"/>
                  <a:gd name="T43" fmla="*/ 35 h 72"/>
                  <a:gd name="T44" fmla="*/ 196 w 220"/>
                  <a:gd name="T45" fmla="*/ 41 h 72"/>
                  <a:gd name="T46" fmla="*/ 203 w 220"/>
                  <a:gd name="T47" fmla="*/ 44 h 72"/>
                  <a:gd name="T48" fmla="*/ 209 w 220"/>
                  <a:gd name="T49" fmla="*/ 47 h 72"/>
                  <a:gd name="T50" fmla="*/ 214 w 220"/>
                  <a:gd name="T51" fmla="*/ 51 h 72"/>
                  <a:gd name="T52" fmla="*/ 220 w 220"/>
                  <a:gd name="T53" fmla="*/ 55 h 72"/>
                  <a:gd name="T54" fmla="*/ 206 w 220"/>
                  <a:gd name="T55" fmla="*/ 56 h 72"/>
                  <a:gd name="T56" fmla="*/ 194 w 220"/>
                  <a:gd name="T57" fmla="*/ 57 h 72"/>
                  <a:gd name="T58" fmla="*/ 182 w 220"/>
                  <a:gd name="T59" fmla="*/ 58 h 72"/>
                  <a:gd name="T60" fmla="*/ 171 w 220"/>
                  <a:gd name="T61" fmla="*/ 60 h 72"/>
                  <a:gd name="T62" fmla="*/ 151 w 220"/>
                  <a:gd name="T63" fmla="*/ 65 h 72"/>
                  <a:gd name="T64" fmla="*/ 134 w 220"/>
                  <a:gd name="T65" fmla="*/ 70 h 72"/>
                  <a:gd name="T66" fmla="*/ 126 w 220"/>
                  <a:gd name="T67" fmla="*/ 71 h 72"/>
                  <a:gd name="T68" fmla="*/ 117 w 220"/>
                  <a:gd name="T69" fmla="*/ 72 h 72"/>
                  <a:gd name="T70" fmla="*/ 110 w 220"/>
                  <a:gd name="T71" fmla="*/ 72 h 72"/>
                  <a:gd name="T72" fmla="*/ 103 w 220"/>
                  <a:gd name="T73" fmla="*/ 72 h 72"/>
                  <a:gd name="T74" fmla="*/ 95 w 220"/>
                  <a:gd name="T75" fmla="*/ 70 h 72"/>
                  <a:gd name="T76" fmla="*/ 88 w 220"/>
                  <a:gd name="T77" fmla="*/ 66 h 72"/>
                  <a:gd name="T78" fmla="*/ 81 w 220"/>
                  <a:gd name="T79" fmla="*/ 61 h 72"/>
                  <a:gd name="T80" fmla="*/ 74 w 220"/>
                  <a:gd name="T81" fmla="*/ 55 h 72"/>
                  <a:gd name="T82" fmla="*/ 59 w 220"/>
                  <a:gd name="T83" fmla="*/ 53 h 72"/>
                  <a:gd name="T84" fmla="*/ 45 w 220"/>
                  <a:gd name="T85" fmla="*/ 50 h 72"/>
                  <a:gd name="T86" fmla="*/ 33 w 220"/>
                  <a:gd name="T87" fmla="*/ 47 h 72"/>
                  <a:gd name="T88" fmla="*/ 22 w 220"/>
                  <a:gd name="T89" fmla="*/ 43 h 72"/>
                  <a:gd name="T90" fmla="*/ 18 w 220"/>
                  <a:gd name="T91" fmla="*/ 41 h 72"/>
                  <a:gd name="T92" fmla="*/ 13 w 220"/>
                  <a:gd name="T93" fmla="*/ 38 h 72"/>
                  <a:gd name="T94" fmla="*/ 9 w 220"/>
                  <a:gd name="T95" fmla="*/ 35 h 72"/>
                  <a:gd name="T96" fmla="*/ 7 w 220"/>
                  <a:gd name="T97" fmla="*/ 31 h 72"/>
                  <a:gd name="T98" fmla="*/ 3 w 220"/>
                  <a:gd name="T99" fmla="*/ 27 h 72"/>
                  <a:gd name="T100" fmla="*/ 2 w 220"/>
                  <a:gd name="T101" fmla="*/ 23 h 72"/>
                  <a:gd name="T102" fmla="*/ 1 w 220"/>
                  <a:gd name="T103" fmla="*/ 18 h 72"/>
                  <a:gd name="T104" fmla="*/ 0 w 220"/>
                  <a:gd name="T105" fmla="*/ 13 h 72"/>
                  <a:gd name="T106" fmla="*/ 23 w 220"/>
                  <a:gd name="T107" fmla="*/ 17 h 72"/>
                  <a:gd name="T108" fmla="*/ 44 w 220"/>
                  <a:gd name="T109" fmla="*/ 21 h 72"/>
                  <a:gd name="T110" fmla="*/ 64 w 220"/>
                  <a:gd name="T111" fmla="*/ 24 h 72"/>
                  <a:gd name="T112" fmla="*/ 87 w 220"/>
                  <a:gd name="T113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0" name="Freeform 502"/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8825811" y="1700480"/>
                <a:ext cx="84456" cy="58751"/>
              </a:xfrm>
              <a:custGeom>
                <a:avLst/>
                <a:gdLst>
                  <a:gd name="T0" fmla="*/ 146 w 146"/>
                  <a:gd name="T1" fmla="*/ 25 h 30"/>
                  <a:gd name="T2" fmla="*/ 140 w 146"/>
                  <a:gd name="T3" fmla="*/ 16 h 30"/>
                  <a:gd name="T4" fmla="*/ 137 w 146"/>
                  <a:gd name="T5" fmla="*/ 9 h 30"/>
                  <a:gd name="T6" fmla="*/ 133 w 146"/>
                  <a:gd name="T7" fmla="*/ 4 h 30"/>
                  <a:gd name="T8" fmla="*/ 128 w 146"/>
                  <a:gd name="T9" fmla="*/ 1 h 30"/>
                  <a:gd name="T10" fmla="*/ 126 w 146"/>
                  <a:gd name="T11" fmla="*/ 1 h 30"/>
                  <a:gd name="T12" fmla="*/ 124 w 146"/>
                  <a:gd name="T13" fmla="*/ 1 h 30"/>
                  <a:gd name="T14" fmla="*/ 120 w 146"/>
                  <a:gd name="T15" fmla="*/ 2 h 30"/>
                  <a:gd name="T16" fmla="*/ 118 w 146"/>
                  <a:gd name="T17" fmla="*/ 3 h 30"/>
                  <a:gd name="T18" fmla="*/ 113 w 146"/>
                  <a:gd name="T19" fmla="*/ 9 h 30"/>
                  <a:gd name="T20" fmla="*/ 105 w 146"/>
                  <a:gd name="T21" fmla="*/ 19 h 30"/>
                  <a:gd name="T22" fmla="*/ 72 w 146"/>
                  <a:gd name="T23" fmla="*/ 19 h 30"/>
                  <a:gd name="T24" fmla="*/ 63 w 146"/>
                  <a:gd name="T25" fmla="*/ 18 h 30"/>
                  <a:gd name="T26" fmla="*/ 55 w 146"/>
                  <a:gd name="T27" fmla="*/ 17 h 30"/>
                  <a:gd name="T28" fmla="*/ 47 w 146"/>
                  <a:gd name="T29" fmla="*/ 14 h 30"/>
                  <a:gd name="T30" fmla="*/ 40 w 146"/>
                  <a:gd name="T31" fmla="*/ 12 h 30"/>
                  <a:gd name="T32" fmla="*/ 29 w 146"/>
                  <a:gd name="T33" fmla="*/ 6 h 30"/>
                  <a:gd name="T34" fmla="*/ 19 w 146"/>
                  <a:gd name="T35" fmla="*/ 0 h 30"/>
                  <a:gd name="T36" fmla="*/ 14 w 146"/>
                  <a:gd name="T37" fmla="*/ 9 h 30"/>
                  <a:gd name="T38" fmla="*/ 10 w 146"/>
                  <a:gd name="T39" fmla="*/ 15 h 30"/>
                  <a:gd name="T40" fmla="*/ 4 w 146"/>
                  <a:gd name="T41" fmla="*/ 20 h 30"/>
                  <a:gd name="T42" fmla="*/ 0 w 146"/>
                  <a:gd name="T43" fmla="*/ 25 h 30"/>
                  <a:gd name="T44" fmla="*/ 33 w 146"/>
                  <a:gd name="T45" fmla="*/ 25 h 30"/>
                  <a:gd name="T46" fmla="*/ 57 w 146"/>
                  <a:gd name="T47" fmla="*/ 25 h 30"/>
                  <a:gd name="T48" fmla="*/ 77 w 146"/>
                  <a:gd name="T49" fmla="*/ 25 h 30"/>
                  <a:gd name="T50" fmla="*/ 99 w 146"/>
                  <a:gd name="T51" fmla="*/ 25 h 30"/>
                  <a:gd name="T52" fmla="*/ 110 w 146"/>
                  <a:gd name="T53" fmla="*/ 26 h 30"/>
                  <a:gd name="T54" fmla="*/ 123 w 146"/>
                  <a:gd name="T55" fmla="*/ 29 h 30"/>
                  <a:gd name="T56" fmla="*/ 128 w 146"/>
                  <a:gd name="T57" fmla="*/ 30 h 30"/>
                  <a:gd name="T58" fmla="*/ 135 w 146"/>
                  <a:gd name="T59" fmla="*/ 30 h 30"/>
                  <a:gd name="T60" fmla="*/ 140 w 146"/>
                  <a:gd name="T61" fmla="*/ 28 h 30"/>
                  <a:gd name="T62" fmla="*/ 146 w 146"/>
                  <a:gd name="T63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1" name="Freeform 503"/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8798363" y="1697304"/>
                <a:ext cx="27448" cy="58751"/>
              </a:xfrm>
              <a:custGeom>
                <a:avLst/>
                <a:gdLst>
                  <a:gd name="T0" fmla="*/ 0 w 53"/>
                  <a:gd name="T1" fmla="*/ 9 h 9"/>
                  <a:gd name="T2" fmla="*/ 17 w 53"/>
                  <a:gd name="T3" fmla="*/ 9 h 9"/>
                  <a:gd name="T4" fmla="*/ 29 w 53"/>
                  <a:gd name="T5" fmla="*/ 9 h 9"/>
                  <a:gd name="T6" fmla="*/ 40 w 53"/>
                  <a:gd name="T7" fmla="*/ 9 h 9"/>
                  <a:gd name="T8" fmla="*/ 53 w 53"/>
                  <a:gd name="T9" fmla="*/ 9 h 9"/>
                  <a:gd name="T10" fmla="*/ 46 w 53"/>
                  <a:gd name="T11" fmla="*/ 6 h 9"/>
                  <a:gd name="T12" fmla="*/ 38 w 53"/>
                  <a:gd name="T13" fmla="*/ 3 h 9"/>
                  <a:gd name="T14" fmla="*/ 31 w 53"/>
                  <a:gd name="T15" fmla="*/ 1 h 9"/>
                  <a:gd name="T16" fmla="*/ 25 w 53"/>
                  <a:gd name="T17" fmla="*/ 0 h 9"/>
                  <a:gd name="T18" fmla="*/ 19 w 53"/>
                  <a:gd name="T19" fmla="*/ 0 h 9"/>
                  <a:gd name="T20" fmla="*/ 14 w 53"/>
                  <a:gd name="T21" fmla="*/ 0 h 9"/>
                  <a:gd name="T22" fmla="*/ 9 w 53"/>
                  <a:gd name="T23" fmla="*/ 1 h 9"/>
                  <a:gd name="T24" fmla="*/ 6 w 53"/>
                  <a:gd name="T2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2" name="Line 504"/>
              <p:cNvSpPr>
                <a:spLocks noChangeShapeType="1"/>
              </p:cNvSpPr>
              <p:nvPr>
                <p:custDataLst>
                  <p:tags r:id="rId334"/>
                </p:custDataLst>
              </p:nvPr>
            </p:nvSpPr>
            <p:spPr bwMode="auto">
              <a:xfrm flipV="1">
                <a:off x="8800475" y="1695716"/>
                <a:ext cx="0" cy="1588"/>
              </a:xfrm>
              <a:prstGeom prst="line">
                <a:avLst/>
              </a:prstGeom>
              <a:grpFill/>
              <a:ln w="95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3" name="Freeform 505"/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7696195" y="1624262"/>
                <a:ext cx="14779" cy="55575"/>
              </a:xfrm>
              <a:custGeom>
                <a:avLst/>
                <a:gdLst>
                  <a:gd name="T0" fmla="*/ 0 w 26"/>
                  <a:gd name="T1" fmla="*/ 25 h 25"/>
                  <a:gd name="T2" fmla="*/ 5 w 26"/>
                  <a:gd name="T3" fmla="*/ 17 h 25"/>
                  <a:gd name="T4" fmla="*/ 13 w 26"/>
                  <a:gd name="T5" fmla="*/ 8 h 25"/>
                  <a:gd name="T6" fmla="*/ 16 w 26"/>
                  <a:gd name="T7" fmla="*/ 5 h 25"/>
                  <a:gd name="T8" fmla="*/ 20 w 26"/>
                  <a:gd name="T9" fmla="*/ 2 h 25"/>
                  <a:gd name="T10" fmla="*/ 23 w 26"/>
                  <a:gd name="T11" fmla="*/ 1 h 25"/>
                  <a:gd name="T12" fmla="*/ 26 w 26"/>
                  <a:gd name="T13" fmla="*/ 0 h 25"/>
                  <a:gd name="T14" fmla="*/ 26 w 26"/>
                  <a:gd name="T15" fmla="*/ 25 h 25"/>
                  <a:gd name="T16" fmla="*/ 20 w 26"/>
                  <a:gd name="T17" fmla="*/ 25 h 25"/>
                  <a:gd name="T18" fmla="*/ 13 w 26"/>
                  <a:gd name="T19" fmla="*/ 25 h 25"/>
                  <a:gd name="T20" fmla="*/ 0 w 26"/>
                  <a:gd name="T2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4" name="Freeform 506"/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8692791" y="1695716"/>
                <a:ext cx="12669" cy="57162"/>
              </a:xfrm>
              <a:custGeom>
                <a:avLst/>
                <a:gdLst>
                  <a:gd name="T0" fmla="*/ 33 w 33"/>
                  <a:gd name="T1" fmla="*/ 25 h 25"/>
                  <a:gd name="T2" fmla="*/ 33 w 33"/>
                  <a:gd name="T3" fmla="*/ 12 h 25"/>
                  <a:gd name="T4" fmla="*/ 33 w 33"/>
                  <a:gd name="T5" fmla="*/ 0 h 25"/>
                  <a:gd name="T6" fmla="*/ 0 w 33"/>
                  <a:gd name="T7" fmla="*/ 0 h 25"/>
                  <a:gd name="T8" fmla="*/ 9 w 33"/>
                  <a:gd name="T9" fmla="*/ 9 h 25"/>
                  <a:gd name="T10" fmla="*/ 16 w 33"/>
                  <a:gd name="T11" fmla="*/ 17 h 25"/>
                  <a:gd name="T12" fmla="*/ 20 w 33"/>
                  <a:gd name="T13" fmla="*/ 20 h 25"/>
                  <a:gd name="T14" fmla="*/ 24 w 33"/>
                  <a:gd name="T15" fmla="*/ 23 h 25"/>
                  <a:gd name="T16" fmla="*/ 28 w 33"/>
                  <a:gd name="T17" fmla="*/ 24 h 25"/>
                  <a:gd name="T18" fmla="*/ 33 w 33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5" name="Freeform 507"/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8631559" y="1659195"/>
                <a:ext cx="12669" cy="57162"/>
              </a:xfrm>
              <a:custGeom>
                <a:avLst/>
                <a:gdLst>
                  <a:gd name="T0" fmla="*/ 0 w 20"/>
                  <a:gd name="T1" fmla="*/ 0 h 18"/>
                  <a:gd name="T2" fmla="*/ 13 w 20"/>
                  <a:gd name="T3" fmla="*/ 18 h 18"/>
                  <a:gd name="T4" fmla="*/ 16 w 20"/>
                  <a:gd name="T5" fmla="*/ 11 h 18"/>
                  <a:gd name="T6" fmla="*/ 20 w 20"/>
                  <a:gd name="T7" fmla="*/ 0 h 18"/>
                  <a:gd name="T8" fmla="*/ 0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6" name="Freeform 508"/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9296660" y="2229239"/>
                <a:ext cx="16891" cy="58752"/>
              </a:xfrm>
              <a:custGeom>
                <a:avLst/>
                <a:gdLst>
                  <a:gd name="T0" fmla="*/ 0 w 33"/>
                  <a:gd name="T1" fmla="*/ 31 h 31"/>
                  <a:gd name="T2" fmla="*/ 0 w 33"/>
                  <a:gd name="T3" fmla="*/ 0 h 31"/>
                  <a:gd name="T4" fmla="*/ 9 w 33"/>
                  <a:gd name="T5" fmla="*/ 0 h 31"/>
                  <a:gd name="T6" fmla="*/ 16 w 33"/>
                  <a:gd name="T7" fmla="*/ 0 h 31"/>
                  <a:gd name="T8" fmla="*/ 24 w 33"/>
                  <a:gd name="T9" fmla="*/ 0 h 31"/>
                  <a:gd name="T10" fmla="*/ 33 w 33"/>
                  <a:gd name="T11" fmla="*/ 0 h 31"/>
                  <a:gd name="T12" fmla="*/ 30 w 33"/>
                  <a:gd name="T13" fmla="*/ 2 h 31"/>
                  <a:gd name="T14" fmla="*/ 29 w 33"/>
                  <a:gd name="T15" fmla="*/ 5 h 31"/>
                  <a:gd name="T16" fmla="*/ 28 w 33"/>
                  <a:gd name="T17" fmla="*/ 9 h 31"/>
                  <a:gd name="T18" fmla="*/ 28 w 33"/>
                  <a:gd name="T19" fmla="*/ 13 h 31"/>
                  <a:gd name="T20" fmla="*/ 28 w 33"/>
                  <a:gd name="T21" fmla="*/ 17 h 31"/>
                  <a:gd name="T22" fmla="*/ 29 w 33"/>
                  <a:gd name="T23" fmla="*/ 21 h 31"/>
                  <a:gd name="T24" fmla="*/ 30 w 33"/>
                  <a:gd name="T25" fmla="*/ 26 h 31"/>
                  <a:gd name="T26" fmla="*/ 33 w 33"/>
                  <a:gd name="T27" fmla="*/ 31 h 31"/>
                  <a:gd name="T28" fmla="*/ 0 w 33"/>
                  <a:gd name="T2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7" name="Freeform 509"/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9687274" y="1751292"/>
                <a:ext cx="73901" cy="58751"/>
              </a:xfrm>
              <a:custGeom>
                <a:avLst/>
                <a:gdLst>
                  <a:gd name="T0" fmla="*/ 3 w 129"/>
                  <a:gd name="T1" fmla="*/ 44 h 56"/>
                  <a:gd name="T2" fmla="*/ 1 w 129"/>
                  <a:gd name="T3" fmla="*/ 42 h 56"/>
                  <a:gd name="T4" fmla="*/ 1 w 129"/>
                  <a:gd name="T5" fmla="*/ 40 h 56"/>
                  <a:gd name="T6" fmla="*/ 0 w 129"/>
                  <a:gd name="T7" fmla="*/ 37 h 56"/>
                  <a:gd name="T8" fmla="*/ 1 w 129"/>
                  <a:gd name="T9" fmla="*/ 33 h 56"/>
                  <a:gd name="T10" fmla="*/ 2 w 129"/>
                  <a:gd name="T11" fmla="*/ 25 h 56"/>
                  <a:gd name="T12" fmla="*/ 3 w 129"/>
                  <a:gd name="T13" fmla="*/ 18 h 56"/>
                  <a:gd name="T14" fmla="*/ 9 w 129"/>
                  <a:gd name="T15" fmla="*/ 13 h 56"/>
                  <a:gd name="T16" fmla="*/ 16 w 129"/>
                  <a:gd name="T17" fmla="*/ 9 h 56"/>
                  <a:gd name="T18" fmla="*/ 21 w 129"/>
                  <a:gd name="T19" fmla="*/ 6 h 56"/>
                  <a:gd name="T20" fmla="*/ 27 w 129"/>
                  <a:gd name="T21" fmla="*/ 5 h 56"/>
                  <a:gd name="T22" fmla="*/ 39 w 129"/>
                  <a:gd name="T23" fmla="*/ 3 h 56"/>
                  <a:gd name="T24" fmla="*/ 57 w 129"/>
                  <a:gd name="T25" fmla="*/ 0 h 56"/>
                  <a:gd name="T26" fmla="*/ 60 w 129"/>
                  <a:gd name="T27" fmla="*/ 5 h 56"/>
                  <a:gd name="T28" fmla="*/ 64 w 129"/>
                  <a:gd name="T29" fmla="*/ 8 h 56"/>
                  <a:gd name="T30" fmla="*/ 69 w 129"/>
                  <a:gd name="T31" fmla="*/ 11 h 56"/>
                  <a:gd name="T32" fmla="*/ 73 w 129"/>
                  <a:gd name="T33" fmla="*/ 14 h 56"/>
                  <a:gd name="T34" fmla="*/ 83 w 129"/>
                  <a:gd name="T35" fmla="*/ 18 h 56"/>
                  <a:gd name="T36" fmla="*/ 93 w 129"/>
                  <a:gd name="T37" fmla="*/ 21 h 56"/>
                  <a:gd name="T38" fmla="*/ 103 w 129"/>
                  <a:gd name="T39" fmla="*/ 25 h 56"/>
                  <a:gd name="T40" fmla="*/ 113 w 129"/>
                  <a:gd name="T41" fmla="*/ 29 h 56"/>
                  <a:gd name="T42" fmla="*/ 117 w 129"/>
                  <a:gd name="T43" fmla="*/ 32 h 56"/>
                  <a:gd name="T44" fmla="*/ 121 w 129"/>
                  <a:gd name="T45" fmla="*/ 35 h 56"/>
                  <a:gd name="T46" fmla="*/ 126 w 129"/>
                  <a:gd name="T47" fmla="*/ 38 h 56"/>
                  <a:gd name="T48" fmla="*/ 129 w 129"/>
                  <a:gd name="T49" fmla="*/ 44 h 56"/>
                  <a:gd name="T50" fmla="*/ 119 w 129"/>
                  <a:gd name="T51" fmla="*/ 48 h 56"/>
                  <a:gd name="T52" fmla="*/ 109 w 129"/>
                  <a:gd name="T53" fmla="*/ 51 h 56"/>
                  <a:gd name="T54" fmla="*/ 99 w 129"/>
                  <a:gd name="T55" fmla="*/ 53 h 56"/>
                  <a:gd name="T56" fmla="*/ 90 w 129"/>
                  <a:gd name="T57" fmla="*/ 54 h 56"/>
                  <a:gd name="T58" fmla="*/ 70 w 129"/>
                  <a:gd name="T59" fmla="*/ 56 h 56"/>
                  <a:gd name="T60" fmla="*/ 49 w 129"/>
                  <a:gd name="T61" fmla="*/ 56 h 56"/>
                  <a:gd name="T62" fmla="*/ 40 w 129"/>
                  <a:gd name="T63" fmla="*/ 55 h 56"/>
                  <a:gd name="T64" fmla="*/ 31 w 129"/>
                  <a:gd name="T65" fmla="*/ 54 h 56"/>
                  <a:gd name="T66" fmla="*/ 23 w 129"/>
                  <a:gd name="T67" fmla="*/ 52 h 56"/>
                  <a:gd name="T68" fmla="*/ 16 w 129"/>
                  <a:gd name="T69" fmla="*/ 50 h 56"/>
                  <a:gd name="T70" fmla="*/ 6 w 129"/>
                  <a:gd name="T71" fmla="*/ 46 h 56"/>
                  <a:gd name="T72" fmla="*/ 3 w 129"/>
                  <a:gd name="T73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8" name="Freeform 510"/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9868857" y="2103798"/>
                <a:ext cx="19004" cy="57162"/>
              </a:xfrm>
              <a:custGeom>
                <a:avLst/>
                <a:gdLst>
                  <a:gd name="T0" fmla="*/ 21 w 41"/>
                  <a:gd name="T1" fmla="*/ 42 h 42"/>
                  <a:gd name="T2" fmla="*/ 0 w 41"/>
                  <a:gd name="T3" fmla="*/ 30 h 42"/>
                  <a:gd name="T4" fmla="*/ 0 w 41"/>
                  <a:gd name="T5" fmla="*/ 6 h 42"/>
                  <a:gd name="T6" fmla="*/ 7 w 41"/>
                  <a:gd name="T7" fmla="*/ 5 h 42"/>
                  <a:gd name="T8" fmla="*/ 14 w 41"/>
                  <a:gd name="T9" fmla="*/ 3 h 42"/>
                  <a:gd name="T10" fmla="*/ 24 w 41"/>
                  <a:gd name="T11" fmla="*/ 1 h 42"/>
                  <a:gd name="T12" fmla="*/ 34 w 41"/>
                  <a:gd name="T13" fmla="*/ 0 h 42"/>
                  <a:gd name="T14" fmla="*/ 34 w 41"/>
                  <a:gd name="T15" fmla="*/ 18 h 42"/>
                  <a:gd name="T16" fmla="*/ 41 w 41"/>
                  <a:gd name="T17" fmla="*/ 18 h 42"/>
                  <a:gd name="T18" fmla="*/ 21 w 41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9" name="Freeform 511"/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10067333" y="2216536"/>
                <a:ext cx="57009" cy="60339"/>
              </a:xfrm>
              <a:custGeom>
                <a:avLst/>
                <a:gdLst>
                  <a:gd name="T0" fmla="*/ 60 w 93"/>
                  <a:gd name="T1" fmla="*/ 9 h 39"/>
                  <a:gd name="T2" fmla="*/ 67 w 93"/>
                  <a:gd name="T3" fmla="*/ 18 h 39"/>
                  <a:gd name="T4" fmla="*/ 77 w 93"/>
                  <a:gd name="T5" fmla="*/ 28 h 39"/>
                  <a:gd name="T6" fmla="*/ 81 w 93"/>
                  <a:gd name="T7" fmla="*/ 33 h 39"/>
                  <a:gd name="T8" fmla="*/ 86 w 93"/>
                  <a:gd name="T9" fmla="*/ 36 h 39"/>
                  <a:gd name="T10" fmla="*/ 90 w 93"/>
                  <a:gd name="T11" fmla="*/ 38 h 39"/>
                  <a:gd name="T12" fmla="*/ 93 w 93"/>
                  <a:gd name="T13" fmla="*/ 39 h 39"/>
                  <a:gd name="T14" fmla="*/ 60 w 93"/>
                  <a:gd name="T15" fmla="*/ 39 h 39"/>
                  <a:gd name="T16" fmla="*/ 50 w 93"/>
                  <a:gd name="T17" fmla="*/ 36 h 39"/>
                  <a:gd name="T18" fmla="*/ 43 w 93"/>
                  <a:gd name="T19" fmla="*/ 32 h 39"/>
                  <a:gd name="T20" fmla="*/ 36 w 93"/>
                  <a:gd name="T21" fmla="*/ 28 h 39"/>
                  <a:gd name="T22" fmla="*/ 30 w 93"/>
                  <a:gd name="T23" fmla="*/ 23 h 39"/>
                  <a:gd name="T24" fmla="*/ 24 w 93"/>
                  <a:gd name="T25" fmla="*/ 18 h 39"/>
                  <a:gd name="T26" fmla="*/ 16 w 93"/>
                  <a:gd name="T27" fmla="*/ 13 h 39"/>
                  <a:gd name="T28" fmla="*/ 9 w 93"/>
                  <a:gd name="T29" fmla="*/ 7 h 39"/>
                  <a:gd name="T30" fmla="*/ 0 w 93"/>
                  <a:gd name="T31" fmla="*/ 3 h 39"/>
                  <a:gd name="T32" fmla="*/ 11 w 93"/>
                  <a:gd name="T33" fmla="*/ 1 h 39"/>
                  <a:gd name="T34" fmla="*/ 20 w 93"/>
                  <a:gd name="T35" fmla="*/ 0 h 39"/>
                  <a:gd name="T36" fmla="*/ 26 w 93"/>
                  <a:gd name="T37" fmla="*/ 0 h 39"/>
                  <a:gd name="T38" fmla="*/ 33 w 93"/>
                  <a:gd name="T39" fmla="*/ 1 h 39"/>
                  <a:gd name="T40" fmla="*/ 44 w 93"/>
                  <a:gd name="T41" fmla="*/ 4 h 39"/>
                  <a:gd name="T42" fmla="*/ 60 w 93"/>
                  <a:gd name="T43" fmla="*/ 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0" name="Freeform 512"/>
              <p:cNvSpPr>
                <a:spLocks/>
              </p:cNvSpPr>
              <p:nvPr>
                <p:custDataLst>
                  <p:tags r:id="rId342"/>
                </p:custDataLst>
              </p:nvPr>
            </p:nvSpPr>
            <p:spPr bwMode="auto">
              <a:xfrm>
                <a:off x="10134898" y="2232414"/>
                <a:ext cx="25337" cy="58752"/>
              </a:xfrm>
              <a:custGeom>
                <a:avLst/>
                <a:gdLst>
                  <a:gd name="T0" fmla="*/ 39 w 39"/>
                  <a:gd name="T1" fmla="*/ 19 h 19"/>
                  <a:gd name="T2" fmla="*/ 13 w 39"/>
                  <a:gd name="T3" fmla="*/ 19 h 19"/>
                  <a:gd name="T4" fmla="*/ 8 w 39"/>
                  <a:gd name="T5" fmla="*/ 19 h 19"/>
                  <a:gd name="T6" fmla="*/ 5 w 39"/>
                  <a:gd name="T7" fmla="*/ 17 h 19"/>
                  <a:gd name="T8" fmla="*/ 3 w 39"/>
                  <a:gd name="T9" fmla="*/ 14 h 19"/>
                  <a:gd name="T10" fmla="*/ 2 w 39"/>
                  <a:gd name="T11" fmla="*/ 11 h 19"/>
                  <a:gd name="T12" fmla="*/ 0 w 39"/>
                  <a:gd name="T13" fmla="*/ 5 h 19"/>
                  <a:gd name="T14" fmla="*/ 0 w 39"/>
                  <a:gd name="T15" fmla="*/ 0 h 19"/>
                  <a:gd name="T16" fmla="*/ 13 w 39"/>
                  <a:gd name="T17" fmla="*/ 4 h 19"/>
                  <a:gd name="T18" fmla="*/ 22 w 39"/>
                  <a:gd name="T19" fmla="*/ 9 h 19"/>
                  <a:gd name="T20" fmla="*/ 30 w 39"/>
                  <a:gd name="T21" fmla="*/ 14 h 19"/>
                  <a:gd name="T22" fmla="*/ 39 w 39"/>
                  <a:gd name="T2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1" name="Freeform 513"/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9955428" y="2359443"/>
                <a:ext cx="19001" cy="57162"/>
              </a:xfrm>
              <a:custGeom>
                <a:avLst/>
                <a:gdLst>
                  <a:gd name="T0" fmla="*/ 0 w 26"/>
                  <a:gd name="T1" fmla="*/ 36 h 36"/>
                  <a:gd name="T2" fmla="*/ 3 w 26"/>
                  <a:gd name="T3" fmla="*/ 31 h 36"/>
                  <a:gd name="T4" fmla="*/ 10 w 26"/>
                  <a:gd name="T5" fmla="*/ 20 h 36"/>
                  <a:gd name="T6" fmla="*/ 18 w 26"/>
                  <a:gd name="T7" fmla="*/ 8 h 36"/>
                  <a:gd name="T8" fmla="*/ 26 w 26"/>
                  <a:gd name="T9" fmla="*/ 0 h 36"/>
                  <a:gd name="T10" fmla="*/ 26 w 26"/>
                  <a:gd name="T11" fmla="*/ 9 h 36"/>
                  <a:gd name="T12" fmla="*/ 26 w 26"/>
                  <a:gd name="T13" fmla="*/ 18 h 36"/>
                  <a:gd name="T14" fmla="*/ 25 w 26"/>
                  <a:gd name="T15" fmla="*/ 22 h 36"/>
                  <a:gd name="T16" fmla="*/ 24 w 26"/>
                  <a:gd name="T17" fmla="*/ 26 h 36"/>
                  <a:gd name="T18" fmla="*/ 21 w 26"/>
                  <a:gd name="T19" fmla="*/ 29 h 36"/>
                  <a:gd name="T20" fmla="*/ 17 w 26"/>
                  <a:gd name="T21" fmla="*/ 32 h 36"/>
                  <a:gd name="T22" fmla="*/ 14 w 26"/>
                  <a:gd name="T23" fmla="*/ 34 h 36"/>
                  <a:gd name="T24" fmla="*/ 10 w 26"/>
                  <a:gd name="T25" fmla="*/ 35 h 36"/>
                  <a:gd name="T26" fmla="*/ 4 w 26"/>
                  <a:gd name="T27" fmla="*/ 36 h 36"/>
                  <a:gd name="T28" fmla="*/ 0 w 26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2" name="Freeform 514"/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9970206" y="2388026"/>
                <a:ext cx="4223" cy="60339"/>
              </a:xfrm>
              <a:custGeom>
                <a:avLst/>
                <a:gdLst>
                  <a:gd name="T0" fmla="*/ 0 w 6"/>
                  <a:gd name="T1" fmla="*/ 37 h 37"/>
                  <a:gd name="T2" fmla="*/ 0 w 6"/>
                  <a:gd name="T3" fmla="*/ 0 h 37"/>
                  <a:gd name="T4" fmla="*/ 6 w 6"/>
                  <a:gd name="T5" fmla="*/ 0 h 37"/>
                  <a:gd name="T6" fmla="*/ 6 w 6"/>
                  <a:gd name="T7" fmla="*/ 31 h 37"/>
                  <a:gd name="T8" fmla="*/ 0 w 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3" name="Freeform 515"/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9953315" y="2470595"/>
                <a:ext cx="12669" cy="55576"/>
              </a:xfrm>
              <a:custGeom>
                <a:avLst/>
                <a:gdLst>
                  <a:gd name="T0" fmla="*/ 0 w 20"/>
                  <a:gd name="T1" fmla="*/ 31 h 43"/>
                  <a:gd name="T2" fmla="*/ 0 w 20"/>
                  <a:gd name="T3" fmla="*/ 25 h 43"/>
                  <a:gd name="T4" fmla="*/ 0 w 20"/>
                  <a:gd name="T5" fmla="*/ 18 h 43"/>
                  <a:gd name="T6" fmla="*/ 2 w 20"/>
                  <a:gd name="T7" fmla="*/ 9 h 43"/>
                  <a:gd name="T8" fmla="*/ 7 w 20"/>
                  <a:gd name="T9" fmla="*/ 0 h 43"/>
                  <a:gd name="T10" fmla="*/ 11 w 20"/>
                  <a:gd name="T11" fmla="*/ 7 h 43"/>
                  <a:gd name="T12" fmla="*/ 16 w 20"/>
                  <a:gd name="T13" fmla="*/ 12 h 43"/>
                  <a:gd name="T14" fmla="*/ 17 w 20"/>
                  <a:gd name="T15" fmla="*/ 14 h 43"/>
                  <a:gd name="T16" fmla="*/ 19 w 20"/>
                  <a:gd name="T17" fmla="*/ 18 h 43"/>
                  <a:gd name="T18" fmla="*/ 19 w 20"/>
                  <a:gd name="T19" fmla="*/ 21 h 43"/>
                  <a:gd name="T20" fmla="*/ 20 w 20"/>
                  <a:gd name="T21" fmla="*/ 25 h 43"/>
                  <a:gd name="T22" fmla="*/ 19 w 20"/>
                  <a:gd name="T23" fmla="*/ 27 h 43"/>
                  <a:gd name="T24" fmla="*/ 18 w 20"/>
                  <a:gd name="T25" fmla="*/ 30 h 43"/>
                  <a:gd name="T26" fmla="*/ 16 w 20"/>
                  <a:gd name="T27" fmla="*/ 33 h 43"/>
                  <a:gd name="T28" fmla="*/ 12 w 20"/>
                  <a:gd name="T29" fmla="*/ 36 h 43"/>
                  <a:gd name="T30" fmla="*/ 9 w 20"/>
                  <a:gd name="T31" fmla="*/ 39 h 43"/>
                  <a:gd name="T32" fmla="*/ 6 w 20"/>
                  <a:gd name="T33" fmla="*/ 41 h 43"/>
                  <a:gd name="T34" fmla="*/ 2 w 20"/>
                  <a:gd name="T35" fmla="*/ 42 h 43"/>
                  <a:gd name="T36" fmla="*/ 0 w 20"/>
                  <a:gd name="T37" fmla="*/ 43 h 43"/>
                  <a:gd name="T38" fmla="*/ 0 w 20"/>
                  <a:gd name="T39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4" name="Freeform 516"/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9923755" y="2505527"/>
                <a:ext cx="0" cy="58752"/>
              </a:xfrm>
              <a:custGeom>
                <a:avLst/>
                <a:gdLst>
                  <a:gd name="T0" fmla="*/ 30 h 30"/>
                  <a:gd name="T1" fmla="*/ 25 h 30"/>
                  <a:gd name="T2" fmla="*/ 18 h 30"/>
                  <a:gd name="T3" fmla="*/ 9 h 30"/>
                  <a:gd name="T4" fmla="*/ 0 h 3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5" name="Freeform 517"/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9923755" y="2505527"/>
                <a:ext cx="10558" cy="58752"/>
              </a:xfrm>
              <a:custGeom>
                <a:avLst/>
                <a:gdLst>
                  <a:gd name="T0" fmla="*/ 0 w 20"/>
                  <a:gd name="T1" fmla="*/ 0 h 24"/>
                  <a:gd name="T2" fmla="*/ 20 w 20"/>
                  <a:gd name="T3" fmla="*/ 0 h 24"/>
                  <a:gd name="T4" fmla="*/ 0 w 20"/>
                  <a:gd name="T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6" name="Freeform 518"/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9596484" y="2092683"/>
                <a:ext cx="23225" cy="60339"/>
              </a:xfrm>
              <a:custGeom>
                <a:avLst/>
                <a:gdLst>
                  <a:gd name="T0" fmla="*/ 0 w 46"/>
                  <a:gd name="T1" fmla="*/ 0 h 19"/>
                  <a:gd name="T2" fmla="*/ 9 w 46"/>
                  <a:gd name="T3" fmla="*/ 3 h 19"/>
                  <a:gd name="T4" fmla="*/ 14 w 46"/>
                  <a:gd name="T5" fmla="*/ 5 h 19"/>
                  <a:gd name="T6" fmla="*/ 19 w 46"/>
                  <a:gd name="T7" fmla="*/ 8 h 19"/>
                  <a:gd name="T8" fmla="*/ 23 w 46"/>
                  <a:gd name="T9" fmla="*/ 10 h 19"/>
                  <a:gd name="T10" fmla="*/ 26 w 46"/>
                  <a:gd name="T11" fmla="*/ 12 h 19"/>
                  <a:gd name="T12" fmla="*/ 32 w 46"/>
                  <a:gd name="T13" fmla="*/ 14 h 19"/>
                  <a:gd name="T14" fmla="*/ 37 w 46"/>
                  <a:gd name="T15" fmla="*/ 17 h 19"/>
                  <a:gd name="T16" fmla="*/ 46 w 46"/>
                  <a:gd name="T17" fmla="*/ 19 h 19"/>
                  <a:gd name="T18" fmla="*/ 33 w 46"/>
                  <a:gd name="T19" fmla="*/ 19 h 19"/>
                  <a:gd name="T20" fmla="*/ 24 w 46"/>
                  <a:gd name="T21" fmla="*/ 19 h 19"/>
                  <a:gd name="T22" fmla="*/ 18 w 46"/>
                  <a:gd name="T23" fmla="*/ 18 h 19"/>
                  <a:gd name="T24" fmla="*/ 13 w 46"/>
                  <a:gd name="T25" fmla="*/ 17 h 19"/>
                  <a:gd name="T26" fmla="*/ 10 w 46"/>
                  <a:gd name="T27" fmla="*/ 14 h 19"/>
                  <a:gd name="T28" fmla="*/ 7 w 46"/>
                  <a:gd name="T29" fmla="*/ 11 h 19"/>
                  <a:gd name="T30" fmla="*/ 4 w 46"/>
                  <a:gd name="T31" fmla="*/ 7 h 19"/>
                  <a:gd name="T32" fmla="*/ 0 w 46"/>
                  <a:gd name="T3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7" name="Freeform 519"/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6026054" y="2232414"/>
                <a:ext cx="63343" cy="58752"/>
              </a:xfrm>
              <a:custGeom>
                <a:avLst/>
                <a:gdLst>
                  <a:gd name="T0" fmla="*/ 33 w 100"/>
                  <a:gd name="T1" fmla="*/ 0 h 55"/>
                  <a:gd name="T2" fmla="*/ 100 w 100"/>
                  <a:gd name="T3" fmla="*/ 12 h 55"/>
                  <a:gd name="T4" fmla="*/ 100 w 100"/>
                  <a:gd name="T5" fmla="*/ 55 h 55"/>
                  <a:gd name="T6" fmla="*/ 13 w 100"/>
                  <a:gd name="T7" fmla="*/ 55 h 55"/>
                  <a:gd name="T8" fmla="*/ 0 w 100"/>
                  <a:gd name="T9" fmla="*/ 43 h 55"/>
                  <a:gd name="T10" fmla="*/ 1 w 100"/>
                  <a:gd name="T11" fmla="*/ 38 h 55"/>
                  <a:gd name="T12" fmla="*/ 4 w 100"/>
                  <a:gd name="T13" fmla="*/ 32 h 55"/>
                  <a:gd name="T14" fmla="*/ 10 w 100"/>
                  <a:gd name="T15" fmla="*/ 25 h 55"/>
                  <a:gd name="T16" fmla="*/ 16 w 100"/>
                  <a:gd name="T17" fmla="*/ 18 h 55"/>
                  <a:gd name="T18" fmla="*/ 27 w 100"/>
                  <a:gd name="T19" fmla="*/ 5 h 55"/>
                  <a:gd name="T20" fmla="*/ 33 w 100"/>
                  <a:gd name="T2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8" name="Freeform 520"/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6623589" y="1824334"/>
                <a:ext cx="57008" cy="58751"/>
              </a:xfrm>
              <a:custGeom>
                <a:avLst/>
                <a:gdLst>
                  <a:gd name="T0" fmla="*/ 53 w 99"/>
                  <a:gd name="T1" fmla="*/ 2 h 51"/>
                  <a:gd name="T2" fmla="*/ 58 w 99"/>
                  <a:gd name="T3" fmla="*/ 1 h 51"/>
                  <a:gd name="T4" fmla="*/ 62 w 99"/>
                  <a:gd name="T5" fmla="*/ 0 h 51"/>
                  <a:gd name="T6" fmla="*/ 65 w 99"/>
                  <a:gd name="T7" fmla="*/ 0 h 51"/>
                  <a:gd name="T8" fmla="*/ 69 w 99"/>
                  <a:gd name="T9" fmla="*/ 1 h 51"/>
                  <a:gd name="T10" fmla="*/ 74 w 99"/>
                  <a:gd name="T11" fmla="*/ 5 h 51"/>
                  <a:gd name="T12" fmla="*/ 79 w 99"/>
                  <a:gd name="T13" fmla="*/ 11 h 51"/>
                  <a:gd name="T14" fmla="*/ 83 w 99"/>
                  <a:gd name="T15" fmla="*/ 18 h 51"/>
                  <a:gd name="T16" fmla="*/ 87 w 99"/>
                  <a:gd name="T17" fmla="*/ 25 h 51"/>
                  <a:gd name="T18" fmla="*/ 91 w 99"/>
                  <a:gd name="T19" fmla="*/ 28 h 51"/>
                  <a:gd name="T20" fmla="*/ 93 w 99"/>
                  <a:gd name="T21" fmla="*/ 30 h 51"/>
                  <a:gd name="T22" fmla="*/ 96 w 99"/>
                  <a:gd name="T23" fmla="*/ 32 h 51"/>
                  <a:gd name="T24" fmla="*/ 99 w 99"/>
                  <a:gd name="T25" fmla="*/ 34 h 51"/>
                  <a:gd name="T26" fmla="*/ 99 w 99"/>
                  <a:gd name="T27" fmla="*/ 37 h 51"/>
                  <a:gd name="T28" fmla="*/ 97 w 99"/>
                  <a:gd name="T29" fmla="*/ 40 h 51"/>
                  <a:gd name="T30" fmla="*/ 95 w 99"/>
                  <a:gd name="T31" fmla="*/ 43 h 51"/>
                  <a:gd name="T32" fmla="*/ 91 w 99"/>
                  <a:gd name="T33" fmla="*/ 45 h 51"/>
                  <a:gd name="T34" fmla="*/ 86 w 99"/>
                  <a:gd name="T35" fmla="*/ 47 h 51"/>
                  <a:gd name="T36" fmla="*/ 81 w 99"/>
                  <a:gd name="T37" fmla="*/ 48 h 51"/>
                  <a:gd name="T38" fmla="*/ 74 w 99"/>
                  <a:gd name="T39" fmla="*/ 50 h 51"/>
                  <a:gd name="T40" fmla="*/ 68 w 99"/>
                  <a:gd name="T41" fmla="*/ 50 h 51"/>
                  <a:gd name="T42" fmla="*/ 52 w 99"/>
                  <a:gd name="T43" fmla="*/ 51 h 51"/>
                  <a:gd name="T44" fmla="*/ 36 w 99"/>
                  <a:gd name="T45" fmla="*/ 49 h 51"/>
                  <a:gd name="T46" fmla="*/ 27 w 99"/>
                  <a:gd name="T47" fmla="*/ 48 h 51"/>
                  <a:gd name="T48" fmla="*/ 18 w 99"/>
                  <a:gd name="T49" fmla="*/ 45 h 51"/>
                  <a:gd name="T50" fmla="*/ 9 w 99"/>
                  <a:gd name="T51" fmla="*/ 43 h 51"/>
                  <a:gd name="T52" fmla="*/ 1 w 99"/>
                  <a:gd name="T53" fmla="*/ 40 h 51"/>
                  <a:gd name="T54" fmla="*/ 0 w 99"/>
                  <a:gd name="T55" fmla="*/ 39 h 51"/>
                  <a:gd name="T56" fmla="*/ 1 w 99"/>
                  <a:gd name="T57" fmla="*/ 37 h 51"/>
                  <a:gd name="T58" fmla="*/ 3 w 99"/>
                  <a:gd name="T59" fmla="*/ 35 h 51"/>
                  <a:gd name="T60" fmla="*/ 6 w 99"/>
                  <a:gd name="T61" fmla="*/ 33 h 51"/>
                  <a:gd name="T62" fmla="*/ 14 w 99"/>
                  <a:gd name="T63" fmla="*/ 29 h 51"/>
                  <a:gd name="T64" fmla="*/ 25 w 99"/>
                  <a:gd name="T65" fmla="*/ 24 h 51"/>
                  <a:gd name="T66" fmla="*/ 35 w 99"/>
                  <a:gd name="T67" fmla="*/ 19 h 51"/>
                  <a:gd name="T68" fmla="*/ 45 w 99"/>
                  <a:gd name="T69" fmla="*/ 12 h 51"/>
                  <a:gd name="T70" fmla="*/ 48 w 99"/>
                  <a:gd name="T71" fmla="*/ 10 h 51"/>
                  <a:gd name="T72" fmla="*/ 51 w 99"/>
                  <a:gd name="T73" fmla="*/ 7 h 51"/>
                  <a:gd name="T74" fmla="*/ 52 w 99"/>
                  <a:gd name="T75" fmla="*/ 5 h 51"/>
                  <a:gd name="T76" fmla="*/ 53 w 99"/>
                  <a:gd name="T7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9" name="Freeform 521"/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6670040" y="1636964"/>
                <a:ext cx="304046" cy="163550"/>
              </a:xfrm>
              <a:custGeom>
                <a:avLst/>
                <a:gdLst>
                  <a:gd name="T0" fmla="*/ 315 w 525"/>
                  <a:gd name="T1" fmla="*/ 27 h 311"/>
                  <a:gd name="T2" fmla="*/ 342 w 525"/>
                  <a:gd name="T3" fmla="*/ 21 h 311"/>
                  <a:gd name="T4" fmla="*/ 385 w 525"/>
                  <a:gd name="T5" fmla="*/ 20 h 311"/>
                  <a:gd name="T6" fmla="*/ 408 w 525"/>
                  <a:gd name="T7" fmla="*/ 17 h 311"/>
                  <a:gd name="T8" fmla="*/ 427 w 525"/>
                  <a:gd name="T9" fmla="*/ 7 h 311"/>
                  <a:gd name="T10" fmla="*/ 514 w 525"/>
                  <a:gd name="T11" fmla="*/ 6 h 311"/>
                  <a:gd name="T12" fmla="*/ 525 w 525"/>
                  <a:gd name="T13" fmla="*/ 19 h 311"/>
                  <a:gd name="T14" fmla="*/ 468 w 525"/>
                  <a:gd name="T15" fmla="*/ 47 h 311"/>
                  <a:gd name="T16" fmla="*/ 392 w 525"/>
                  <a:gd name="T17" fmla="*/ 73 h 311"/>
                  <a:gd name="T18" fmla="*/ 356 w 525"/>
                  <a:gd name="T19" fmla="*/ 80 h 311"/>
                  <a:gd name="T20" fmla="*/ 321 w 525"/>
                  <a:gd name="T21" fmla="*/ 83 h 311"/>
                  <a:gd name="T22" fmla="*/ 279 w 525"/>
                  <a:gd name="T23" fmla="*/ 101 h 311"/>
                  <a:gd name="T24" fmla="*/ 244 w 525"/>
                  <a:gd name="T25" fmla="*/ 121 h 311"/>
                  <a:gd name="T26" fmla="*/ 218 w 525"/>
                  <a:gd name="T27" fmla="*/ 129 h 311"/>
                  <a:gd name="T28" fmla="*/ 187 w 525"/>
                  <a:gd name="T29" fmla="*/ 123 h 311"/>
                  <a:gd name="T30" fmla="*/ 178 w 525"/>
                  <a:gd name="T31" fmla="*/ 137 h 311"/>
                  <a:gd name="T32" fmla="*/ 175 w 525"/>
                  <a:gd name="T33" fmla="*/ 145 h 311"/>
                  <a:gd name="T34" fmla="*/ 185 w 525"/>
                  <a:gd name="T35" fmla="*/ 148 h 311"/>
                  <a:gd name="T36" fmla="*/ 184 w 525"/>
                  <a:gd name="T37" fmla="*/ 157 h 311"/>
                  <a:gd name="T38" fmla="*/ 176 w 525"/>
                  <a:gd name="T39" fmla="*/ 167 h 311"/>
                  <a:gd name="T40" fmla="*/ 180 w 525"/>
                  <a:gd name="T41" fmla="*/ 179 h 311"/>
                  <a:gd name="T42" fmla="*/ 162 w 525"/>
                  <a:gd name="T43" fmla="*/ 194 h 311"/>
                  <a:gd name="T44" fmla="*/ 144 w 525"/>
                  <a:gd name="T45" fmla="*/ 204 h 311"/>
                  <a:gd name="T46" fmla="*/ 141 w 525"/>
                  <a:gd name="T47" fmla="*/ 213 h 311"/>
                  <a:gd name="T48" fmla="*/ 144 w 525"/>
                  <a:gd name="T49" fmla="*/ 228 h 311"/>
                  <a:gd name="T50" fmla="*/ 163 w 525"/>
                  <a:gd name="T51" fmla="*/ 247 h 311"/>
                  <a:gd name="T52" fmla="*/ 191 w 525"/>
                  <a:gd name="T53" fmla="*/ 267 h 311"/>
                  <a:gd name="T54" fmla="*/ 256 w 525"/>
                  <a:gd name="T55" fmla="*/ 300 h 311"/>
                  <a:gd name="T56" fmla="*/ 243 w 525"/>
                  <a:gd name="T57" fmla="*/ 311 h 311"/>
                  <a:gd name="T58" fmla="*/ 189 w 525"/>
                  <a:gd name="T59" fmla="*/ 309 h 311"/>
                  <a:gd name="T60" fmla="*/ 145 w 525"/>
                  <a:gd name="T61" fmla="*/ 308 h 311"/>
                  <a:gd name="T62" fmla="*/ 129 w 525"/>
                  <a:gd name="T63" fmla="*/ 304 h 311"/>
                  <a:gd name="T64" fmla="*/ 123 w 525"/>
                  <a:gd name="T65" fmla="*/ 298 h 311"/>
                  <a:gd name="T66" fmla="*/ 120 w 525"/>
                  <a:gd name="T67" fmla="*/ 282 h 311"/>
                  <a:gd name="T68" fmla="*/ 116 w 525"/>
                  <a:gd name="T69" fmla="*/ 278 h 311"/>
                  <a:gd name="T70" fmla="*/ 95 w 525"/>
                  <a:gd name="T71" fmla="*/ 277 h 311"/>
                  <a:gd name="T72" fmla="*/ 80 w 525"/>
                  <a:gd name="T73" fmla="*/ 296 h 311"/>
                  <a:gd name="T74" fmla="*/ 44 w 525"/>
                  <a:gd name="T75" fmla="*/ 282 h 311"/>
                  <a:gd name="T76" fmla="*/ 0 w 525"/>
                  <a:gd name="T77" fmla="*/ 246 h 311"/>
                  <a:gd name="T78" fmla="*/ 18 w 525"/>
                  <a:gd name="T79" fmla="*/ 239 h 311"/>
                  <a:gd name="T80" fmla="*/ 34 w 525"/>
                  <a:gd name="T81" fmla="*/ 222 h 311"/>
                  <a:gd name="T82" fmla="*/ 28 w 525"/>
                  <a:gd name="T83" fmla="*/ 213 h 311"/>
                  <a:gd name="T84" fmla="*/ 34 w 525"/>
                  <a:gd name="T85" fmla="*/ 200 h 311"/>
                  <a:gd name="T86" fmla="*/ 40 w 525"/>
                  <a:gd name="T87" fmla="*/ 188 h 311"/>
                  <a:gd name="T88" fmla="*/ 34 w 525"/>
                  <a:gd name="T89" fmla="*/ 179 h 311"/>
                  <a:gd name="T90" fmla="*/ 134 w 525"/>
                  <a:gd name="T91" fmla="*/ 179 h 311"/>
                  <a:gd name="T92" fmla="*/ 131 w 525"/>
                  <a:gd name="T93" fmla="*/ 177 h 311"/>
                  <a:gd name="T94" fmla="*/ 90 w 525"/>
                  <a:gd name="T95" fmla="*/ 166 h 311"/>
                  <a:gd name="T96" fmla="*/ 54 w 525"/>
                  <a:gd name="T97" fmla="*/ 148 h 311"/>
                  <a:gd name="T98" fmla="*/ 84 w 525"/>
                  <a:gd name="T99" fmla="*/ 134 h 311"/>
                  <a:gd name="T100" fmla="*/ 120 w 525"/>
                  <a:gd name="T101" fmla="*/ 111 h 311"/>
                  <a:gd name="T102" fmla="*/ 111 w 525"/>
                  <a:gd name="T103" fmla="*/ 103 h 311"/>
                  <a:gd name="T104" fmla="*/ 100 w 525"/>
                  <a:gd name="T105" fmla="*/ 80 h 311"/>
                  <a:gd name="T106" fmla="*/ 127 w 525"/>
                  <a:gd name="T107" fmla="*/ 76 h 311"/>
                  <a:gd name="T108" fmla="*/ 184 w 525"/>
                  <a:gd name="T109" fmla="*/ 58 h 311"/>
                  <a:gd name="T110" fmla="*/ 254 w 525"/>
                  <a:gd name="T111" fmla="*/ 3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0" name="Freeform 522"/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6393442" y="1948186"/>
                <a:ext cx="42229" cy="55575"/>
              </a:xfrm>
              <a:custGeom>
                <a:avLst/>
                <a:gdLst>
                  <a:gd name="T0" fmla="*/ 46 w 79"/>
                  <a:gd name="T1" fmla="*/ 0 h 38"/>
                  <a:gd name="T2" fmla="*/ 54 w 79"/>
                  <a:gd name="T3" fmla="*/ 1 h 38"/>
                  <a:gd name="T4" fmla="*/ 62 w 79"/>
                  <a:gd name="T5" fmla="*/ 3 h 38"/>
                  <a:gd name="T6" fmla="*/ 68 w 79"/>
                  <a:gd name="T7" fmla="*/ 7 h 38"/>
                  <a:gd name="T8" fmla="*/ 72 w 79"/>
                  <a:gd name="T9" fmla="*/ 12 h 38"/>
                  <a:gd name="T10" fmla="*/ 75 w 79"/>
                  <a:gd name="T11" fmla="*/ 17 h 38"/>
                  <a:gd name="T12" fmla="*/ 77 w 79"/>
                  <a:gd name="T13" fmla="*/ 22 h 38"/>
                  <a:gd name="T14" fmla="*/ 79 w 79"/>
                  <a:gd name="T15" fmla="*/ 27 h 38"/>
                  <a:gd name="T16" fmla="*/ 79 w 79"/>
                  <a:gd name="T17" fmla="*/ 32 h 38"/>
                  <a:gd name="T18" fmla="*/ 77 w 79"/>
                  <a:gd name="T19" fmla="*/ 34 h 38"/>
                  <a:gd name="T20" fmla="*/ 75 w 79"/>
                  <a:gd name="T21" fmla="*/ 35 h 38"/>
                  <a:gd name="T22" fmla="*/ 72 w 79"/>
                  <a:gd name="T23" fmla="*/ 36 h 38"/>
                  <a:gd name="T24" fmla="*/ 68 w 79"/>
                  <a:gd name="T25" fmla="*/ 37 h 38"/>
                  <a:gd name="T26" fmla="*/ 57 w 79"/>
                  <a:gd name="T27" fmla="*/ 38 h 38"/>
                  <a:gd name="T28" fmla="*/ 46 w 79"/>
                  <a:gd name="T29" fmla="*/ 38 h 38"/>
                  <a:gd name="T30" fmla="*/ 38 w 79"/>
                  <a:gd name="T31" fmla="*/ 37 h 38"/>
                  <a:gd name="T32" fmla="*/ 30 w 79"/>
                  <a:gd name="T33" fmla="*/ 36 h 38"/>
                  <a:gd name="T34" fmla="*/ 21 w 79"/>
                  <a:gd name="T35" fmla="*/ 35 h 38"/>
                  <a:gd name="T36" fmla="*/ 15 w 79"/>
                  <a:gd name="T37" fmla="*/ 32 h 38"/>
                  <a:gd name="T38" fmla="*/ 8 w 79"/>
                  <a:gd name="T39" fmla="*/ 29 h 38"/>
                  <a:gd name="T40" fmla="*/ 4 w 79"/>
                  <a:gd name="T41" fmla="*/ 25 h 38"/>
                  <a:gd name="T42" fmla="*/ 2 w 79"/>
                  <a:gd name="T43" fmla="*/ 22 h 38"/>
                  <a:gd name="T44" fmla="*/ 1 w 79"/>
                  <a:gd name="T45" fmla="*/ 20 h 38"/>
                  <a:gd name="T46" fmla="*/ 0 w 79"/>
                  <a:gd name="T47" fmla="*/ 17 h 38"/>
                  <a:gd name="T48" fmla="*/ 0 w 79"/>
                  <a:gd name="T49" fmla="*/ 13 h 38"/>
                  <a:gd name="T50" fmla="*/ 1 w 79"/>
                  <a:gd name="T51" fmla="*/ 11 h 38"/>
                  <a:gd name="T52" fmla="*/ 4 w 79"/>
                  <a:gd name="T53" fmla="*/ 9 h 38"/>
                  <a:gd name="T54" fmla="*/ 10 w 79"/>
                  <a:gd name="T55" fmla="*/ 6 h 38"/>
                  <a:gd name="T56" fmla="*/ 17 w 79"/>
                  <a:gd name="T57" fmla="*/ 4 h 38"/>
                  <a:gd name="T58" fmla="*/ 32 w 79"/>
                  <a:gd name="T59" fmla="*/ 1 h 38"/>
                  <a:gd name="T60" fmla="*/ 46 w 79"/>
                  <a:gd name="T6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1" name="Freeform 523"/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9459240" y="2245117"/>
                <a:ext cx="261817" cy="268350"/>
              </a:xfrm>
              <a:custGeom>
                <a:avLst/>
                <a:gdLst>
                  <a:gd name="T0" fmla="*/ 26 w 459"/>
                  <a:gd name="T1" fmla="*/ 45 h 511"/>
                  <a:gd name="T2" fmla="*/ 12 w 459"/>
                  <a:gd name="T3" fmla="*/ 25 h 511"/>
                  <a:gd name="T4" fmla="*/ 0 w 459"/>
                  <a:gd name="T5" fmla="*/ 0 h 511"/>
                  <a:gd name="T6" fmla="*/ 22 w 459"/>
                  <a:gd name="T7" fmla="*/ 7 h 511"/>
                  <a:gd name="T8" fmla="*/ 33 w 459"/>
                  <a:gd name="T9" fmla="*/ 6 h 511"/>
                  <a:gd name="T10" fmla="*/ 95 w 459"/>
                  <a:gd name="T11" fmla="*/ 67 h 511"/>
                  <a:gd name="T12" fmla="*/ 146 w 459"/>
                  <a:gd name="T13" fmla="*/ 123 h 511"/>
                  <a:gd name="T14" fmla="*/ 216 w 459"/>
                  <a:gd name="T15" fmla="*/ 198 h 511"/>
                  <a:gd name="T16" fmla="*/ 258 w 459"/>
                  <a:gd name="T17" fmla="*/ 237 h 511"/>
                  <a:gd name="T18" fmla="*/ 303 w 459"/>
                  <a:gd name="T19" fmla="*/ 266 h 511"/>
                  <a:gd name="T20" fmla="*/ 372 w 459"/>
                  <a:gd name="T21" fmla="*/ 311 h 511"/>
                  <a:gd name="T22" fmla="*/ 398 w 459"/>
                  <a:gd name="T23" fmla="*/ 336 h 511"/>
                  <a:gd name="T24" fmla="*/ 365 w 459"/>
                  <a:gd name="T25" fmla="*/ 320 h 511"/>
                  <a:gd name="T26" fmla="*/ 324 w 459"/>
                  <a:gd name="T27" fmla="*/ 296 h 511"/>
                  <a:gd name="T28" fmla="*/ 314 w 459"/>
                  <a:gd name="T29" fmla="*/ 298 h 511"/>
                  <a:gd name="T30" fmla="*/ 313 w 459"/>
                  <a:gd name="T31" fmla="*/ 311 h 511"/>
                  <a:gd name="T32" fmla="*/ 317 w 459"/>
                  <a:gd name="T33" fmla="*/ 337 h 511"/>
                  <a:gd name="T34" fmla="*/ 326 w 459"/>
                  <a:gd name="T35" fmla="*/ 358 h 511"/>
                  <a:gd name="T36" fmla="*/ 348 w 459"/>
                  <a:gd name="T37" fmla="*/ 387 h 511"/>
                  <a:gd name="T38" fmla="*/ 394 w 459"/>
                  <a:gd name="T39" fmla="*/ 421 h 511"/>
                  <a:gd name="T40" fmla="*/ 440 w 459"/>
                  <a:gd name="T41" fmla="*/ 458 h 511"/>
                  <a:gd name="T42" fmla="*/ 448 w 459"/>
                  <a:gd name="T43" fmla="*/ 476 h 511"/>
                  <a:gd name="T44" fmla="*/ 428 w 459"/>
                  <a:gd name="T45" fmla="*/ 469 h 511"/>
                  <a:gd name="T46" fmla="*/ 392 w 459"/>
                  <a:gd name="T47" fmla="*/ 462 h 511"/>
                  <a:gd name="T48" fmla="*/ 393 w 459"/>
                  <a:gd name="T49" fmla="*/ 494 h 511"/>
                  <a:gd name="T50" fmla="*/ 398 w 459"/>
                  <a:gd name="T51" fmla="*/ 511 h 511"/>
                  <a:gd name="T52" fmla="*/ 388 w 459"/>
                  <a:gd name="T53" fmla="*/ 492 h 511"/>
                  <a:gd name="T54" fmla="*/ 363 w 459"/>
                  <a:gd name="T55" fmla="*/ 466 h 511"/>
                  <a:gd name="T56" fmla="*/ 343 w 459"/>
                  <a:gd name="T57" fmla="*/ 445 h 511"/>
                  <a:gd name="T58" fmla="*/ 339 w 459"/>
                  <a:gd name="T59" fmla="*/ 431 h 511"/>
                  <a:gd name="T60" fmla="*/ 328 w 459"/>
                  <a:gd name="T61" fmla="*/ 411 h 511"/>
                  <a:gd name="T62" fmla="*/ 310 w 459"/>
                  <a:gd name="T63" fmla="*/ 384 h 511"/>
                  <a:gd name="T64" fmla="*/ 298 w 459"/>
                  <a:gd name="T65" fmla="*/ 367 h 511"/>
                  <a:gd name="T66" fmla="*/ 280 w 459"/>
                  <a:gd name="T67" fmla="*/ 358 h 511"/>
                  <a:gd name="T68" fmla="*/ 264 w 459"/>
                  <a:gd name="T69" fmla="*/ 343 h 511"/>
                  <a:gd name="T70" fmla="*/ 249 w 459"/>
                  <a:gd name="T71" fmla="*/ 314 h 511"/>
                  <a:gd name="T72" fmla="*/ 245 w 459"/>
                  <a:gd name="T73" fmla="*/ 293 h 511"/>
                  <a:gd name="T74" fmla="*/ 234 w 459"/>
                  <a:gd name="T75" fmla="*/ 281 h 511"/>
                  <a:gd name="T76" fmla="*/ 194 w 459"/>
                  <a:gd name="T77" fmla="*/ 244 h 511"/>
                  <a:gd name="T78" fmla="*/ 171 w 459"/>
                  <a:gd name="T79" fmla="*/ 220 h 511"/>
                  <a:gd name="T80" fmla="*/ 163 w 459"/>
                  <a:gd name="T81" fmla="*/ 203 h 511"/>
                  <a:gd name="T82" fmla="*/ 154 w 459"/>
                  <a:gd name="T83" fmla="*/ 187 h 511"/>
                  <a:gd name="T84" fmla="*/ 115 w 459"/>
                  <a:gd name="T85" fmla="*/ 155 h 511"/>
                  <a:gd name="T86" fmla="*/ 70 w 459"/>
                  <a:gd name="T87" fmla="*/ 130 h 511"/>
                  <a:gd name="T88" fmla="*/ 47 w 459"/>
                  <a:gd name="T89" fmla="*/ 110 h 511"/>
                  <a:gd name="T90" fmla="*/ 38 w 459"/>
                  <a:gd name="T91" fmla="*/ 93 h 511"/>
                  <a:gd name="T92" fmla="*/ 34 w 459"/>
                  <a:gd name="T93" fmla="*/ 7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42" name="Group 524"/>
              <p:cNvGrpSpPr>
                <a:grpSpLocks/>
              </p:cNvGrpSpPr>
              <p:nvPr>
                <p:custDataLst>
                  <p:tags r:id="rId354"/>
                </p:custDataLst>
              </p:nvPr>
            </p:nvGrpSpPr>
            <p:grpSpPr bwMode="auto">
              <a:xfrm>
                <a:off x="7850330" y="2200657"/>
                <a:ext cx="893136" cy="384263"/>
                <a:chOff x="4115" y="1551"/>
                <a:chExt cx="504" cy="244"/>
              </a:xfrm>
              <a:grpFill/>
            </p:grpSpPr>
            <p:sp>
              <p:nvSpPr>
                <p:cNvPr id="977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13 w 240"/>
                    <a:gd name="T1" fmla="*/ 247 h 259"/>
                    <a:gd name="T2" fmla="*/ 79 w 240"/>
                    <a:gd name="T3" fmla="*/ 259 h 259"/>
                    <a:gd name="T4" fmla="*/ 120 w 240"/>
                    <a:gd name="T5" fmla="*/ 240 h 259"/>
                    <a:gd name="T6" fmla="*/ 133 w 240"/>
                    <a:gd name="T7" fmla="*/ 210 h 259"/>
                    <a:gd name="T8" fmla="*/ 192 w 240"/>
                    <a:gd name="T9" fmla="*/ 161 h 259"/>
                    <a:gd name="T10" fmla="*/ 212 w 240"/>
                    <a:gd name="T11" fmla="*/ 111 h 259"/>
                    <a:gd name="T12" fmla="*/ 240 w 240"/>
                    <a:gd name="T13" fmla="*/ 26 h 259"/>
                    <a:gd name="T14" fmla="*/ 212 w 240"/>
                    <a:gd name="T15" fmla="*/ 0 h 259"/>
                    <a:gd name="T16" fmla="*/ 206 w 240"/>
                    <a:gd name="T17" fmla="*/ 32 h 259"/>
                    <a:gd name="T18" fmla="*/ 199 w 240"/>
                    <a:gd name="T19" fmla="*/ 74 h 259"/>
                    <a:gd name="T20" fmla="*/ 166 w 240"/>
                    <a:gd name="T21" fmla="*/ 105 h 259"/>
                    <a:gd name="T22" fmla="*/ 133 w 240"/>
                    <a:gd name="T23" fmla="*/ 149 h 259"/>
                    <a:gd name="T24" fmla="*/ 113 w 240"/>
                    <a:gd name="T25" fmla="*/ 179 h 259"/>
                    <a:gd name="T26" fmla="*/ 93 w 240"/>
                    <a:gd name="T27" fmla="*/ 216 h 259"/>
                    <a:gd name="T28" fmla="*/ 20 w 240"/>
                    <a:gd name="T29" fmla="*/ 222 h 259"/>
                    <a:gd name="T30" fmla="*/ 0 w 240"/>
                    <a:gd name="T31" fmla="*/ 222 h 259"/>
                    <a:gd name="T32" fmla="*/ 13 w 240"/>
                    <a:gd name="T33" fmla="*/ 247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8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33 w 259"/>
                    <a:gd name="T1" fmla="*/ 104 h 104"/>
                    <a:gd name="T2" fmla="*/ 26 w 259"/>
                    <a:gd name="T3" fmla="*/ 86 h 104"/>
                    <a:gd name="T4" fmla="*/ 52 w 259"/>
                    <a:gd name="T5" fmla="*/ 62 h 104"/>
                    <a:gd name="T6" fmla="*/ 72 w 259"/>
                    <a:gd name="T7" fmla="*/ 49 h 104"/>
                    <a:gd name="T8" fmla="*/ 126 w 259"/>
                    <a:gd name="T9" fmla="*/ 43 h 104"/>
                    <a:gd name="T10" fmla="*/ 172 w 259"/>
                    <a:gd name="T11" fmla="*/ 43 h 104"/>
                    <a:gd name="T12" fmla="*/ 246 w 259"/>
                    <a:gd name="T13" fmla="*/ 31 h 104"/>
                    <a:gd name="T14" fmla="*/ 259 w 259"/>
                    <a:gd name="T15" fmla="*/ 7 h 104"/>
                    <a:gd name="T16" fmla="*/ 246 w 259"/>
                    <a:gd name="T17" fmla="*/ 0 h 104"/>
                    <a:gd name="T18" fmla="*/ 205 w 259"/>
                    <a:gd name="T19" fmla="*/ 13 h 104"/>
                    <a:gd name="T20" fmla="*/ 152 w 259"/>
                    <a:gd name="T21" fmla="*/ 7 h 104"/>
                    <a:gd name="T22" fmla="*/ 106 w 259"/>
                    <a:gd name="T23" fmla="*/ 13 h 104"/>
                    <a:gd name="T24" fmla="*/ 52 w 259"/>
                    <a:gd name="T25" fmla="*/ 19 h 104"/>
                    <a:gd name="T26" fmla="*/ 26 w 259"/>
                    <a:gd name="T27" fmla="*/ 43 h 104"/>
                    <a:gd name="T28" fmla="*/ 0 w 259"/>
                    <a:gd name="T29" fmla="*/ 68 h 104"/>
                    <a:gd name="T30" fmla="*/ 0 w 259"/>
                    <a:gd name="T31" fmla="*/ 104 h 104"/>
                    <a:gd name="T32" fmla="*/ 33 w 259"/>
                    <a:gd name="T33" fmla="*/ 10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grpFill/>
                <a:ln w="9525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43" name="Freeform 527"/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6596140" y="2950130"/>
                <a:ext cx="705218" cy="511292"/>
              </a:xfrm>
              <a:custGeom>
                <a:avLst/>
                <a:gdLst>
                  <a:gd name="T0" fmla="*/ 932 w 1227"/>
                  <a:gd name="T1" fmla="*/ 466 h 979"/>
                  <a:gd name="T2" fmla="*/ 932 w 1227"/>
                  <a:gd name="T3" fmla="*/ 442 h 979"/>
                  <a:gd name="T4" fmla="*/ 930 w 1227"/>
                  <a:gd name="T5" fmla="*/ 412 h 979"/>
                  <a:gd name="T6" fmla="*/ 908 w 1227"/>
                  <a:gd name="T7" fmla="*/ 385 h 979"/>
                  <a:gd name="T8" fmla="*/ 899 w 1227"/>
                  <a:gd name="T9" fmla="*/ 367 h 979"/>
                  <a:gd name="T10" fmla="*/ 817 w 1227"/>
                  <a:gd name="T11" fmla="*/ 312 h 979"/>
                  <a:gd name="T12" fmla="*/ 759 w 1227"/>
                  <a:gd name="T13" fmla="*/ 263 h 979"/>
                  <a:gd name="T14" fmla="*/ 752 w 1227"/>
                  <a:gd name="T15" fmla="*/ 229 h 979"/>
                  <a:gd name="T16" fmla="*/ 726 w 1227"/>
                  <a:gd name="T17" fmla="*/ 218 h 979"/>
                  <a:gd name="T18" fmla="*/ 695 w 1227"/>
                  <a:gd name="T19" fmla="*/ 207 h 979"/>
                  <a:gd name="T20" fmla="*/ 638 w 1227"/>
                  <a:gd name="T21" fmla="*/ 196 h 979"/>
                  <a:gd name="T22" fmla="*/ 596 w 1227"/>
                  <a:gd name="T23" fmla="*/ 201 h 979"/>
                  <a:gd name="T24" fmla="*/ 570 w 1227"/>
                  <a:gd name="T25" fmla="*/ 204 h 979"/>
                  <a:gd name="T26" fmla="*/ 530 w 1227"/>
                  <a:gd name="T27" fmla="*/ 195 h 979"/>
                  <a:gd name="T28" fmla="*/ 505 w 1227"/>
                  <a:gd name="T29" fmla="*/ 179 h 979"/>
                  <a:gd name="T30" fmla="*/ 483 w 1227"/>
                  <a:gd name="T31" fmla="*/ 128 h 979"/>
                  <a:gd name="T32" fmla="*/ 465 w 1227"/>
                  <a:gd name="T33" fmla="*/ 103 h 979"/>
                  <a:gd name="T34" fmla="*/ 432 w 1227"/>
                  <a:gd name="T35" fmla="*/ 81 h 979"/>
                  <a:gd name="T36" fmla="*/ 365 w 1227"/>
                  <a:gd name="T37" fmla="*/ 61 h 979"/>
                  <a:gd name="T38" fmla="*/ 303 w 1227"/>
                  <a:gd name="T39" fmla="*/ 32 h 979"/>
                  <a:gd name="T40" fmla="*/ 214 w 1227"/>
                  <a:gd name="T41" fmla="*/ 10 h 979"/>
                  <a:gd name="T42" fmla="*/ 166 w 1227"/>
                  <a:gd name="T43" fmla="*/ 38 h 979"/>
                  <a:gd name="T44" fmla="*/ 151 w 1227"/>
                  <a:gd name="T45" fmla="*/ 61 h 979"/>
                  <a:gd name="T46" fmla="*/ 153 w 1227"/>
                  <a:gd name="T47" fmla="*/ 90 h 979"/>
                  <a:gd name="T48" fmla="*/ 169 w 1227"/>
                  <a:gd name="T49" fmla="*/ 118 h 979"/>
                  <a:gd name="T50" fmla="*/ 151 w 1227"/>
                  <a:gd name="T51" fmla="*/ 150 h 979"/>
                  <a:gd name="T52" fmla="*/ 95 w 1227"/>
                  <a:gd name="T53" fmla="*/ 186 h 979"/>
                  <a:gd name="T54" fmla="*/ 54 w 1227"/>
                  <a:gd name="T55" fmla="*/ 190 h 979"/>
                  <a:gd name="T56" fmla="*/ 9 w 1227"/>
                  <a:gd name="T57" fmla="*/ 183 h 979"/>
                  <a:gd name="T58" fmla="*/ 0 w 1227"/>
                  <a:gd name="T59" fmla="*/ 236 h 979"/>
                  <a:gd name="T60" fmla="*/ 9 w 1227"/>
                  <a:gd name="T61" fmla="*/ 269 h 979"/>
                  <a:gd name="T62" fmla="*/ 25 w 1227"/>
                  <a:gd name="T63" fmla="*/ 282 h 979"/>
                  <a:gd name="T64" fmla="*/ 40 w 1227"/>
                  <a:gd name="T65" fmla="*/ 307 h 979"/>
                  <a:gd name="T66" fmla="*/ 83 w 1227"/>
                  <a:gd name="T67" fmla="*/ 364 h 979"/>
                  <a:gd name="T68" fmla="*/ 102 w 1227"/>
                  <a:gd name="T69" fmla="*/ 414 h 979"/>
                  <a:gd name="T70" fmla="*/ 121 w 1227"/>
                  <a:gd name="T71" fmla="*/ 427 h 979"/>
                  <a:gd name="T72" fmla="*/ 133 w 1227"/>
                  <a:gd name="T73" fmla="*/ 438 h 979"/>
                  <a:gd name="T74" fmla="*/ 148 w 1227"/>
                  <a:gd name="T75" fmla="*/ 469 h 979"/>
                  <a:gd name="T76" fmla="*/ 224 w 1227"/>
                  <a:gd name="T77" fmla="*/ 546 h 979"/>
                  <a:gd name="T78" fmla="*/ 249 w 1227"/>
                  <a:gd name="T79" fmla="*/ 585 h 979"/>
                  <a:gd name="T80" fmla="*/ 256 w 1227"/>
                  <a:gd name="T81" fmla="*/ 624 h 979"/>
                  <a:gd name="T82" fmla="*/ 266 w 1227"/>
                  <a:gd name="T83" fmla="*/ 659 h 979"/>
                  <a:gd name="T84" fmla="*/ 299 w 1227"/>
                  <a:gd name="T85" fmla="*/ 701 h 979"/>
                  <a:gd name="T86" fmla="*/ 361 w 1227"/>
                  <a:gd name="T87" fmla="*/ 761 h 979"/>
                  <a:gd name="T88" fmla="*/ 388 w 1227"/>
                  <a:gd name="T89" fmla="*/ 814 h 979"/>
                  <a:gd name="T90" fmla="*/ 425 w 1227"/>
                  <a:gd name="T91" fmla="*/ 867 h 979"/>
                  <a:gd name="T92" fmla="*/ 483 w 1227"/>
                  <a:gd name="T93" fmla="*/ 938 h 979"/>
                  <a:gd name="T94" fmla="*/ 528 w 1227"/>
                  <a:gd name="T95" fmla="*/ 979 h 979"/>
                  <a:gd name="T96" fmla="*/ 543 w 1227"/>
                  <a:gd name="T97" fmla="*/ 953 h 979"/>
                  <a:gd name="T98" fmla="*/ 546 w 1227"/>
                  <a:gd name="T99" fmla="*/ 909 h 979"/>
                  <a:gd name="T100" fmla="*/ 570 w 1227"/>
                  <a:gd name="T101" fmla="*/ 896 h 979"/>
                  <a:gd name="T102" fmla="*/ 605 w 1227"/>
                  <a:gd name="T103" fmla="*/ 895 h 979"/>
                  <a:gd name="T104" fmla="*/ 660 w 1227"/>
                  <a:gd name="T105" fmla="*/ 909 h 979"/>
                  <a:gd name="T106" fmla="*/ 708 w 1227"/>
                  <a:gd name="T107" fmla="*/ 943 h 979"/>
                  <a:gd name="T108" fmla="*/ 787 w 1227"/>
                  <a:gd name="T109" fmla="*/ 838 h 979"/>
                  <a:gd name="T110" fmla="*/ 1199 w 1227"/>
                  <a:gd name="T111" fmla="*/ 567 h 979"/>
                  <a:gd name="T112" fmla="*/ 940 w 1227"/>
                  <a:gd name="T113" fmla="*/ 468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4" name="Freeform 528"/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5897257" y="2494414"/>
                <a:ext cx="76011" cy="57162"/>
              </a:xfrm>
              <a:custGeom>
                <a:avLst/>
                <a:gdLst>
                  <a:gd name="T0" fmla="*/ 146 w 146"/>
                  <a:gd name="T1" fmla="*/ 18 h 81"/>
                  <a:gd name="T2" fmla="*/ 138 w 146"/>
                  <a:gd name="T3" fmla="*/ 24 h 81"/>
                  <a:gd name="T4" fmla="*/ 130 w 146"/>
                  <a:gd name="T5" fmla="*/ 29 h 81"/>
                  <a:gd name="T6" fmla="*/ 123 w 146"/>
                  <a:gd name="T7" fmla="*/ 35 h 81"/>
                  <a:gd name="T8" fmla="*/ 118 w 146"/>
                  <a:gd name="T9" fmla="*/ 41 h 81"/>
                  <a:gd name="T10" fmla="*/ 108 w 146"/>
                  <a:gd name="T11" fmla="*/ 53 h 81"/>
                  <a:gd name="T12" fmla="*/ 98 w 146"/>
                  <a:gd name="T13" fmla="*/ 64 h 81"/>
                  <a:gd name="T14" fmla="*/ 93 w 146"/>
                  <a:gd name="T15" fmla="*/ 69 h 81"/>
                  <a:gd name="T16" fmla="*/ 85 w 146"/>
                  <a:gd name="T17" fmla="*/ 73 h 81"/>
                  <a:gd name="T18" fmla="*/ 76 w 146"/>
                  <a:gd name="T19" fmla="*/ 77 h 81"/>
                  <a:gd name="T20" fmla="*/ 66 w 146"/>
                  <a:gd name="T21" fmla="*/ 80 h 81"/>
                  <a:gd name="T22" fmla="*/ 53 w 146"/>
                  <a:gd name="T23" fmla="*/ 81 h 81"/>
                  <a:gd name="T24" fmla="*/ 39 w 146"/>
                  <a:gd name="T25" fmla="*/ 80 h 81"/>
                  <a:gd name="T26" fmla="*/ 21 w 146"/>
                  <a:gd name="T27" fmla="*/ 77 h 81"/>
                  <a:gd name="T28" fmla="*/ 0 w 146"/>
                  <a:gd name="T29" fmla="*/ 74 h 81"/>
                  <a:gd name="T30" fmla="*/ 0 w 146"/>
                  <a:gd name="T31" fmla="*/ 62 h 81"/>
                  <a:gd name="T32" fmla="*/ 0 w 146"/>
                  <a:gd name="T33" fmla="*/ 49 h 81"/>
                  <a:gd name="T34" fmla="*/ 0 w 146"/>
                  <a:gd name="T35" fmla="*/ 34 h 81"/>
                  <a:gd name="T36" fmla="*/ 0 w 146"/>
                  <a:gd name="T37" fmla="*/ 18 h 81"/>
                  <a:gd name="T38" fmla="*/ 14 w 146"/>
                  <a:gd name="T39" fmla="*/ 18 h 81"/>
                  <a:gd name="T40" fmla="*/ 22 w 146"/>
                  <a:gd name="T41" fmla="*/ 18 h 81"/>
                  <a:gd name="T42" fmla="*/ 31 w 146"/>
                  <a:gd name="T43" fmla="*/ 18 h 81"/>
                  <a:gd name="T44" fmla="*/ 40 w 146"/>
                  <a:gd name="T45" fmla="*/ 18 h 81"/>
                  <a:gd name="T46" fmla="*/ 52 w 146"/>
                  <a:gd name="T47" fmla="*/ 18 h 81"/>
                  <a:gd name="T48" fmla="*/ 63 w 146"/>
                  <a:gd name="T49" fmla="*/ 16 h 81"/>
                  <a:gd name="T50" fmla="*/ 73 w 146"/>
                  <a:gd name="T51" fmla="*/ 14 h 81"/>
                  <a:gd name="T52" fmla="*/ 83 w 146"/>
                  <a:gd name="T53" fmla="*/ 11 h 81"/>
                  <a:gd name="T54" fmla="*/ 101 w 146"/>
                  <a:gd name="T55" fmla="*/ 5 h 81"/>
                  <a:gd name="T56" fmla="*/ 120 w 146"/>
                  <a:gd name="T57" fmla="*/ 0 h 81"/>
                  <a:gd name="T58" fmla="*/ 129 w 146"/>
                  <a:gd name="T59" fmla="*/ 4 h 81"/>
                  <a:gd name="T60" fmla="*/ 135 w 146"/>
                  <a:gd name="T61" fmla="*/ 9 h 81"/>
                  <a:gd name="T62" fmla="*/ 141 w 146"/>
                  <a:gd name="T63" fmla="*/ 14 h 81"/>
                  <a:gd name="T64" fmla="*/ 146 w 146"/>
                  <a:gd name="T65" fmla="*/ 1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5" name="Freeform 529"/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5550982" y="2707187"/>
                <a:ext cx="21114" cy="57162"/>
              </a:xfrm>
              <a:custGeom>
                <a:avLst/>
                <a:gdLst>
                  <a:gd name="T0" fmla="*/ 34 w 34"/>
                  <a:gd name="T1" fmla="*/ 49 h 49"/>
                  <a:gd name="T2" fmla="*/ 34 w 34"/>
                  <a:gd name="T3" fmla="*/ 34 h 49"/>
                  <a:gd name="T4" fmla="*/ 34 w 34"/>
                  <a:gd name="T5" fmla="*/ 25 h 49"/>
                  <a:gd name="T6" fmla="*/ 33 w 34"/>
                  <a:gd name="T7" fmla="*/ 21 h 49"/>
                  <a:gd name="T8" fmla="*/ 33 w 34"/>
                  <a:gd name="T9" fmla="*/ 17 h 49"/>
                  <a:gd name="T10" fmla="*/ 31 w 34"/>
                  <a:gd name="T11" fmla="*/ 15 h 49"/>
                  <a:gd name="T12" fmla="*/ 30 w 34"/>
                  <a:gd name="T13" fmla="*/ 12 h 49"/>
                  <a:gd name="T14" fmla="*/ 25 w 34"/>
                  <a:gd name="T15" fmla="*/ 8 h 49"/>
                  <a:gd name="T16" fmla="*/ 21 w 34"/>
                  <a:gd name="T17" fmla="*/ 0 h 49"/>
                  <a:gd name="T18" fmla="*/ 8 w 34"/>
                  <a:gd name="T19" fmla="*/ 0 h 49"/>
                  <a:gd name="T20" fmla="*/ 0 w 34"/>
                  <a:gd name="T21" fmla="*/ 0 h 49"/>
                  <a:gd name="T22" fmla="*/ 3 w 34"/>
                  <a:gd name="T23" fmla="*/ 11 h 49"/>
                  <a:gd name="T24" fmla="*/ 7 w 34"/>
                  <a:gd name="T25" fmla="*/ 20 h 49"/>
                  <a:gd name="T26" fmla="*/ 10 w 34"/>
                  <a:gd name="T27" fmla="*/ 27 h 49"/>
                  <a:gd name="T28" fmla="*/ 14 w 34"/>
                  <a:gd name="T29" fmla="*/ 34 h 49"/>
                  <a:gd name="T30" fmla="*/ 19 w 34"/>
                  <a:gd name="T31" fmla="*/ 39 h 49"/>
                  <a:gd name="T32" fmla="*/ 24 w 34"/>
                  <a:gd name="T33" fmla="*/ 43 h 49"/>
                  <a:gd name="T34" fmla="*/ 29 w 34"/>
                  <a:gd name="T35" fmla="*/ 46 h 49"/>
                  <a:gd name="T36" fmla="*/ 34 w 34"/>
                  <a:gd name="T3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6" name="Freeform 530"/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5008344" y="3053342"/>
                <a:ext cx="38005" cy="57162"/>
              </a:xfrm>
              <a:custGeom>
                <a:avLst/>
                <a:gdLst>
                  <a:gd name="T0" fmla="*/ 60 w 60"/>
                  <a:gd name="T1" fmla="*/ 0 h 74"/>
                  <a:gd name="T2" fmla="*/ 56 w 60"/>
                  <a:gd name="T3" fmla="*/ 4 h 74"/>
                  <a:gd name="T4" fmla="*/ 51 w 60"/>
                  <a:gd name="T5" fmla="*/ 10 h 74"/>
                  <a:gd name="T6" fmla="*/ 48 w 60"/>
                  <a:gd name="T7" fmla="*/ 15 h 74"/>
                  <a:gd name="T8" fmla="*/ 46 w 60"/>
                  <a:gd name="T9" fmla="*/ 21 h 74"/>
                  <a:gd name="T10" fmla="*/ 41 w 60"/>
                  <a:gd name="T11" fmla="*/ 31 h 74"/>
                  <a:gd name="T12" fmla="*/ 37 w 60"/>
                  <a:gd name="T13" fmla="*/ 42 h 74"/>
                  <a:gd name="T14" fmla="*/ 35 w 60"/>
                  <a:gd name="T15" fmla="*/ 47 h 74"/>
                  <a:gd name="T16" fmla="*/ 32 w 60"/>
                  <a:gd name="T17" fmla="*/ 51 h 74"/>
                  <a:gd name="T18" fmla="*/ 29 w 60"/>
                  <a:gd name="T19" fmla="*/ 56 h 74"/>
                  <a:gd name="T20" fmla="*/ 25 w 60"/>
                  <a:gd name="T21" fmla="*/ 60 h 74"/>
                  <a:gd name="T22" fmla="*/ 20 w 60"/>
                  <a:gd name="T23" fmla="*/ 65 h 74"/>
                  <a:gd name="T24" fmla="*/ 15 w 60"/>
                  <a:gd name="T25" fmla="*/ 69 h 74"/>
                  <a:gd name="T26" fmla="*/ 8 w 60"/>
                  <a:gd name="T27" fmla="*/ 72 h 74"/>
                  <a:gd name="T28" fmla="*/ 0 w 60"/>
                  <a:gd name="T29" fmla="*/ 74 h 74"/>
                  <a:gd name="T30" fmla="*/ 5 w 60"/>
                  <a:gd name="T31" fmla="*/ 60 h 74"/>
                  <a:gd name="T32" fmla="*/ 12 w 60"/>
                  <a:gd name="T33" fmla="*/ 47 h 74"/>
                  <a:gd name="T34" fmla="*/ 19 w 60"/>
                  <a:gd name="T35" fmla="*/ 34 h 74"/>
                  <a:gd name="T36" fmla="*/ 27 w 60"/>
                  <a:gd name="T37" fmla="*/ 23 h 74"/>
                  <a:gd name="T38" fmla="*/ 36 w 60"/>
                  <a:gd name="T39" fmla="*/ 14 h 74"/>
                  <a:gd name="T40" fmla="*/ 43 w 60"/>
                  <a:gd name="T41" fmla="*/ 6 h 74"/>
                  <a:gd name="T42" fmla="*/ 48 w 60"/>
                  <a:gd name="T43" fmla="*/ 3 h 74"/>
                  <a:gd name="T44" fmla="*/ 52 w 60"/>
                  <a:gd name="T45" fmla="*/ 1 h 74"/>
                  <a:gd name="T46" fmla="*/ 56 w 60"/>
                  <a:gd name="T47" fmla="*/ 0 h 74"/>
                  <a:gd name="T48" fmla="*/ 60 w 60"/>
                  <a:gd name="T4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7" name="Freeform 531"/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4930221" y="3069220"/>
                <a:ext cx="31672" cy="60339"/>
              </a:xfrm>
              <a:custGeom>
                <a:avLst/>
                <a:gdLst>
                  <a:gd name="T0" fmla="*/ 13 w 47"/>
                  <a:gd name="T1" fmla="*/ 8 h 45"/>
                  <a:gd name="T2" fmla="*/ 22 w 47"/>
                  <a:gd name="T3" fmla="*/ 8 h 45"/>
                  <a:gd name="T4" fmla="*/ 28 w 47"/>
                  <a:gd name="T5" fmla="*/ 6 h 45"/>
                  <a:gd name="T6" fmla="*/ 32 w 47"/>
                  <a:gd name="T7" fmla="*/ 5 h 45"/>
                  <a:gd name="T8" fmla="*/ 35 w 47"/>
                  <a:gd name="T9" fmla="*/ 3 h 45"/>
                  <a:gd name="T10" fmla="*/ 37 w 47"/>
                  <a:gd name="T11" fmla="*/ 1 h 45"/>
                  <a:gd name="T12" fmla="*/ 39 w 47"/>
                  <a:gd name="T13" fmla="*/ 0 h 45"/>
                  <a:gd name="T14" fmla="*/ 43 w 47"/>
                  <a:gd name="T15" fmla="*/ 1 h 45"/>
                  <a:gd name="T16" fmla="*/ 47 w 47"/>
                  <a:gd name="T17" fmla="*/ 2 h 45"/>
                  <a:gd name="T18" fmla="*/ 46 w 47"/>
                  <a:gd name="T19" fmla="*/ 7 h 45"/>
                  <a:gd name="T20" fmla="*/ 46 w 47"/>
                  <a:gd name="T21" fmla="*/ 11 h 45"/>
                  <a:gd name="T22" fmla="*/ 44 w 47"/>
                  <a:gd name="T23" fmla="*/ 15 h 45"/>
                  <a:gd name="T24" fmla="*/ 43 w 47"/>
                  <a:gd name="T25" fmla="*/ 19 h 45"/>
                  <a:gd name="T26" fmla="*/ 37 w 47"/>
                  <a:gd name="T27" fmla="*/ 26 h 45"/>
                  <a:gd name="T28" fmla="*/ 30 w 47"/>
                  <a:gd name="T29" fmla="*/ 32 h 45"/>
                  <a:gd name="T30" fmla="*/ 24 w 47"/>
                  <a:gd name="T31" fmla="*/ 38 h 45"/>
                  <a:gd name="T32" fmla="*/ 16 w 47"/>
                  <a:gd name="T33" fmla="*/ 42 h 45"/>
                  <a:gd name="T34" fmla="*/ 7 w 47"/>
                  <a:gd name="T35" fmla="*/ 45 h 45"/>
                  <a:gd name="T36" fmla="*/ 0 w 47"/>
                  <a:gd name="T37" fmla="*/ 45 h 45"/>
                  <a:gd name="T38" fmla="*/ 2 w 47"/>
                  <a:gd name="T39" fmla="*/ 38 h 45"/>
                  <a:gd name="T40" fmla="*/ 6 w 47"/>
                  <a:gd name="T41" fmla="*/ 26 h 45"/>
                  <a:gd name="T42" fmla="*/ 11 w 47"/>
                  <a:gd name="T43" fmla="*/ 15 h 45"/>
                  <a:gd name="T44" fmla="*/ 13 w 47"/>
                  <a:gd name="T45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8" name="Freeform 532"/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896438" y="3062868"/>
                <a:ext cx="8446" cy="57162"/>
              </a:xfrm>
              <a:custGeom>
                <a:avLst/>
                <a:gdLst>
                  <a:gd name="T0" fmla="*/ 6 w 26"/>
                  <a:gd name="T1" fmla="*/ 36 h 36"/>
                  <a:gd name="T2" fmla="*/ 5 w 26"/>
                  <a:gd name="T3" fmla="*/ 30 h 36"/>
                  <a:gd name="T4" fmla="*/ 3 w 26"/>
                  <a:gd name="T5" fmla="*/ 20 h 36"/>
                  <a:gd name="T6" fmla="*/ 1 w 26"/>
                  <a:gd name="T7" fmla="*/ 10 h 36"/>
                  <a:gd name="T8" fmla="*/ 0 w 26"/>
                  <a:gd name="T9" fmla="*/ 0 h 36"/>
                  <a:gd name="T10" fmla="*/ 26 w 26"/>
                  <a:gd name="T11" fmla="*/ 0 h 36"/>
                  <a:gd name="T12" fmla="*/ 25 w 26"/>
                  <a:gd name="T13" fmla="*/ 12 h 36"/>
                  <a:gd name="T14" fmla="*/ 24 w 26"/>
                  <a:gd name="T15" fmla="*/ 23 h 36"/>
                  <a:gd name="T16" fmla="*/ 23 w 26"/>
                  <a:gd name="T17" fmla="*/ 27 h 36"/>
                  <a:gd name="T18" fmla="*/ 23 w 26"/>
                  <a:gd name="T19" fmla="*/ 31 h 36"/>
                  <a:gd name="T20" fmla="*/ 24 w 26"/>
                  <a:gd name="T21" fmla="*/ 34 h 36"/>
                  <a:gd name="T22" fmla="*/ 26 w 26"/>
                  <a:gd name="T23" fmla="*/ 36 h 36"/>
                  <a:gd name="T24" fmla="*/ 6 w 26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9" name="Freeform 533"/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6587694" y="2791343"/>
                <a:ext cx="232257" cy="158787"/>
              </a:xfrm>
              <a:custGeom>
                <a:avLst/>
                <a:gdLst>
                  <a:gd name="T0" fmla="*/ 26 w 405"/>
                  <a:gd name="T1" fmla="*/ 162 h 302"/>
                  <a:gd name="T2" fmla="*/ 28 w 405"/>
                  <a:gd name="T3" fmla="*/ 156 h 302"/>
                  <a:gd name="T4" fmla="*/ 30 w 405"/>
                  <a:gd name="T5" fmla="*/ 154 h 302"/>
                  <a:gd name="T6" fmla="*/ 28 w 405"/>
                  <a:gd name="T7" fmla="*/ 151 h 302"/>
                  <a:gd name="T8" fmla="*/ 18 w 405"/>
                  <a:gd name="T9" fmla="*/ 143 h 302"/>
                  <a:gd name="T10" fmla="*/ 6 w 405"/>
                  <a:gd name="T11" fmla="*/ 127 h 302"/>
                  <a:gd name="T12" fmla="*/ 2 w 405"/>
                  <a:gd name="T13" fmla="*/ 116 h 302"/>
                  <a:gd name="T14" fmla="*/ 5 w 405"/>
                  <a:gd name="T15" fmla="*/ 112 h 302"/>
                  <a:gd name="T16" fmla="*/ 6 w 405"/>
                  <a:gd name="T17" fmla="*/ 104 h 302"/>
                  <a:gd name="T18" fmla="*/ 17 w 405"/>
                  <a:gd name="T19" fmla="*/ 97 h 302"/>
                  <a:gd name="T20" fmla="*/ 34 w 405"/>
                  <a:gd name="T21" fmla="*/ 93 h 302"/>
                  <a:gd name="T22" fmla="*/ 47 w 405"/>
                  <a:gd name="T23" fmla="*/ 88 h 302"/>
                  <a:gd name="T24" fmla="*/ 57 w 405"/>
                  <a:gd name="T25" fmla="*/ 82 h 302"/>
                  <a:gd name="T26" fmla="*/ 67 w 405"/>
                  <a:gd name="T27" fmla="*/ 70 h 302"/>
                  <a:gd name="T28" fmla="*/ 75 w 405"/>
                  <a:gd name="T29" fmla="*/ 52 h 302"/>
                  <a:gd name="T30" fmla="*/ 84 w 405"/>
                  <a:gd name="T31" fmla="*/ 47 h 302"/>
                  <a:gd name="T32" fmla="*/ 95 w 405"/>
                  <a:gd name="T33" fmla="*/ 52 h 302"/>
                  <a:gd name="T34" fmla="*/ 117 w 405"/>
                  <a:gd name="T35" fmla="*/ 54 h 302"/>
                  <a:gd name="T36" fmla="*/ 169 w 405"/>
                  <a:gd name="T37" fmla="*/ 46 h 302"/>
                  <a:gd name="T38" fmla="*/ 212 w 405"/>
                  <a:gd name="T39" fmla="*/ 43 h 302"/>
                  <a:gd name="T40" fmla="*/ 234 w 405"/>
                  <a:gd name="T41" fmla="*/ 41 h 302"/>
                  <a:gd name="T42" fmla="*/ 264 w 405"/>
                  <a:gd name="T43" fmla="*/ 35 h 302"/>
                  <a:gd name="T44" fmla="*/ 318 w 405"/>
                  <a:gd name="T45" fmla="*/ 17 h 302"/>
                  <a:gd name="T46" fmla="*/ 359 w 405"/>
                  <a:gd name="T47" fmla="*/ 4 h 302"/>
                  <a:gd name="T48" fmla="*/ 372 w 405"/>
                  <a:gd name="T49" fmla="*/ 3 h 302"/>
                  <a:gd name="T50" fmla="*/ 385 w 405"/>
                  <a:gd name="T51" fmla="*/ 3 h 302"/>
                  <a:gd name="T52" fmla="*/ 398 w 405"/>
                  <a:gd name="T53" fmla="*/ 1 h 302"/>
                  <a:gd name="T54" fmla="*/ 395 w 405"/>
                  <a:gd name="T55" fmla="*/ 8 h 302"/>
                  <a:gd name="T56" fmla="*/ 360 w 405"/>
                  <a:gd name="T57" fmla="*/ 41 h 302"/>
                  <a:gd name="T58" fmla="*/ 344 w 405"/>
                  <a:gd name="T59" fmla="*/ 57 h 302"/>
                  <a:gd name="T60" fmla="*/ 339 w 405"/>
                  <a:gd name="T61" fmla="*/ 64 h 302"/>
                  <a:gd name="T62" fmla="*/ 339 w 405"/>
                  <a:gd name="T63" fmla="*/ 96 h 302"/>
                  <a:gd name="T64" fmla="*/ 337 w 405"/>
                  <a:gd name="T65" fmla="*/ 149 h 302"/>
                  <a:gd name="T66" fmla="*/ 335 w 405"/>
                  <a:gd name="T67" fmla="*/ 180 h 302"/>
                  <a:gd name="T68" fmla="*/ 326 w 405"/>
                  <a:gd name="T69" fmla="*/ 198 h 302"/>
                  <a:gd name="T70" fmla="*/ 305 w 405"/>
                  <a:gd name="T71" fmla="*/ 210 h 302"/>
                  <a:gd name="T72" fmla="*/ 265 w 405"/>
                  <a:gd name="T73" fmla="*/ 227 h 302"/>
                  <a:gd name="T74" fmla="*/ 106 w 405"/>
                  <a:gd name="T75" fmla="*/ 302 h 302"/>
                  <a:gd name="T76" fmla="*/ 57 w 405"/>
                  <a:gd name="T77" fmla="*/ 260 h 302"/>
                  <a:gd name="T78" fmla="*/ 70 w 405"/>
                  <a:gd name="T79" fmla="*/ 228 h 302"/>
                  <a:gd name="T80" fmla="*/ 81 w 405"/>
                  <a:gd name="T81" fmla="*/ 209 h 302"/>
                  <a:gd name="T82" fmla="*/ 86 w 405"/>
                  <a:gd name="T83" fmla="*/ 172 h 302"/>
                  <a:gd name="T84" fmla="*/ 71 w 405"/>
                  <a:gd name="T85" fmla="*/ 173 h 302"/>
                  <a:gd name="T86" fmla="*/ 57 w 405"/>
                  <a:gd name="T87" fmla="*/ 169 h 302"/>
                  <a:gd name="T88" fmla="*/ 41 w 405"/>
                  <a:gd name="T89" fmla="*/ 165 h 302"/>
                  <a:gd name="T90" fmla="*/ 26 w 405"/>
                  <a:gd name="T91" fmla="*/ 16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0" name="Freeform 534"/>
              <p:cNvSpPr>
                <a:spLocks/>
              </p:cNvSpPr>
              <p:nvPr>
                <p:custDataLst>
                  <p:tags r:id="rId362"/>
                </p:custDataLst>
              </p:nvPr>
            </p:nvSpPr>
            <p:spPr bwMode="auto">
              <a:xfrm>
                <a:off x="9372672" y="3172431"/>
                <a:ext cx="57008" cy="79393"/>
              </a:xfrm>
              <a:custGeom>
                <a:avLst/>
                <a:gdLst>
                  <a:gd name="T0" fmla="*/ 100 w 100"/>
                  <a:gd name="T1" fmla="*/ 1 h 155"/>
                  <a:gd name="T2" fmla="*/ 100 w 100"/>
                  <a:gd name="T3" fmla="*/ 30 h 155"/>
                  <a:gd name="T4" fmla="*/ 100 w 100"/>
                  <a:gd name="T5" fmla="*/ 55 h 155"/>
                  <a:gd name="T6" fmla="*/ 100 w 100"/>
                  <a:gd name="T7" fmla="*/ 78 h 155"/>
                  <a:gd name="T8" fmla="*/ 100 w 100"/>
                  <a:gd name="T9" fmla="*/ 99 h 155"/>
                  <a:gd name="T10" fmla="*/ 98 w 100"/>
                  <a:gd name="T11" fmla="*/ 109 h 155"/>
                  <a:gd name="T12" fmla="*/ 94 w 100"/>
                  <a:gd name="T13" fmla="*/ 118 h 155"/>
                  <a:gd name="T14" fmla="*/ 89 w 100"/>
                  <a:gd name="T15" fmla="*/ 128 h 155"/>
                  <a:gd name="T16" fmla="*/ 82 w 100"/>
                  <a:gd name="T17" fmla="*/ 137 h 155"/>
                  <a:gd name="T18" fmla="*/ 73 w 100"/>
                  <a:gd name="T19" fmla="*/ 144 h 155"/>
                  <a:gd name="T20" fmla="*/ 62 w 100"/>
                  <a:gd name="T21" fmla="*/ 150 h 155"/>
                  <a:gd name="T22" fmla="*/ 57 w 100"/>
                  <a:gd name="T23" fmla="*/ 152 h 155"/>
                  <a:gd name="T24" fmla="*/ 51 w 100"/>
                  <a:gd name="T25" fmla="*/ 154 h 155"/>
                  <a:gd name="T26" fmla="*/ 46 w 100"/>
                  <a:gd name="T27" fmla="*/ 155 h 155"/>
                  <a:gd name="T28" fmla="*/ 39 w 100"/>
                  <a:gd name="T29" fmla="*/ 155 h 155"/>
                  <a:gd name="T30" fmla="*/ 35 w 100"/>
                  <a:gd name="T31" fmla="*/ 154 h 155"/>
                  <a:gd name="T32" fmla="*/ 30 w 100"/>
                  <a:gd name="T33" fmla="*/ 153 h 155"/>
                  <a:gd name="T34" fmla="*/ 26 w 100"/>
                  <a:gd name="T35" fmla="*/ 151 h 155"/>
                  <a:gd name="T36" fmla="*/ 22 w 100"/>
                  <a:gd name="T37" fmla="*/ 149 h 155"/>
                  <a:gd name="T38" fmla="*/ 15 w 100"/>
                  <a:gd name="T39" fmla="*/ 142 h 155"/>
                  <a:gd name="T40" fmla="*/ 9 w 100"/>
                  <a:gd name="T41" fmla="*/ 134 h 155"/>
                  <a:gd name="T42" fmla="*/ 5 w 100"/>
                  <a:gd name="T43" fmla="*/ 124 h 155"/>
                  <a:gd name="T44" fmla="*/ 2 w 100"/>
                  <a:gd name="T45" fmla="*/ 113 h 155"/>
                  <a:gd name="T46" fmla="*/ 0 w 100"/>
                  <a:gd name="T47" fmla="*/ 103 h 155"/>
                  <a:gd name="T48" fmla="*/ 0 w 100"/>
                  <a:gd name="T49" fmla="*/ 93 h 155"/>
                  <a:gd name="T50" fmla="*/ 0 w 100"/>
                  <a:gd name="T51" fmla="*/ 77 h 155"/>
                  <a:gd name="T52" fmla="*/ 0 w 100"/>
                  <a:gd name="T53" fmla="*/ 65 h 155"/>
                  <a:gd name="T54" fmla="*/ 0 w 100"/>
                  <a:gd name="T55" fmla="*/ 56 h 155"/>
                  <a:gd name="T56" fmla="*/ 0 w 100"/>
                  <a:gd name="T57" fmla="*/ 50 h 155"/>
                  <a:gd name="T58" fmla="*/ 15 w 100"/>
                  <a:gd name="T59" fmla="*/ 50 h 155"/>
                  <a:gd name="T60" fmla="*/ 26 w 100"/>
                  <a:gd name="T61" fmla="*/ 50 h 155"/>
                  <a:gd name="T62" fmla="*/ 26 w 100"/>
                  <a:gd name="T63" fmla="*/ 40 h 155"/>
                  <a:gd name="T64" fmla="*/ 27 w 100"/>
                  <a:gd name="T65" fmla="*/ 31 h 155"/>
                  <a:gd name="T66" fmla="*/ 29 w 100"/>
                  <a:gd name="T67" fmla="*/ 23 h 155"/>
                  <a:gd name="T68" fmla="*/ 31 w 100"/>
                  <a:gd name="T69" fmla="*/ 17 h 155"/>
                  <a:gd name="T70" fmla="*/ 35 w 100"/>
                  <a:gd name="T71" fmla="*/ 12 h 155"/>
                  <a:gd name="T72" fmla="*/ 39 w 100"/>
                  <a:gd name="T73" fmla="*/ 7 h 155"/>
                  <a:gd name="T74" fmla="*/ 42 w 100"/>
                  <a:gd name="T75" fmla="*/ 4 h 155"/>
                  <a:gd name="T76" fmla="*/ 48 w 100"/>
                  <a:gd name="T77" fmla="*/ 2 h 155"/>
                  <a:gd name="T78" fmla="*/ 59 w 100"/>
                  <a:gd name="T79" fmla="*/ 0 h 155"/>
                  <a:gd name="T80" fmla="*/ 71 w 100"/>
                  <a:gd name="T81" fmla="*/ 0 h 155"/>
                  <a:gd name="T82" fmla="*/ 84 w 100"/>
                  <a:gd name="T83" fmla="*/ 0 h 155"/>
                  <a:gd name="T84" fmla="*/ 100 w 100"/>
                  <a:gd name="T85" fmla="*/ 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51" name="Group 535"/>
              <p:cNvGrpSpPr>
                <a:grpSpLocks/>
              </p:cNvGrpSpPr>
              <p:nvPr>
                <p:custDataLst>
                  <p:tags r:id="rId363"/>
                </p:custDataLst>
              </p:nvPr>
            </p:nvGrpSpPr>
            <p:grpSpPr bwMode="auto">
              <a:xfrm>
                <a:off x="6243531" y="2640496"/>
                <a:ext cx="641875" cy="201659"/>
                <a:chOff x="3289" y="1830"/>
                <a:chExt cx="363" cy="128"/>
              </a:xfrm>
              <a:grpFill/>
            </p:grpSpPr>
            <p:sp>
              <p:nvSpPr>
                <p:cNvPr id="972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13 w 13"/>
                    <a:gd name="T1" fmla="*/ 0 h 7"/>
                    <a:gd name="T2" fmla="*/ 12 w 13"/>
                    <a:gd name="T3" fmla="*/ 1 h 7"/>
                    <a:gd name="T4" fmla="*/ 9 w 13"/>
                    <a:gd name="T5" fmla="*/ 3 h 7"/>
                    <a:gd name="T6" fmla="*/ 4 w 13"/>
                    <a:gd name="T7" fmla="*/ 5 h 7"/>
                    <a:gd name="T8" fmla="*/ 0 w 13"/>
                    <a:gd name="T9" fmla="*/ 7 h 7"/>
                    <a:gd name="T10" fmla="*/ 7 w 13"/>
                    <a:gd name="T11" fmla="*/ 3 h 7"/>
                    <a:gd name="T12" fmla="*/ 13 w 13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3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6 h 8"/>
                    <a:gd name="T2" fmla="*/ 7 w 34"/>
                    <a:gd name="T3" fmla="*/ 5 h 8"/>
                    <a:gd name="T4" fmla="*/ 15 w 34"/>
                    <a:gd name="T5" fmla="*/ 3 h 8"/>
                    <a:gd name="T6" fmla="*/ 25 w 34"/>
                    <a:gd name="T7" fmla="*/ 1 h 8"/>
                    <a:gd name="T8" fmla="*/ 34 w 34"/>
                    <a:gd name="T9" fmla="*/ 0 h 8"/>
                    <a:gd name="T10" fmla="*/ 31 w 34"/>
                    <a:gd name="T11" fmla="*/ 2 h 8"/>
                    <a:gd name="T12" fmla="*/ 27 w 34"/>
                    <a:gd name="T13" fmla="*/ 4 h 8"/>
                    <a:gd name="T14" fmla="*/ 22 w 34"/>
                    <a:gd name="T15" fmla="*/ 6 h 8"/>
                    <a:gd name="T16" fmla="*/ 18 w 34"/>
                    <a:gd name="T17" fmla="*/ 7 h 8"/>
                    <a:gd name="T18" fmla="*/ 12 w 34"/>
                    <a:gd name="T19" fmla="*/ 8 h 8"/>
                    <a:gd name="T20" fmla="*/ 8 w 34"/>
                    <a:gd name="T21" fmla="*/ 8 h 8"/>
                    <a:gd name="T22" fmla="*/ 4 w 34"/>
                    <a:gd name="T23" fmla="*/ 8 h 8"/>
                    <a:gd name="T24" fmla="*/ 0 w 3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4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24 h 24"/>
                    <a:gd name="T2" fmla="*/ 0 w 13"/>
                    <a:gd name="T3" fmla="*/ 0 h 24"/>
                    <a:gd name="T4" fmla="*/ 13 w 13"/>
                    <a:gd name="T5" fmla="*/ 12 h 24"/>
                    <a:gd name="T6" fmla="*/ 0 w 13"/>
                    <a:gd name="T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5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13 h 69"/>
                    <a:gd name="T2" fmla="*/ 0 w 107"/>
                    <a:gd name="T3" fmla="*/ 27 h 69"/>
                    <a:gd name="T4" fmla="*/ 0 w 107"/>
                    <a:gd name="T5" fmla="*/ 45 h 69"/>
                    <a:gd name="T6" fmla="*/ 0 w 107"/>
                    <a:gd name="T7" fmla="*/ 62 h 69"/>
                    <a:gd name="T8" fmla="*/ 0 w 107"/>
                    <a:gd name="T9" fmla="*/ 69 h 69"/>
                    <a:gd name="T10" fmla="*/ 16 w 107"/>
                    <a:gd name="T11" fmla="*/ 66 h 69"/>
                    <a:gd name="T12" fmla="*/ 49 w 107"/>
                    <a:gd name="T13" fmla="*/ 58 h 69"/>
                    <a:gd name="T14" fmla="*/ 85 w 107"/>
                    <a:gd name="T15" fmla="*/ 50 h 69"/>
                    <a:gd name="T16" fmla="*/ 107 w 107"/>
                    <a:gd name="T17" fmla="*/ 44 h 69"/>
                    <a:gd name="T18" fmla="*/ 101 w 107"/>
                    <a:gd name="T19" fmla="*/ 38 h 69"/>
                    <a:gd name="T20" fmla="*/ 94 w 107"/>
                    <a:gd name="T21" fmla="*/ 34 h 69"/>
                    <a:gd name="T22" fmla="*/ 86 w 107"/>
                    <a:gd name="T23" fmla="*/ 30 h 69"/>
                    <a:gd name="T24" fmla="*/ 78 w 107"/>
                    <a:gd name="T25" fmla="*/ 27 h 69"/>
                    <a:gd name="T26" fmla="*/ 72 w 107"/>
                    <a:gd name="T27" fmla="*/ 23 h 69"/>
                    <a:gd name="T28" fmla="*/ 65 w 107"/>
                    <a:gd name="T29" fmla="*/ 18 h 69"/>
                    <a:gd name="T30" fmla="*/ 63 w 107"/>
                    <a:gd name="T31" fmla="*/ 15 h 69"/>
                    <a:gd name="T32" fmla="*/ 62 w 107"/>
                    <a:gd name="T33" fmla="*/ 11 h 69"/>
                    <a:gd name="T34" fmla="*/ 61 w 107"/>
                    <a:gd name="T35" fmla="*/ 7 h 69"/>
                    <a:gd name="T36" fmla="*/ 61 w 107"/>
                    <a:gd name="T37" fmla="*/ 0 h 69"/>
                    <a:gd name="T38" fmla="*/ 54 w 107"/>
                    <a:gd name="T39" fmla="*/ 1 h 69"/>
                    <a:gd name="T40" fmla="*/ 38 w 107"/>
                    <a:gd name="T41" fmla="*/ 4 h 69"/>
                    <a:gd name="T42" fmla="*/ 18 w 107"/>
                    <a:gd name="T43" fmla="*/ 9 h 69"/>
                    <a:gd name="T44" fmla="*/ 0 w 107"/>
                    <a:gd name="T45" fmla="*/ 13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6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992 w 1070"/>
                    <a:gd name="T1" fmla="*/ 124 h 382"/>
                    <a:gd name="T2" fmla="*/ 970 w 1070"/>
                    <a:gd name="T3" fmla="*/ 103 h 382"/>
                    <a:gd name="T4" fmla="*/ 962 w 1070"/>
                    <a:gd name="T5" fmla="*/ 57 h 382"/>
                    <a:gd name="T6" fmla="*/ 936 w 1070"/>
                    <a:gd name="T7" fmla="*/ 36 h 382"/>
                    <a:gd name="T8" fmla="*/ 817 w 1070"/>
                    <a:gd name="T9" fmla="*/ 19 h 382"/>
                    <a:gd name="T10" fmla="*/ 726 w 1070"/>
                    <a:gd name="T11" fmla="*/ 58 h 382"/>
                    <a:gd name="T12" fmla="*/ 678 w 1070"/>
                    <a:gd name="T13" fmla="*/ 65 h 382"/>
                    <a:gd name="T14" fmla="*/ 632 w 1070"/>
                    <a:gd name="T15" fmla="*/ 65 h 382"/>
                    <a:gd name="T16" fmla="*/ 612 w 1070"/>
                    <a:gd name="T17" fmla="*/ 44 h 382"/>
                    <a:gd name="T18" fmla="*/ 560 w 1070"/>
                    <a:gd name="T19" fmla="*/ 37 h 382"/>
                    <a:gd name="T20" fmla="*/ 525 w 1070"/>
                    <a:gd name="T21" fmla="*/ 19 h 382"/>
                    <a:gd name="T22" fmla="*/ 483 w 1070"/>
                    <a:gd name="T23" fmla="*/ 21 h 382"/>
                    <a:gd name="T24" fmla="*/ 465 w 1070"/>
                    <a:gd name="T25" fmla="*/ 0 h 382"/>
                    <a:gd name="T26" fmla="*/ 390 w 1070"/>
                    <a:gd name="T27" fmla="*/ 16 h 382"/>
                    <a:gd name="T28" fmla="*/ 299 w 1070"/>
                    <a:gd name="T29" fmla="*/ 26 h 382"/>
                    <a:gd name="T30" fmla="*/ 257 w 1070"/>
                    <a:gd name="T31" fmla="*/ 45 h 382"/>
                    <a:gd name="T32" fmla="*/ 138 w 1070"/>
                    <a:gd name="T33" fmla="*/ 61 h 382"/>
                    <a:gd name="T34" fmla="*/ 173 w 1070"/>
                    <a:gd name="T35" fmla="*/ 75 h 382"/>
                    <a:gd name="T36" fmla="*/ 164 w 1070"/>
                    <a:gd name="T37" fmla="*/ 90 h 382"/>
                    <a:gd name="T38" fmla="*/ 114 w 1070"/>
                    <a:gd name="T39" fmla="*/ 93 h 382"/>
                    <a:gd name="T40" fmla="*/ 42 w 1070"/>
                    <a:gd name="T41" fmla="*/ 94 h 382"/>
                    <a:gd name="T42" fmla="*/ 8 w 1070"/>
                    <a:gd name="T43" fmla="*/ 110 h 382"/>
                    <a:gd name="T44" fmla="*/ 0 w 1070"/>
                    <a:gd name="T45" fmla="*/ 147 h 382"/>
                    <a:gd name="T46" fmla="*/ 16 w 1070"/>
                    <a:gd name="T47" fmla="*/ 167 h 382"/>
                    <a:gd name="T48" fmla="*/ 22 w 1070"/>
                    <a:gd name="T49" fmla="*/ 193 h 382"/>
                    <a:gd name="T50" fmla="*/ 21 w 1070"/>
                    <a:gd name="T51" fmla="*/ 210 h 382"/>
                    <a:gd name="T52" fmla="*/ 49 w 1070"/>
                    <a:gd name="T53" fmla="*/ 237 h 382"/>
                    <a:gd name="T54" fmla="*/ 56 w 1070"/>
                    <a:gd name="T55" fmla="*/ 259 h 382"/>
                    <a:gd name="T56" fmla="*/ 74 w 1070"/>
                    <a:gd name="T57" fmla="*/ 271 h 382"/>
                    <a:gd name="T58" fmla="*/ 96 w 1070"/>
                    <a:gd name="T59" fmla="*/ 290 h 382"/>
                    <a:gd name="T60" fmla="*/ 205 w 1070"/>
                    <a:gd name="T61" fmla="*/ 352 h 382"/>
                    <a:gd name="T62" fmla="*/ 253 w 1070"/>
                    <a:gd name="T63" fmla="*/ 370 h 382"/>
                    <a:gd name="T64" fmla="*/ 267 w 1070"/>
                    <a:gd name="T65" fmla="*/ 358 h 382"/>
                    <a:gd name="T66" fmla="*/ 277 w 1070"/>
                    <a:gd name="T67" fmla="*/ 338 h 382"/>
                    <a:gd name="T68" fmla="*/ 297 w 1070"/>
                    <a:gd name="T69" fmla="*/ 316 h 382"/>
                    <a:gd name="T70" fmla="*/ 334 w 1070"/>
                    <a:gd name="T71" fmla="*/ 323 h 382"/>
                    <a:gd name="T72" fmla="*/ 362 w 1070"/>
                    <a:gd name="T73" fmla="*/ 358 h 382"/>
                    <a:gd name="T74" fmla="*/ 399 w 1070"/>
                    <a:gd name="T75" fmla="*/ 370 h 382"/>
                    <a:gd name="T76" fmla="*/ 447 w 1070"/>
                    <a:gd name="T77" fmla="*/ 359 h 382"/>
                    <a:gd name="T78" fmla="*/ 493 w 1070"/>
                    <a:gd name="T79" fmla="*/ 335 h 382"/>
                    <a:gd name="T80" fmla="*/ 525 w 1070"/>
                    <a:gd name="T81" fmla="*/ 327 h 382"/>
                    <a:gd name="T82" fmla="*/ 564 w 1070"/>
                    <a:gd name="T83" fmla="*/ 326 h 382"/>
                    <a:gd name="T84" fmla="*/ 567 w 1070"/>
                    <a:gd name="T85" fmla="*/ 367 h 382"/>
                    <a:gd name="T86" fmla="*/ 590 w 1070"/>
                    <a:gd name="T87" fmla="*/ 377 h 382"/>
                    <a:gd name="T88" fmla="*/ 613 w 1070"/>
                    <a:gd name="T89" fmla="*/ 362 h 382"/>
                    <a:gd name="T90" fmla="*/ 647 w 1070"/>
                    <a:gd name="T91" fmla="*/ 336 h 382"/>
                    <a:gd name="T92" fmla="*/ 752 w 1070"/>
                    <a:gd name="T93" fmla="*/ 327 h 382"/>
                    <a:gd name="T94" fmla="*/ 831 w 1070"/>
                    <a:gd name="T95" fmla="*/ 315 h 382"/>
                    <a:gd name="T96" fmla="*/ 918 w 1070"/>
                    <a:gd name="T97" fmla="*/ 283 h 382"/>
                    <a:gd name="T98" fmla="*/ 967 w 1070"/>
                    <a:gd name="T99" fmla="*/ 286 h 382"/>
                    <a:gd name="T100" fmla="*/ 1005 w 1070"/>
                    <a:gd name="T101" fmla="*/ 293 h 382"/>
                    <a:gd name="T102" fmla="*/ 1056 w 1070"/>
                    <a:gd name="T103" fmla="*/ 308 h 382"/>
                    <a:gd name="T104" fmla="*/ 1056 w 1070"/>
                    <a:gd name="T105" fmla="*/ 268 h 382"/>
                    <a:gd name="T106" fmla="*/ 1026 w 1070"/>
                    <a:gd name="T107" fmla="*/ 219 h 382"/>
                    <a:gd name="T108" fmla="*/ 1017 w 1070"/>
                    <a:gd name="T109" fmla="*/ 167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952" name="Freeform 541"/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3709771" y="3793287"/>
                <a:ext cx="133022" cy="122265"/>
              </a:xfrm>
              <a:custGeom>
                <a:avLst/>
                <a:gdLst>
                  <a:gd name="T0" fmla="*/ 63 w 226"/>
                  <a:gd name="T1" fmla="*/ 236 h 237"/>
                  <a:gd name="T2" fmla="*/ 68 w 226"/>
                  <a:gd name="T3" fmla="*/ 237 h 237"/>
                  <a:gd name="T4" fmla="*/ 75 w 226"/>
                  <a:gd name="T5" fmla="*/ 235 h 237"/>
                  <a:gd name="T6" fmla="*/ 83 w 226"/>
                  <a:gd name="T7" fmla="*/ 234 h 237"/>
                  <a:gd name="T8" fmla="*/ 89 w 226"/>
                  <a:gd name="T9" fmla="*/ 230 h 237"/>
                  <a:gd name="T10" fmla="*/ 96 w 226"/>
                  <a:gd name="T11" fmla="*/ 223 h 237"/>
                  <a:gd name="T12" fmla="*/ 99 w 226"/>
                  <a:gd name="T13" fmla="*/ 214 h 237"/>
                  <a:gd name="T14" fmla="*/ 123 w 226"/>
                  <a:gd name="T15" fmla="*/ 209 h 237"/>
                  <a:gd name="T16" fmla="*/ 166 w 226"/>
                  <a:gd name="T17" fmla="*/ 205 h 237"/>
                  <a:gd name="T18" fmla="*/ 195 w 226"/>
                  <a:gd name="T19" fmla="*/ 198 h 237"/>
                  <a:gd name="T20" fmla="*/ 209 w 226"/>
                  <a:gd name="T21" fmla="*/ 191 h 237"/>
                  <a:gd name="T22" fmla="*/ 220 w 226"/>
                  <a:gd name="T23" fmla="*/ 181 h 237"/>
                  <a:gd name="T24" fmla="*/ 225 w 226"/>
                  <a:gd name="T25" fmla="*/ 168 h 237"/>
                  <a:gd name="T26" fmla="*/ 226 w 226"/>
                  <a:gd name="T27" fmla="*/ 153 h 237"/>
                  <a:gd name="T28" fmla="*/ 223 w 226"/>
                  <a:gd name="T29" fmla="*/ 140 h 237"/>
                  <a:gd name="T30" fmla="*/ 215 w 226"/>
                  <a:gd name="T31" fmla="*/ 123 h 237"/>
                  <a:gd name="T32" fmla="*/ 203 w 226"/>
                  <a:gd name="T33" fmla="*/ 100 h 237"/>
                  <a:gd name="T34" fmla="*/ 196 w 226"/>
                  <a:gd name="T35" fmla="*/ 84 h 237"/>
                  <a:gd name="T36" fmla="*/ 193 w 226"/>
                  <a:gd name="T37" fmla="*/ 74 h 237"/>
                  <a:gd name="T38" fmla="*/ 195 w 226"/>
                  <a:gd name="T39" fmla="*/ 59 h 237"/>
                  <a:gd name="T40" fmla="*/ 200 w 226"/>
                  <a:gd name="T41" fmla="*/ 43 h 237"/>
                  <a:gd name="T42" fmla="*/ 213 w 226"/>
                  <a:gd name="T43" fmla="*/ 25 h 237"/>
                  <a:gd name="T44" fmla="*/ 213 w 226"/>
                  <a:gd name="T45" fmla="*/ 14 h 237"/>
                  <a:gd name="T46" fmla="*/ 191 w 226"/>
                  <a:gd name="T47" fmla="*/ 7 h 237"/>
                  <a:gd name="T48" fmla="*/ 154 w 226"/>
                  <a:gd name="T49" fmla="*/ 2 h 237"/>
                  <a:gd name="T50" fmla="*/ 20 w 226"/>
                  <a:gd name="T51" fmla="*/ 6 h 237"/>
                  <a:gd name="T52" fmla="*/ 18 w 226"/>
                  <a:gd name="T53" fmla="*/ 31 h 237"/>
                  <a:gd name="T54" fmla="*/ 10 w 226"/>
                  <a:gd name="T55" fmla="*/ 54 h 237"/>
                  <a:gd name="T56" fmla="*/ 3 w 226"/>
                  <a:gd name="T57" fmla="*/ 79 h 237"/>
                  <a:gd name="T58" fmla="*/ 0 w 226"/>
                  <a:gd name="T59" fmla="*/ 111 h 237"/>
                  <a:gd name="T60" fmla="*/ 3 w 226"/>
                  <a:gd name="T61" fmla="*/ 130 h 237"/>
                  <a:gd name="T62" fmla="*/ 10 w 226"/>
                  <a:gd name="T63" fmla="*/ 146 h 237"/>
                  <a:gd name="T64" fmla="*/ 30 w 226"/>
                  <a:gd name="T65" fmla="*/ 173 h 237"/>
                  <a:gd name="T66" fmla="*/ 51 w 226"/>
                  <a:gd name="T67" fmla="*/ 199 h 237"/>
                  <a:gd name="T68" fmla="*/ 57 w 226"/>
                  <a:gd name="T69" fmla="*/ 216 h 237"/>
                  <a:gd name="T70" fmla="*/ 61 w 226"/>
                  <a:gd name="T71" fmla="*/ 234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3" name="Freeform 542"/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8815255" y="3229595"/>
                <a:ext cx="276597" cy="458894"/>
              </a:xfrm>
              <a:custGeom>
                <a:avLst/>
                <a:gdLst>
                  <a:gd name="T0" fmla="*/ 287 w 478"/>
                  <a:gd name="T1" fmla="*/ 109 h 875"/>
                  <a:gd name="T2" fmla="*/ 250 w 478"/>
                  <a:gd name="T3" fmla="*/ 138 h 875"/>
                  <a:gd name="T4" fmla="*/ 199 w 478"/>
                  <a:gd name="T5" fmla="*/ 197 h 875"/>
                  <a:gd name="T6" fmla="*/ 198 w 478"/>
                  <a:gd name="T7" fmla="*/ 213 h 875"/>
                  <a:gd name="T8" fmla="*/ 206 w 478"/>
                  <a:gd name="T9" fmla="*/ 239 h 875"/>
                  <a:gd name="T10" fmla="*/ 221 w 478"/>
                  <a:gd name="T11" fmla="*/ 265 h 875"/>
                  <a:gd name="T12" fmla="*/ 240 w 478"/>
                  <a:gd name="T13" fmla="*/ 288 h 875"/>
                  <a:gd name="T14" fmla="*/ 259 w 478"/>
                  <a:gd name="T15" fmla="*/ 301 h 875"/>
                  <a:gd name="T16" fmla="*/ 279 w 478"/>
                  <a:gd name="T17" fmla="*/ 329 h 875"/>
                  <a:gd name="T18" fmla="*/ 295 w 478"/>
                  <a:gd name="T19" fmla="*/ 361 h 875"/>
                  <a:gd name="T20" fmla="*/ 305 w 478"/>
                  <a:gd name="T21" fmla="*/ 369 h 875"/>
                  <a:gd name="T22" fmla="*/ 438 w 478"/>
                  <a:gd name="T23" fmla="*/ 499 h 875"/>
                  <a:gd name="T24" fmla="*/ 471 w 478"/>
                  <a:gd name="T25" fmla="*/ 589 h 875"/>
                  <a:gd name="T26" fmla="*/ 478 w 478"/>
                  <a:gd name="T27" fmla="*/ 647 h 875"/>
                  <a:gd name="T28" fmla="*/ 476 w 478"/>
                  <a:gd name="T29" fmla="*/ 687 h 875"/>
                  <a:gd name="T30" fmla="*/ 478 w 478"/>
                  <a:gd name="T31" fmla="*/ 708 h 875"/>
                  <a:gd name="T32" fmla="*/ 447 w 478"/>
                  <a:gd name="T33" fmla="*/ 718 h 875"/>
                  <a:gd name="T34" fmla="*/ 420 w 478"/>
                  <a:gd name="T35" fmla="*/ 733 h 875"/>
                  <a:gd name="T36" fmla="*/ 391 w 478"/>
                  <a:gd name="T37" fmla="*/ 756 h 875"/>
                  <a:gd name="T38" fmla="*/ 365 w 478"/>
                  <a:gd name="T39" fmla="*/ 789 h 875"/>
                  <a:gd name="T40" fmla="*/ 348 w 478"/>
                  <a:gd name="T41" fmla="*/ 785 h 875"/>
                  <a:gd name="T42" fmla="*/ 319 w 478"/>
                  <a:gd name="T43" fmla="*/ 789 h 875"/>
                  <a:gd name="T44" fmla="*/ 313 w 478"/>
                  <a:gd name="T45" fmla="*/ 804 h 875"/>
                  <a:gd name="T46" fmla="*/ 289 w 478"/>
                  <a:gd name="T47" fmla="*/ 838 h 875"/>
                  <a:gd name="T48" fmla="*/ 256 w 478"/>
                  <a:gd name="T49" fmla="*/ 868 h 875"/>
                  <a:gd name="T50" fmla="*/ 239 w 478"/>
                  <a:gd name="T51" fmla="*/ 875 h 875"/>
                  <a:gd name="T52" fmla="*/ 232 w 478"/>
                  <a:gd name="T53" fmla="*/ 868 h 875"/>
                  <a:gd name="T54" fmla="*/ 225 w 478"/>
                  <a:gd name="T55" fmla="*/ 844 h 875"/>
                  <a:gd name="T56" fmla="*/ 231 w 478"/>
                  <a:gd name="T57" fmla="*/ 800 h 875"/>
                  <a:gd name="T58" fmla="*/ 253 w 478"/>
                  <a:gd name="T59" fmla="*/ 775 h 875"/>
                  <a:gd name="T60" fmla="*/ 277 w 478"/>
                  <a:gd name="T61" fmla="*/ 760 h 875"/>
                  <a:gd name="T62" fmla="*/ 295 w 478"/>
                  <a:gd name="T63" fmla="*/ 753 h 875"/>
                  <a:gd name="T64" fmla="*/ 305 w 478"/>
                  <a:gd name="T65" fmla="*/ 743 h 875"/>
                  <a:gd name="T66" fmla="*/ 314 w 478"/>
                  <a:gd name="T67" fmla="*/ 714 h 875"/>
                  <a:gd name="T68" fmla="*/ 330 w 478"/>
                  <a:gd name="T69" fmla="*/ 686 h 875"/>
                  <a:gd name="T70" fmla="*/ 365 w 478"/>
                  <a:gd name="T71" fmla="*/ 643 h 875"/>
                  <a:gd name="T72" fmla="*/ 371 w 478"/>
                  <a:gd name="T73" fmla="*/ 536 h 875"/>
                  <a:gd name="T74" fmla="*/ 364 w 478"/>
                  <a:gd name="T75" fmla="*/ 475 h 875"/>
                  <a:gd name="T76" fmla="*/ 341 w 478"/>
                  <a:gd name="T77" fmla="*/ 427 h 875"/>
                  <a:gd name="T78" fmla="*/ 297 w 478"/>
                  <a:gd name="T79" fmla="*/ 377 h 875"/>
                  <a:gd name="T80" fmla="*/ 219 w 478"/>
                  <a:gd name="T81" fmla="*/ 308 h 875"/>
                  <a:gd name="T82" fmla="*/ 161 w 478"/>
                  <a:gd name="T83" fmla="*/ 255 h 875"/>
                  <a:gd name="T84" fmla="*/ 108 w 478"/>
                  <a:gd name="T85" fmla="*/ 198 h 875"/>
                  <a:gd name="T86" fmla="*/ 72 w 478"/>
                  <a:gd name="T87" fmla="*/ 146 h 875"/>
                  <a:gd name="T88" fmla="*/ 42 w 478"/>
                  <a:gd name="T89" fmla="*/ 104 h 875"/>
                  <a:gd name="T90" fmla="*/ 46 w 478"/>
                  <a:gd name="T91" fmla="*/ 41 h 875"/>
                  <a:gd name="T92" fmla="*/ 129 w 478"/>
                  <a:gd name="T93" fmla="*/ 19 h 875"/>
                  <a:gd name="T94" fmla="*/ 148 w 478"/>
                  <a:gd name="T95" fmla="*/ 5 h 875"/>
                  <a:gd name="T96" fmla="*/ 175 w 478"/>
                  <a:gd name="T97" fmla="*/ 16 h 875"/>
                  <a:gd name="T98" fmla="*/ 221 w 478"/>
                  <a:gd name="T99" fmla="*/ 35 h 875"/>
                  <a:gd name="T100" fmla="*/ 269 w 478"/>
                  <a:gd name="T101" fmla="*/ 67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4" name="Freeform 543"/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8931383" y="3915553"/>
                <a:ext cx="33783" cy="57162"/>
              </a:xfrm>
              <a:custGeom>
                <a:avLst/>
                <a:gdLst>
                  <a:gd name="T0" fmla="*/ 59 w 59"/>
                  <a:gd name="T1" fmla="*/ 6 h 31"/>
                  <a:gd name="T2" fmla="*/ 57 w 59"/>
                  <a:gd name="T3" fmla="*/ 11 h 31"/>
                  <a:gd name="T4" fmla="*/ 53 w 59"/>
                  <a:gd name="T5" fmla="*/ 15 h 31"/>
                  <a:gd name="T6" fmla="*/ 49 w 59"/>
                  <a:gd name="T7" fmla="*/ 19 h 31"/>
                  <a:gd name="T8" fmla="*/ 45 w 59"/>
                  <a:gd name="T9" fmla="*/ 24 h 31"/>
                  <a:gd name="T10" fmla="*/ 40 w 59"/>
                  <a:gd name="T11" fmla="*/ 27 h 31"/>
                  <a:gd name="T12" fmla="*/ 36 w 59"/>
                  <a:gd name="T13" fmla="*/ 29 h 31"/>
                  <a:gd name="T14" fmla="*/ 30 w 59"/>
                  <a:gd name="T15" fmla="*/ 31 h 31"/>
                  <a:gd name="T16" fmla="*/ 26 w 59"/>
                  <a:gd name="T17" fmla="*/ 31 h 31"/>
                  <a:gd name="T18" fmla="*/ 21 w 59"/>
                  <a:gd name="T19" fmla="*/ 31 h 31"/>
                  <a:gd name="T20" fmla="*/ 17 w 59"/>
                  <a:gd name="T21" fmla="*/ 30 h 31"/>
                  <a:gd name="T22" fmla="*/ 14 w 59"/>
                  <a:gd name="T23" fmla="*/ 29 h 31"/>
                  <a:gd name="T24" fmla="*/ 11 w 59"/>
                  <a:gd name="T25" fmla="*/ 27 h 31"/>
                  <a:gd name="T26" fmla="*/ 4 w 59"/>
                  <a:gd name="T27" fmla="*/ 20 h 31"/>
                  <a:gd name="T28" fmla="*/ 0 w 59"/>
                  <a:gd name="T29" fmla="*/ 12 h 31"/>
                  <a:gd name="T30" fmla="*/ 1 w 59"/>
                  <a:gd name="T31" fmla="*/ 9 h 31"/>
                  <a:gd name="T32" fmla="*/ 3 w 59"/>
                  <a:gd name="T33" fmla="*/ 6 h 31"/>
                  <a:gd name="T34" fmla="*/ 5 w 59"/>
                  <a:gd name="T35" fmla="*/ 4 h 31"/>
                  <a:gd name="T36" fmla="*/ 8 w 59"/>
                  <a:gd name="T37" fmla="*/ 3 h 31"/>
                  <a:gd name="T38" fmla="*/ 16 w 59"/>
                  <a:gd name="T39" fmla="*/ 1 h 31"/>
                  <a:gd name="T40" fmla="*/ 24 w 59"/>
                  <a:gd name="T41" fmla="*/ 0 h 31"/>
                  <a:gd name="T42" fmla="*/ 34 w 59"/>
                  <a:gd name="T43" fmla="*/ 0 h 31"/>
                  <a:gd name="T44" fmla="*/ 42 w 59"/>
                  <a:gd name="T45" fmla="*/ 2 h 31"/>
                  <a:gd name="T46" fmla="*/ 51 w 59"/>
                  <a:gd name="T47" fmla="*/ 4 h 31"/>
                  <a:gd name="T48" fmla="*/ 59 w 59"/>
                  <a:gd name="T49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5" name="Freeform 544"/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7191564" y="3174020"/>
                <a:ext cx="232257" cy="271525"/>
              </a:xfrm>
              <a:custGeom>
                <a:avLst/>
                <a:gdLst>
                  <a:gd name="T0" fmla="*/ 200 w 399"/>
                  <a:gd name="T1" fmla="*/ 8 h 518"/>
                  <a:gd name="T2" fmla="*/ 202 w 399"/>
                  <a:gd name="T3" fmla="*/ 22 h 518"/>
                  <a:gd name="T4" fmla="*/ 208 w 399"/>
                  <a:gd name="T5" fmla="*/ 36 h 518"/>
                  <a:gd name="T6" fmla="*/ 214 w 399"/>
                  <a:gd name="T7" fmla="*/ 49 h 518"/>
                  <a:gd name="T8" fmla="*/ 224 w 399"/>
                  <a:gd name="T9" fmla="*/ 63 h 518"/>
                  <a:gd name="T10" fmla="*/ 235 w 399"/>
                  <a:gd name="T11" fmla="*/ 75 h 518"/>
                  <a:gd name="T12" fmla="*/ 249 w 399"/>
                  <a:gd name="T13" fmla="*/ 86 h 518"/>
                  <a:gd name="T14" fmla="*/ 264 w 399"/>
                  <a:gd name="T15" fmla="*/ 95 h 518"/>
                  <a:gd name="T16" fmla="*/ 316 w 399"/>
                  <a:gd name="T17" fmla="*/ 106 h 518"/>
                  <a:gd name="T18" fmla="*/ 365 w 399"/>
                  <a:gd name="T19" fmla="*/ 119 h 518"/>
                  <a:gd name="T20" fmla="*/ 380 w 399"/>
                  <a:gd name="T21" fmla="*/ 127 h 518"/>
                  <a:gd name="T22" fmla="*/ 392 w 399"/>
                  <a:gd name="T23" fmla="*/ 137 h 518"/>
                  <a:gd name="T24" fmla="*/ 398 w 399"/>
                  <a:gd name="T25" fmla="*/ 151 h 518"/>
                  <a:gd name="T26" fmla="*/ 398 w 399"/>
                  <a:gd name="T27" fmla="*/ 174 h 518"/>
                  <a:gd name="T28" fmla="*/ 390 w 399"/>
                  <a:gd name="T29" fmla="*/ 200 h 518"/>
                  <a:gd name="T30" fmla="*/ 369 w 399"/>
                  <a:gd name="T31" fmla="*/ 239 h 518"/>
                  <a:gd name="T32" fmla="*/ 344 w 399"/>
                  <a:gd name="T33" fmla="*/ 276 h 518"/>
                  <a:gd name="T34" fmla="*/ 328 w 399"/>
                  <a:gd name="T35" fmla="*/ 303 h 518"/>
                  <a:gd name="T36" fmla="*/ 314 w 399"/>
                  <a:gd name="T37" fmla="*/ 330 h 518"/>
                  <a:gd name="T38" fmla="*/ 307 w 399"/>
                  <a:gd name="T39" fmla="*/ 360 h 518"/>
                  <a:gd name="T40" fmla="*/ 297 w 399"/>
                  <a:gd name="T41" fmla="*/ 377 h 518"/>
                  <a:gd name="T42" fmla="*/ 268 w 399"/>
                  <a:gd name="T43" fmla="*/ 387 h 518"/>
                  <a:gd name="T44" fmla="*/ 246 w 399"/>
                  <a:gd name="T45" fmla="*/ 399 h 518"/>
                  <a:gd name="T46" fmla="*/ 235 w 399"/>
                  <a:gd name="T47" fmla="*/ 408 h 518"/>
                  <a:gd name="T48" fmla="*/ 227 w 399"/>
                  <a:gd name="T49" fmla="*/ 417 h 518"/>
                  <a:gd name="T50" fmla="*/ 224 w 399"/>
                  <a:gd name="T51" fmla="*/ 427 h 518"/>
                  <a:gd name="T52" fmla="*/ 213 w 399"/>
                  <a:gd name="T53" fmla="*/ 438 h 518"/>
                  <a:gd name="T54" fmla="*/ 188 w 399"/>
                  <a:gd name="T55" fmla="*/ 450 h 518"/>
                  <a:gd name="T56" fmla="*/ 173 w 399"/>
                  <a:gd name="T57" fmla="*/ 456 h 518"/>
                  <a:gd name="T58" fmla="*/ 166 w 399"/>
                  <a:gd name="T59" fmla="*/ 467 h 518"/>
                  <a:gd name="T60" fmla="*/ 158 w 399"/>
                  <a:gd name="T61" fmla="*/ 481 h 518"/>
                  <a:gd name="T62" fmla="*/ 146 w 399"/>
                  <a:gd name="T63" fmla="*/ 490 h 518"/>
                  <a:gd name="T64" fmla="*/ 131 w 399"/>
                  <a:gd name="T65" fmla="*/ 494 h 518"/>
                  <a:gd name="T66" fmla="*/ 102 w 399"/>
                  <a:gd name="T67" fmla="*/ 498 h 518"/>
                  <a:gd name="T68" fmla="*/ 73 w 399"/>
                  <a:gd name="T69" fmla="*/ 504 h 518"/>
                  <a:gd name="T70" fmla="*/ 55 w 399"/>
                  <a:gd name="T71" fmla="*/ 512 h 518"/>
                  <a:gd name="T72" fmla="*/ 46 w 399"/>
                  <a:gd name="T73" fmla="*/ 514 h 518"/>
                  <a:gd name="T74" fmla="*/ 43 w 399"/>
                  <a:gd name="T75" fmla="*/ 506 h 518"/>
                  <a:gd name="T76" fmla="*/ 38 w 399"/>
                  <a:gd name="T77" fmla="*/ 497 h 518"/>
                  <a:gd name="T78" fmla="*/ 34 w 399"/>
                  <a:gd name="T79" fmla="*/ 487 h 518"/>
                  <a:gd name="T80" fmla="*/ 33 w 399"/>
                  <a:gd name="T81" fmla="*/ 468 h 518"/>
                  <a:gd name="T82" fmla="*/ 29 w 399"/>
                  <a:gd name="T83" fmla="*/ 445 h 518"/>
                  <a:gd name="T84" fmla="*/ 17 w 399"/>
                  <a:gd name="T85" fmla="*/ 418 h 518"/>
                  <a:gd name="T86" fmla="*/ 0 w 399"/>
                  <a:gd name="T87" fmla="*/ 358 h 518"/>
                  <a:gd name="T88" fmla="*/ 194 w 399"/>
                  <a:gd name="T89" fmla="*/ 185 h 518"/>
                  <a:gd name="T90" fmla="*/ 200 w 399"/>
                  <a:gd name="T91" fmla="*/ 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6" name="Freeform 545"/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5498196" y="3228007"/>
                <a:ext cx="500410" cy="385851"/>
              </a:xfrm>
              <a:custGeom>
                <a:avLst/>
                <a:gdLst>
                  <a:gd name="T0" fmla="*/ 231 w 866"/>
                  <a:gd name="T1" fmla="*/ 270 h 740"/>
                  <a:gd name="T2" fmla="*/ 245 w 866"/>
                  <a:gd name="T3" fmla="*/ 264 h 740"/>
                  <a:gd name="T4" fmla="*/ 272 w 866"/>
                  <a:gd name="T5" fmla="*/ 272 h 740"/>
                  <a:gd name="T6" fmla="*/ 654 w 866"/>
                  <a:gd name="T7" fmla="*/ 1 h 740"/>
                  <a:gd name="T8" fmla="*/ 679 w 866"/>
                  <a:gd name="T9" fmla="*/ 6 h 740"/>
                  <a:gd name="T10" fmla="*/ 711 w 866"/>
                  <a:gd name="T11" fmla="*/ 21 h 740"/>
                  <a:gd name="T12" fmla="*/ 730 w 866"/>
                  <a:gd name="T13" fmla="*/ 35 h 740"/>
                  <a:gd name="T14" fmla="*/ 760 w 866"/>
                  <a:gd name="T15" fmla="*/ 57 h 740"/>
                  <a:gd name="T16" fmla="*/ 791 w 866"/>
                  <a:gd name="T17" fmla="*/ 59 h 740"/>
                  <a:gd name="T18" fmla="*/ 831 w 866"/>
                  <a:gd name="T19" fmla="*/ 43 h 740"/>
                  <a:gd name="T20" fmla="*/ 854 w 866"/>
                  <a:gd name="T21" fmla="*/ 166 h 740"/>
                  <a:gd name="T22" fmla="*/ 866 w 866"/>
                  <a:gd name="T23" fmla="*/ 205 h 740"/>
                  <a:gd name="T24" fmla="*/ 850 w 866"/>
                  <a:gd name="T25" fmla="*/ 301 h 740"/>
                  <a:gd name="T26" fmla="*/ 848 w 866"/>
                  <a:gd name="T27" fmla="*/ 376 h 740"/>
                  <a:gd name="T28" fmla="*/ 834 w 866"/>
                  <a:gd name="T29" fmla="*/ 421 h 740"/>
                  <a:gd name="T30" fmla="*/ 802 w 866"/>
                  <a:gd name="T31" fmla="*/ 467 h 740"/>
                  <a:gd name="T32" fmla="*/ 777 w 866"/>
                  <a:gd name="T33" fmla="*/ 499 h 740"/>
                  <a:gd name="T34" fmla="*/ 758 w 866"/>
                  <a:gd name="T35" fmla="*/ 567 h 740"/>
                  <a:gd name="T36" fmla="*/ 711 w 866"/>
                  <a:gd name="T37" fmla="*/ 629 h 740"/>
                  <a:gd name="T38" fmla="*/ 680 w 866"/>
                  <a:gd name="T39" fmla="*/ 646 h 740"/>
                  <a:gd name="T40" fmla="*/ 644 w 866"/>
                  <a:gd name="T41" fmla="*/ 638 h 740"/>
                  <a:gd name="T42" fmla="*/ 611 w 866"/>
                  <a:gd name="T43" fmla="*/ 625 h 740"/>
                  <a:gd name="T44" fmla="*/ 566 w 866"/>
                  <a:gd name="T45" fmla="*/ 633 h 740"/>
                  <a:gd name="T46" fmla="*/ 530 w 866"/>
                  <a:gd name="T47" fmla="*/ 659 h 740"/>
                  <a:gd name="T48" fmla="*/ 511 w 866"/>
                  <a:gd name="T49" fmla="*/ 680 h 740"/>
                  <a:gd name="T50" fmla="*/ 491 w 866"/>
                  <a:gd name="T51" fmla="*/ 684 h 740"/>
                  <a:gd name="T52" fmla="*/ 470 w 866"/>
                  <a:gd name="T53" fmla="*/ 668 h 740"/>
                  <a:gd name="T54" fmla="*/ 446 w 866"/>
                  <a:gd name="T55" fmla="*/ 639 h 740"/>
                  <a:gd name="T56" fmla="*/ 421 w 866"/>
                  <a:gd name="T57" fmla="*/ 635 h 740"/>
                  <a:gd name="T58" fmla="*/ 405 w 866"/>
                  <a:gd name="T59" fmla="*/ 647 h 740"/>
                  <a:gd name="T60" fmla="*/ 384 w 866"/>
                  <a:gd name="T61" fmla="*/ 652 h 740"/>
                  <a:gd name="T62" fmla="*/ 350 w 866"/>
                  <a:gd name="T63" fmla="*/ 638 h 740"/>
                  <a:gd name="T64" fmla="*/ 306 w 866"/>
                  <a:gd name="T65" fmla="*/ 608 h 740"/>
                  <a:gd name="T66" fmla="*/ 271 w 866"/>
                  <a:gd name="T67" fmla="*/ 604 h 740"/>
                  <a:gd name="T68" fmla="*/ 237 w 866"/>
                  <a:gd name="T69" fmla="*/ 620 h 740"/>
                  <a:gd name="T70" fmla="*/ 209 w 866"/>
                  <a:gd name="T71" fmla="*/ 653 h 740"/>
                  <a:gd name="T72" fmla="*/ 190 w 866"/>
                  <a:gd name="T73" fmla="*/ 692 h 740"/>
                  <a:gd name="T74" fmla="*/ 178 w 866"/>
                  <a:gd name="T75" fmla="*/ 719 h 740"/>
                  <a:gd name="T76" fmla="*/ 149 w 866"/>
                  <a:gd name="T77" fmla="*/ 702 h 740"/>
                  <a:gd name="T78" fmla="*/ 100 w 866"/>
                  <a:gd name="T79" fmla="*/ 740 h 740"/>
                  <a:gd name="T80" fmla="*/ 66 w 866"/>
                  <a:gd name="T81" fmla="*/ 699 h 740"/>
                  <a:gd name="T82" fmla="*/ 64 w 866"/>
                  <a:gd name="T83" fmla="*/ 644 h 740"/>
                  <a:gd name="T84" fmla="*/ 50 w 866"/>
                  <a:gd name="T85" fmla="*/ 613 h 740"/>
                  <a:gd name="T86" fmla="*/ 20 w 866"/>
                  <a:gd name="T87" fmla="*/ 587 h 740"/>
                  <a:gd name="T88" fmla="*/ 5 w 866"/>
                  <a:gd name="T89" fmla="*/ 558 h 740"/>
                  <a:gd name="T90" fmla="*/ 53 w 866"/>
                  <a:gd name="T91" fmla="*/ 530 h 740"/>
                  <a:gd name="T92" fmla="*/ 76 w 866"/>
                  <a:gd name="T93" fmla="*/ 518 h 740"/>
                  <a:gd name="T94" fmla="*/ 139 w 866"/>
                  <a:gd name="T95" fmla="*/ 510 h 740"/>
                  <a:gd name="T96" fmla="*/ 182 w 866"/>
                  <a:gd name="T97" fmla="*/ 500 h 740"/>
                  <a:gd name="T98" fmla="*/ 201 w 866"/>
                  <a:gd name="T99" fmla="*/ 475 h 740"/>
                  <a:gd name="T100" fmla="*/ 219 w 866"/>
                  <a:gd name="T101" fmla="*/ 424 h 740"/>
                  <a:gd name="T102" fmla="*/ 224 w 866"/>
                  <a:gd name="T103" fmla="*/ 367 h 740"/>
                  <a:gd name="T104" fmla="*/ 219 w 866"/>
                  <a:gd name="T105" fmla="*/ 320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7" name="Freeform 546"/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5059018" y="2845330"/>
                <a:ext cx="399061" cy="260410"/>
              </a:xfrm>
              <a:custGeom>
                <a:avLst/>
                <a:gdLst>
                  <a:gd name="T0" fmla="*/ 648 w 697"/>
                  <a:gd name="T1" fmla="*/ 53 h 500"/>
                  <a:gd name="T2" fmla="*/ 657 w 697"/>
                  <a:gd name="T3" fmla="*/ 161 h 500"/>
                  <a:gd name="T4" fmla="*/ 661 w 697"/>
                  <a:gd name="T5" fmla="*/ 167 h 500"/>
                  <a:gd name="T6" fmla="*/ 677 w 697"/>
                  <a:gd name="T7" fmla="*/ 177 h 500"/>
                  <a:gd name="T8" fmla="*/ 694 w 697"/>
                  <a:gd name="T9" fmla="*/ 189 h 500"/>
                  <a:gd name="T10" fmla="*/ 697 w 697"/>
                  <a:gd name="T11" fmla="*/ 198 h 500"/>
                  <a:gd name="T12" fmla="*/ 694 w 697"/>
                  <a:gd name="T13" fmla="*/ 211 h 500"/>
                  <a:gd name="T14" fmla="*/ 685 w 697"/>
                  <a:gd name="T15" fmla="*/ 217 h 500"/>
                  <a:gd name="T16" fmla="*/ 655 w 697"/>
                  <a:gd name="T17" fmla="*/ 218 h 500"/>
                  <a:gd name="T18" fmla="*/ 605 w 697"/>
                  <a:gd name="T19" fmla="*/ 228 h 500"/>
                  <a:gd name="T20" fmla="*/ 567 w 697"/>
                  <a:gd name="T21" fmla="*/ 250 h 500"/>
                  <a:gd name="T22" fmla="*/ 549 w 697"/>
                  <a:gd name="T23" fmla="*/ 267 h 500"/>
                  <a:gd name="T24" fmla="*/ 539 w 697"/>
                  <a:gd name="T25" fmla="*/ 288 h 500"/>
                  <a:gd name="T26" fmla="*/ 521 w 697"/>
                  <a:gd name="T27" fmla="*/ 302 h 500"/>
                  <a:gd name="T28" fmla="*/ 491 w 697"/>
                  <a:gd name="T29" fmla="*/ 324 h 500"/>
                  <a:gd name="T30" fmla="*/ 455 w 697"/>
                  <a:gd name="T31" fmla="*/ 352 h 500"/>
                  <a:gd name="T32" fmla="*/ 420 w 697"/>
                  <a:gd name="T33" fmla="*/ 370 h 500"/>
                  <a:gd name="T34" fmla="*/ 372 w 697"/>
                  <a:gd name="T35" fmla="*/ 377 h 500"/>
                  <a:gd name="T36" fmla="*/ 344 w 697"/>
                  <a:gd name="T37" fmla="*/ 380 h 500"/>
                  <a:gd name="T38" fmla="*/ 316 w 697"/>
                  <a:gd name="T39" fmla="*/ 396 h 500"/>
                  <a:gd name="T40" fmla="*/ 290 w 697"/>
                  <a:gd name="T41" fmla="*/ 417 h 500"/>
                  <a:gd name="T42" fmla="*/ 265 w 697"/>
                  <a:gd name="T43" fmla="*/ 426 h 500"/>
                  <a:gd name="T44" fmla="*/ 5 w 697"/>
                  <a:gd name="T45" fmla="*/ 496 h 500"/>
                  <a:gd name="T46" fmla="*/ 32 w 697"/>
                  <a:gd name="T47" fmla="*/ 487 h 500"/>
                  <a:gd name="T48" fmla="*/ 85 w 697"/>
                  <a:gd name="T49" fmla="*/ 473 h 500"/>
                  <a:gd name="T50" fmla="*/ 93 w 697"/>
                  <a:gd name="T51" fmla="*/ 459 h 500"/>
                  <a:gd name="T52" fmla="*/ 99 w 697"/>
                  <a:gd name="T53" fmla="*/ 438 h 500"/>
                  <a:gd name="T54" fmla="*/ 119 w 697"/>
                  <a:gd name="T55" fmla="*/ 422 h 500"/>
                  <a:gd name="T56" fmla="*/ 160 w 697"/>
                  <a:gd name="T57" fmla="*/ 399 h 500"/>
                  <a:gd name="T58" fmla="*/ 181 w 697"/>
                  <a:gd name="T59" fmla="*/ 382 h 500"/>
                  <a:gd name="T60" fmla="*/ 192 w 697"/>
                  <a:gd name="T61" fmla="*/ 357 h 500"/>
                  <a:gd name="T62" fmla="*/ 193 w 697"/>
                  <a:gd name="T63" fmla="*/ 316 h 500"/>
                  <a:gd name="T64" fmla="*/ 195 w 697"/>
                  <a:gd name="T65" fmla="*/ 254 h 500"/>
                  <a:gd name="T66" fmla="*/ 192 w 697"/>
                  <a:gd name="T67" fmla="*/ 192 h 500"/>
                  <a:gd name="T68" fmla="*/ 214 w 697"/>
                  <a:gd name="T69" fmla="*/ 189 h 500"/>
                  <a:gd name="T70" fmla="*/ 228 w 697"/>
                  <a:gd name="T71" fmla="*/ 179 h 500"/>
                  <a:gd name="T72" fmla="*/ 241 w 697"/>
                  <a:gd name="T73" fmla="*/ 165 h 500"/>
                  <a:gd name="T74" fmla="*/ 252 w 697"/>
                  <a:gd name="T75" fmla="*/ 152 h 500"/>
                  <a:gd name="T76" fmla="*/ 281 w 697"/>
                  <a:gd name="T77" fmla="*/ 146 h 500"/>
                  <a:gd name="T78" fmla="*/ 314 w 697"/>
                  <a:gd name="T79" fmla="*/ 143 h 500"/>
                  <a:gd name="T80" fmla="*/ 340 w 697"/>
                  <a:gd name="T81" fmla="*/ 131 h 500"/>
                  <a:gd name="T82" fmla="*/ 360 w 697"/>
                  <a:gd name="T83" fmla="*/ 108 h 500"/>
                  <a:gd name="T84" fmla="*/ 388 w 697"/>
                  <a:gd name="T85" fmla="*/ 48 h 500"/>
                  <a:gd name="T86" fmla="*/ 407 w 697"/>
                  <a:gd name="T87" fmla="*/ 12 h 500"/>
                  <a:gd name="T88" fmla="*/ 426 w 697"/>
                  <a:gd name="T89" fmla="*/ 8 h 500"/>
                  <a:gd name="T90" fmla="*/ 449 w 697"/>
                  <a:gd name="T91" fmla="*/ 20 h 500"/>
                  <a:gd name="T92" fmla="*/ 512 w 697"/>
                  <a:gd name="T93" fmla="*/ 18 h 500"/>
                  <a:gd name="T94" fmla="*/ 590 w 697"/>
                  <a:gd name="T95" fmla="*/ 13 h 500"/>
                  <a:gd name="T96" fmla="*/ 597 w 697"/>
                  <a:gd name="T97" fmla="*/ 17 h 500"/>
                  <a:gd name="T98" fmla="*/ 605 w 697"/>
                  <a:gd name="T99" fmla="*/ 36 h 500"/>
                  <a:gd name="T100" fmla="*/ 611 w 697"/>
                  <a:gd name="T101" fmla="*/ 51 h 500"/>
                  <a:gd name="T102" fmla="*/ 618 w 697"/>
                  <a:gd name="T103" fmla="*/ 50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8" name="Freeform 547"/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5990160" y="1775109"/>
                <a:ext cx="314602" cy="92096"/>
              </a:xfrm>
              <a:custGeom>
                <a:avLst/>
                <a:gdLst>
                  <a:gd name="T0" fmla="*/ 74 w 546"/>
                  <a:gd name="T1" fmla="*/ 19 h 173"/>
                  <a:gd name="T2" fmla="*/ 94 w 546"/>
                  <a:gd name="T3" fmla="*/ 34 h 173"/>
                  <a:gd name="T4" fmla="*/ 110 w 546"/>
                  <a:gd name="T5" fmla="*/ 27 h 173"/>
                  <a:gd name="T6" fmla="*/ 132 w 546"/>
                  <a:gd name="T7" fmla="*/ 27 h 173"/>
                  <a:gd name="T8" fmla="*/ 161 w 546"/>
                  <a:gd name="T9" fmla="*/ 44 h 173"/>
                  <a:gd name="T10" fmla="*/ 209 w 546"/>
                  <a:gd name="T11" fmla="*/ 19 h 173"/>
                  <a:gd name="T12" fmla="*/ 243 w 546"/>
                  <a:gd name="T13" fmla="*/ 19 h 173"/>
                  <a:gd name="T14" fmla="*/ 260 w 546"/>
                  <a:gd name="T15" fmla="*/ 16 h 173"/>
                  <a:gd name="T16" fmla="*/ 269 w 546"/>
                  <a:gd name="T17" fmla="*/ 14 h 173"/>
                  <a:gd name="T18" fmla="*/ 279 w 546"/>
                  <a:gd name="T19" fmla="*/ 11 h 173"/>
                  <a:gd name="T20" fmla="*/ 286 w 546"/>
                  <a:gd name="T21" fmla="*/ 3 h 173"/>
                  <a:gd name="T22" fmla="*/ 321 w 546"/>
                  <a:gd name="T23" fmla="*/ 5 h 173"/>
                  <a:gd name="T24" fmla="*/ 333 w 546"/>
                  <a:gd name="T25" fmla="*/ 12 h 173"/>
                  <a:gd name="T26" fmla="*/ 348 w 546"/>
                  <a:gd name="T27" fmla="*/ 7 h 173"/>
                  <a:gd name="T28" fmla="*/ 353 w 546"/>
                  <a:gd name="T29" fmla="*/ 0 h 173"/>
                  <a:gd name="T30" fmla="*/ 367 w 546"/>
                  <a:gd name="T31" fmla="*/ 7 h 173"/>
                  <a:gd name="T32" fmla="*/ 389 w 546"/>
                  <a:gd name="T33" fmla="*/ 7 h 173"/>
                  <a:gd name="T34" fmla="*/ 436 w 546"/>
                  <a:gd name="T35" fmla="*/ 1 h 173"/>
                  <a:gd name="T36" fmla="*/ 482 w 546"/>
                  <a:gd name="T37" fmla="*/ 6 h 173"/>
                  <a:gd name="T38" fmla="*/ 528 w 546"/>
                  <a:gd name="T39" fmla="*/ 12 h 173"/>
                  <a:gd name="T40" fmla="*/ 545 w 546"/>
                  <a:gd name="T41" fmla="*/ 49 h 173"/>
                  <a:gd name="T42" fmla="*/ 537 w 546"/>
                  <a:gd name="T43" fmla="*/ 60 h 173"/>
                  <a:gd name="T44" fmla="*/ 513 w 546"/>
                  <a:gd name="T45" fmla="*/ 62 h 173"/>
                  <a:gd name="T46" fmla="*/ 483 w 546"/>
                  <a:gd name="T47" fmla="*/ 54 h 173"/>
                  <a:gd name="T48" fmla="*/ 413 w 546"/>
                  <a:gd name="T49" fmla="*/ 44 h 173"/>
                  <a:gd name="T50" fmla="*/ 438 w 546"/>
                  <a:gd name="T51" fmla="*/ 81 h 173"/>
                  <a:gd name="T52" fmla="*/ 471 w 546"/>
                  <a:gd name="T53" fmla="*/ 102 h 173"/>
                  <a:gd name="T54" fmla="*/ 493 w 546"/>
                  <a:gd name="T55" fmla="*/ 119 h 173"/>
                  <a:gd name="T56" fmla="*/ 475 w 546"/>
                  <a:gd name="T57" fmla="*/ 136 h 173"/>
                  <a:gd name="T58" fmla="*/ 449 w 546"/>
                  <a:gd name="T59" fmla="*/ 142 h 173"/>
                  <a:gd name="T60" fmla="*/ 426 w 546"/>
                  <a:gd name="T61" fmla="*/ 141 h 173"/>
                  <a:gd name="T62" fmla="*/ 412 w 546"/>
                  <a:gd name="T63" fmla="*/ 134 h 173"/>
                  <a:gd name="T64" fmla="*/ 399 w 546"/>
                  <a:gd name="T65" fmla="*/ 130 h 173"/>
                  <a:gd name="T66" fmla="*/ 385 w 546"/>
                  <a:gd name="T67" fmla="*/ 121 h 173"/>
                  <a:gd name="T68" fmla="*/ 375 w 546"/>
                  <a:gd name="T69" fmla="*/ 104 h 173"/>
                  <a:gd name="T70" fmla="*/ 365 w 546"/>
                  <a:gd name="T71" fmla="*/ 92 h 173"/>
                  <a:gd name="T72" fmla="*/ 344 w 546"/>
                  <a:gd name="T73" fmla="*/ 84 h 173"/>
                  <a:gd name="T74" fmla="*/ 325 w 546"/>
                  <a:gd name="T75" fmla="*/ 76 h 173"/>
                  <a:gd name="T76" fmla="*/ 303 w 546"/>
                  <a:gd name="T77" fmla="*/ 87 h 173"/>
                  <a:gd name="T78" fmla="*/ 258 w 546"/>
                  <a:gd name="T79" fmla="*/ 134 h 173"/>
                  <a:gd name="T80" fmla="*/ 236 w 546"/>
                  <a:gd name="T81" fmla="*/ 163 h 173"/>
                  <a:gd name="T82" fmla="*/ 220 w 546"/>
                  <a:gd name="T83" fmla="*/ 172 h 173"/>
                  <a:gd name="T84" fmla="*/ 188 w 546"/>
                  <a:gd name="T85" fmla="*/ 167 h 173"/>
                  <a:gd name="T86" fmla="*/ 165 w 546"/>
                  <a:gd name="T87" fmla="*/ 155 h 173"/>
                  <a:gd name="T88" fmla="*/ 113 w 546"/>
                  <a:gd name="T89" fmla="*/ 105 h 173"/>
                  <a:gd name="T90" fmla="*/ 95 w 546"/>
                  <a:gd name="T91" fmla="*/ 91 h 173"/>
                  <a:gd name="T92" fmla="*/ 60 w 546"/>
                  <a:gd name="T93" fmla="*/ 76 h 173"/>
                  <a:gd name="T94" fmla="*/ 16 w 546"/>
                  <a:gd name="T95" fmla="*/ 58 h 173"/>
                  <a:gd name="T96" fmla="*/ 11 w 546"/>
                  <a:gd name="T97" fmla="*/ 34 h 173"/>
                  <a:gd name="T98" fmla="*/ 28 w 546"/>
                  <a:gd name="T99" fmla="*/ 19 h 173"/>
                  <a:gd name="T100" fmla="*/ 47 w 546"/>
                  <a:gd name="T101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9" name="Freeform 548"/>
              <p:cNvSpPr>
                <a:spLocks/>
              </p:cNvSpPr>
              <p:nvPr>
                <p:custDataLst>
                  <p:tags r:id="rId371"/>
                </p:custDataLst>
              </p:nvPr>
            </p:nvSpPr>
            <p:spPr bwMode="auto">
              <a:xfrm>
                <a:off x="6670040" y="1759229"/>
                <a:ext cx="143578" cy="60339"/>
              </a:xfrm>
              <a:custGeom>
                <a:avLst/>
                <a:gdLst>
                  <a:gd name="T0" fmla="*/ 27 w 246"/>
                  <a:gd name="T1" fmla="*/ 36 h 42"/>
                  <a:gd name="T2" fmla="*/ 36 w 246"/>
                  <a:gd name="T3" fmla="*/ 36 h 42"/>
                  <a:gd name="T4" fmla="*/ 45 w 246"/>
                  <a:gd name="T5" fmla="*/ 35 h 42"/>
                  <a:gd name="T6" fmla="*/ 53 w 246"/>
                  <a:gd name="T7" fmla="*/ 33 h 42"/>
                  <a:gd name="T8" fmla="*/ 59 w 246"/>
                  <a:gd name="T9" fmla="*/ 31 h 42"/>
                  <a:gd name="T10" fmla="*/ 66 w 246"/>
                  <a:gd name="T11" fmla="*/ 30 h 42"/>
                  <a:gd name="T12" fmla="*/ 72 w 246"/>
                  <a:gd name="T13" fmla="*/ 29 h 42"/>
                  <a:gd name="T14" fmla="*/ 80 w 246"/>
                  <a:gd name="T15" fmla="*/ 29 h 42"/>
                  <a:gd name="T16" fmla="*/ 87 w 246"/>
                  <a:gd name="T17" fmla="*/ 30 h 42"/>
                  <a:gd name="T18" fmla="*/ 87 w 246"/>
                  <a:gd name="T19" fmla="*/ 42 h 42"/>
                  <a:gd name="T20" fmla="*/ 154 w 246"/>
                  <a:gd name="T21" fmla="*/ 42 h 42"/>
                  <a:gd name="T22" fmla="*/ 154 w 246"/>
                  <a:gd name="T23" fmla="*/ 39 h 42"/>
                  <a:gd name="T24" fmla="*/ 156 w 246"/>
                  <a:gd name="T25" fmla="*/ 36 h 42"/>
                  <a:gd name="T26" fmla="*/ 159 w 246"/>
                  <a:gd name="T27" fmla="*/ 33 h 42"/>
                  <a:gd name="T28" fmla="*/ 163 w 246"/>
                  <a:gd name="T29" fmla="*/ 31 h 42"/>
                  <a:gd name="T30" fmla="*/ 175 w 246"/>
                  <a:gd name="T31" fmla="*/ 26 h 42"/>
                  <a:gd name="T32" fmla="*/ 190 w 246"/>
                  <a:gd name="T33" fmla="*/ 23 h 42"/>
                  <a:gd name="T34" fmla="*/ 221 w 246"/>
                  <a:gd name="T35" fmla="*/ 17 h 42"/>
                  <a:gd name="T36" fmla="*/ 246 w 246"/>
                  <a:gd name="T37" fmla="*/ 12 h 42"/>
                  <a:gd name="T38" fmla="*/ 212 w 246"/>
                  <a:gd name="T39" fmla="*/ 13 h 42"/>
                  <a:gd name="T40" fmla="*/ 186 w 246"/>
                  <a:gd name="T41" fmla="*/ 14 h 42"/>
                  <a:gd name="T42" fmla="*/ 178 w 246"/>
                  <a:gd name="T43" fmla="*/ 15 h 42"/>
                  <a:gd name="T44" fmla="*/ 171 w 246"/>
                  <a:gd name="T45" fmla="*/ 15 h 42"/>
                  <a:gd name="T46" fmla="*/ 168 w 246"/>
                  <a:gd name="T47" fmla="*/ 14 h 42"/>
                  <a:gd name="T48" fmla="*/ 167 w 246"/>
                  <a:gd name="T49" fmla="*/ 12 h 42"/>
                  <a:gd name="T50" fmla="*/ 159 w 246"/>
                  <a:gd name="T51" fmla="*/ 16 h 42"/>
                  <a:gd name="T52" fmla="*/ 152 w 246"/>
                  <a:gd name="T53" fmla="*/ 17 h 42"/>
                  <a:gd name="T54" fmla="*/ 147 w 246"/>
                  <a:gd name="T55" fmla="*/ 17 h 42"/>
                  <a:gd name="T56" fmla="*/ 141 w 246"/>
                  <a:gd name="T57" fmla="*/ 15 h 42"/>
                  <a:gd name="T58" fmla="*/ 137 w 246"/>
                  <a:gd name="T59" fmla="*/ 12 h 42"/>
                  <a:gd name="T60" fmla="*/ 133 w 246"/>
                  <a:gd name="T61" fmla="*/ 9 h 42"/>
                  <a:gd name="T62" fmla="*/ 129 w 246"/>
                  <a:gd name="T63" fmla="*/ 5 h 42"/>
                  <a:gd name="T64" fmla="*/ 126 w 246"/>
                  <a:gd name="T65" fmla="*/ 0 h 42"/>
                  <a:gd name="T66" fmla="*/ 121 w 246"/>
                  <a:gd name="T67" fmla="*/ 2 h 42"/>
                  <a:gd name="T68" fmla="*/ 113 w 246"/>
                  <a:gd name="T69" fmla="*/ 4 h 42"/>
                  <a:gd name="T70" fmla="*/ 103 w 246"/>
                  <a:gd name="T71" fmla="*/ 5 h 42"/>
                  <a:gd name="T72" fmla="*/ 93 w 246"/>
                  <a:gd name="T73" fmla="*/ 5 h 42"/>
                  <a:gd name="T74" fmla="*/ 74 w 246"/>
                  <a:gd name="T75" fmla="*/ 6 h 42"/>
                  <a:gd name="T76" fmla="*/ 60 w 246"/>
                  <a:gd name="T77" fmla="*/ 6 h 42"/>
                  <a:gd name="T78" fmla="*/ 58 w 246"/>
                  <a:gd name="T79" fmla="*/ 9 h 42"/>
                  <a:gd name="T80" fmla="*/ 56 w 246"/>
                  <a:gd name="T81" fmla="*/ 12 h 42"/>
                  <a:gd name="T82" fmla="*/ 54 w 246"/>
                  <a:gd name="T83" fmla="*/ 15 h 42"/>
                  <a:gd name="T84" fmla="*/ 50 w 246"/>
                  <a:gd name="T85" fmla="*/ 17 h 42"/>
                  <a:gd name="T86" fmla="*/ 42 w 246"/>
                  <a:gd name="T87" fmla="*/ 20 h 42"/>
                  <a:gd name="T88" fmla="*/ 33 w 246"/>
                  <a:gd name="T89" fmla="*/ 22 h 42"/>
                  <a:gd name="T90" fmla="*/ 14 w 246"/>
                  <a:gd name="T91" fmla="*/ 24 h 42"/>
                  <a:gd name="T92" fmla="*/ 0 w 246"/>
                  <a:gd name="T93" fmla="*/ 24 h 42"/>
                  <a:gd name="T94" fmla="*/ 1 w 246"/>
                  <a:gd name="T95" fmla="*/ 27 h 42"/>
                  <a:gd name="T96" fmla="*/ 3 w 246"/>
                  <a:gd name="T97" fmla="*/ 29 h 42"/>
                  <a:gd name="T98" fmla="*/ 5 w 246"/>
                  <a:gd name="T99" fmla="*/ 31 h 42"/>
                  <a:gd name="T100" fmla="*/ 9 w 246"/>
                  <a:gd name="T101" fmla="*/ 33 h 42"/>
                  <a:gd name="T102" fmla="*/ 17 w 246"/>
                  <a:gd name="T103" fmla="*/ 35 h 42"/>
                  <a:gd name="T104" fmla="*/ 27 w 246"/>
                  <a:gd name="T105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0" name="Freeform 549"/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6860070" y="1741763"/>
                <a:ext cx="84456" cy="57162"/>
              </a:xfrm>
              <a:custGeom>
                <a:avLst/>
                <a:gdLst>
                  <a:gd name="T0" fmla="*/ 103 w 149"/>
                  <a:gd name="T1" fmla="*/ 0 h 61"/>
                  <a:gd name="T2" fmla="*/ 118 w 149"/>
                  <a:gd name="T3" fmla="*/ 1 h 61"/>
                  <a:gd name="T4" fmla="*/ 134 w 149"/>
                  <a:gd name="T5" fmla="*/ 3 h 61"/>
                  <a:gd name="T6" fmla="*/ 145 w 149"/>
                  <a:gd name="T7" fmla="*/ 5 h 61"/>
                  <a:gd name="T8" fmla="*/ 149 w 149"/>
                  <a:gd name="T9" fmla="*/ 6 h 61"/>
                  <a:gd name="T10" fmla="*/ 149 w 149"/>
                  <a:gd name="T11" fmla="*/ 8 h 61"/>
                  <a:gd name="T12" fmla="*/ 147 w 149"/>
                  <a:gd name="T13" fmla="*/ 10 h 61"/>
                  <a:gd name="T14" fmla="*/ 145 w 149"/>
                  <a:gd name="T15" fmla="*/ 12 h 61"/>
                  <a:gd name="T16" fmla="*/ 141 w 149"/>
                  <a:gd name="T17" fmla="*/ 13 h 61"/>
                  <a:gd name="T18" fmla="*/ 137 w 149"/>
                  <a:gd name="T19" fmla="*/ 14 h 61"/>
                  <a:gd name="T20" fmla="*/ 132 w 149"/>
                  <a:gd name="T21" fmla="*/ 14 h 61"/>
                  <a:gd name="T22" fmla="*/ 127 w 149"/>
                  <a:gd name="T23" fmla="*/ 14 h 61"/>
                  <a:gd name="T24" fmla="*/ 123 w 149"/>
                  <a:gd name="T25" fmla="*/ 12 h 61"/>
                  <a:gd name="T26" fmla="*/ 123 w 149"/>
                  <a:gd name="T27" fmla="*/ 23 h 61"/>
                  <a:gd name="T28" fmla="*/ 123 w 149"/>
                  <a:gd name="T29" fmla="*/ 33 h 61"/>
                  <a:gd name="T30" fmla="*/ 123 w 149"/>
                  <a:gd name="T31" fmla="*/ 41 h 61"/>
                  <a:gd name="T32" fmla="*/ 123 w 149"/>
                  <a:gd name="T33" fmla="*/ 49 h 61"/>
                  <a:gd name="T34" fmla="*/ 116 w 149"/>
                  <a:gd name="T35" fmla="*/ 50 h 61"/>
                  <a:gd name="T36" fmla="*/ 109 w 149"/>
                  <a:gd name="T37" fmla="*/ 51 h 61"/>
                  <a:gd name="T38" fmla="*/ 104 w 149"/>
                  <a:gd name="T39" fmla="*/ 53 h 61"/>
                  <a:gd name="T40" fmla="*/ 100 w 149"/>
                  <a:gd name="T41" fmla="*/ 55 h 61"/>
                  <a:gd name="T42" fmla="*/ 94 w 149"/>
                  <a:gd name="T43" fmla="*/ 57 h 61"/>
                  <a:gd name="T44" fmla="*/ 89 w 149"/>
                  <a:gd name="T45" fmla="*/ 59 h 61"/>
                  <a:gd name="T46" fmla="*/ 83 w 149"/>
                  <a:gd name="T47" fmla="*/ 61 h 61"/>
                  <a:gd name="T48" fmla="*/ 76 w 149"/>
                  <a:gd name="T49" fmla="*/ 61 h 61"/>
                  <a:gd name="T50" fmla="*/ 67 w 149"/>
                  <a:gd name="T51" fmla="*/ 60 h 61"/>
                  <a:gd name="T52" fmla="*/ 53 w 149"/>
                  <a:gd name="T53" fmla="*/ 57 h 61"/>
                  <a:gd name="T54" fmla="*/ 39 w 149"/>
                  <a:gd name="T55" fmla="*/ 54 h 61"/>
                  <a:gd name="T56" fmla="*/ 25 w 149"/>
                  <a:gd name="T57" fmla="*/ 49 h 61"/>
                  <a:gd name="T58" fmla="*/ 12 w 149"/>
                  <a:gd name="T59" fmla="*/ 45 h 61"/>
                  <a:gd name="T60" fmla="*/ 3 w 149"/>
                  <a:gd name="T61" fmla="*/ 41 h 61"/>
                  <a:gd name="T62" fmla="*/ 1 w 149"/>
                  <a:gd name="T63" fmla="*/ 39 h 61"/>
                  <a:gd name="T64" fmla="*/ 0 w 149"/>
                  <a:gd name="T65" fmla="*/ 38 h 61"/>
                  <a:gd name="T66" fmla="*/ 0 w 149"/>
                  <a:gd name="T67" fmla="*/ 37 h 61"/>
                  <a:gd name="T68" fmla="*/ 3 w 149"/>
                  <a:gd name="T69" fmla="*/ 37 h 61"/>
                  <a:gd name="T70" fmla="*/ 19 w 149"/>
                  <a:gd name="T71" fmla="*/ 36 h 61"/>
                  <a:gd name="T72" fmla="*/ 35 w 149"/>
                  <a:gd name="T73" fmla="*/ 35 h 61"/>
                  <a:gd name="T74" fmla="*/ 48 w 149"/>
                  <a:gd name="T75" fmla="*/ 32 h 61"/>
                  <a:gd name="T76" fmla="*/ 60 w 149"/>
                  <a:gd name="T77" fmla="*/ 27 h 61"/>
                  <a:gd name="T78" fmla="*/ 72 w 149"/>
                  <a:gd name="T79" fmla="*/ 22 h 61"/>
                  <a:gd name="T80" fmla="*/ 82 w 149"/>
                  <a:gd name="T81" fmla="*/ 16 h 61"/>
                  <a:gd name="T82" fmla="*/ 93 w 149"/>
                  <a:gd name="T83" fmla="*/ 8 h 61"/>
                  <a:gd name="T84" fmla="*/ 103 w 149"/>
                  <a:gd name="T8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1" name="Freeform 550"/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6908631" y="1749703"/>
                <a:ext cx="173138" cy="57162"/>
              </a:xfrm>
              <a:custGeom>
                <a:avLst/>
                <a:gdLst>
                  <a:gd name="T0" fmla="*/ 133 w 299"/>
                  <a:gd name="T1" fmla="*/ 72 h 74"/>
                  <a:gd name="T2" fmla="*/ 154 w 299"/>
                  <a:gd name="T3" fmla="*/ 65 h 74"/>
                  <a:gd name="T4" fmla="*/ 178 w 299"/>
                  <a:gd name="T5" fmla="*/ 54 h 74"/>
                  <a:gd name="T6" fmla="*/ 199 w 299"/>
                  <a:gd name="T7" fmla="*/ 42 h 74"/>
                  <a:gd name="T8" fmla="*/ 207 w 299"/>
                  <a:gd name="T9" fmla="*/ 40 h 74"/>
                  <a:gd name="T10" fmla="*/ 211 w 299"/>
                  <a:gd name="T11" fmla="*/ 46 h 74"/>
                  <a:gd name="T12" fmla="*/ 220 w 299"/>
                  <a:gd name="T13" fmla="*/ 51 h 74"/>
                  <a:gd name="T14" fmla="*/ 243 w 299"/>
                  <a:gd name="T15" fmla="*/ 55 h 74"/>
                  <a:gd name="T16" fmla="*/ 269 w 299"/>
                  <a:gd name="T17" fmla="*/ 55 h 74"/>
                  <a:gd name="T18" fmla="*/ 286 w 299"/>
                  <a:gd name="T19" fmla="*/ 55 h 74"/>
                  <a:gd name="T20" fmla="*/ 293 w 299"/>
                  <a:gd name="T21" fmla="*/ 46 h 74"/>
                  <a:gd name="T22" fmla="*/ 298 w 299"/>
                  <a:gd name="T23" fmla="*/ 31 h 74"/>
                  <a:gd name="T24" fmla="*/ 279 w 299"/>
                  <a:gd name="T25" fmla="*/ 25 h 74"/>
                  <a:gd name="T26" fmla="*/ 244 w 299"/>
                  <a:gd name="T27" fmla="*/ 25 h 74"/>
                  <a:gd name="T28" fmla="*/ 225 w 299"/>
                  <a:gd name="T29" fmla="*/ 25 h 74"/>
                  <a:gd name="T30" fmla="*/ 214 w 299"/>
                  <a:gd name="T31" fmla="*/ 27 h 74"/>
                  <a:gd name="T32" fmla="*/ 204 w 299"/>
                  <a:gd name="T33" fmla="*/ 33 h 74"/>
                  <a:gd name="T34" fmla="*/ 172 w 299"/>
                  <a:gd name="T35" fmla="*/ 37 h 74"/>
                  <a:gd name="T36" fmla="*/ 176 w 299"/>
                  <a:gd name="T37" fmla="*/ 28 h 74"/>
                  <a:gd name="T38" fmla="*/ 180 w 299"/>
                  <a:gd name="T39" fmla="*/ 21 h 74"/>
                  <a:gd name="T40" fmla="*/ 194 w 299"/>
                  <a:gd name="T41" fmla="*/ 13 h 74"/>
                  <a:gd name="T42" fmla="*/ 210 w 299"/>
                  <a:gd name="T43" fmla="*/ 9 h 74"/>
                  <a:gd name="T44" fmla="*/ 225 w 299"/>
                  <a:gd name="T45" fmla="*/ 0 h 74"/>
                  <a:gd name="T46" fmla="*/ 185 w 299"/>
                  <a:gd name="T47" fmla="*/ 3 h 74"/>
                  <a:gd name="T48" fmla="*/ 157 w 299"/>
                  <a:gd name="T49" fmla="*/ 11 h 74"/>
                  <a:gd name="T50" fmla="*/ 134 w 299"/>
                  <a:gd name="T51" fmla="*/ 25 h 74"/>
                  <a:gd name="T52" fmla="*/ 114 w 299"/>
                  <a:gd name="T53" fmla="*/ 40 h 74"/>
                  <a:gd name="T54" fmla="*/ 100 w 299"/>
                  <a:gd name="T55" fmla="*/ 53 h 74"/>
                  <a:gd name="T56" fmla="*/ 87 w 299"/>
                  <a:gd name="T57" fmla="*/ 59 h 74"/>
                  <a:gd name="T58" fmla="*/ 64 w 299"/>
                  <a:gd name="T59" fmla="*/ 63 h 74"/>
                  <a:gd name="T60" fmla="*/ 32 w 299"/>
                  <a:gd name="T61" fmla="*/ 64 h 74"/>
                  <a:gd name="T62" fmla="*/ 12 w 299"/>
                  <a:gd name="T63" fmla="*/ 67 h 74"/>
                  <a:gd name="T64" fmla="*/ 2 w 299"/>
                  <a:gd name="T65" fmla="*/ 70 h 74"/>
                  <a:gd name="T66" fmla="*/ 39 w 299"/>
                  <a:gd name="T67" fmla="*/ 74 h 74"/>
                  <a:gd name="T68" fmla="*/ 102 w 299"/>
                  <a:gd name="T6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grpFill/>
              <a:ln w="9525" cap="flat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2" name="Freeform 69"/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10648613" y="4557051"/>
                <a:ext cx="16891" cy="57162"/>
              </a:xfrm>
              <a:custGeom>
                <a:avLst/>
                <a:gdLst>
                  <a:gd name="T0" fmla="*/ 0 w 33"/>
                  <a:gd name="T1" fmla="*/ 62 h 62"/>
                  <a:gd name="T2" fmla="*/ 0 w 33"/>
                  <a:gd name="T3" fmla="*/ 53 h 62"/>
                  <a:gd name="T4" fmla="*/ 0 w 33"/>
                  <a:gd name="T5" fmla="*/ 45 h 62"/>
                  <a:gd name="T6" fmla="*/ 0 w 33"/>
                  <a:gd name="T7" fmla="*/ 37 h 62"/>
                  <a:gd name="T8" fmla="*/ 0 w 33"/>
                  <a:gd name="T9" fmla="*/ 31 h 62"/>
                  <a:gd name="T10" fmla="*/ 0 w 33"/>
                  <a:gd name="T11" fmla="*/ 26 h 62"/>
                  <a:gd name="T12" fmla="*/ 2 w 33"/>
                  <a:gd name="T13" fmla="*/ 22 h 62"/>
                  <a:gd name="T14" fmla="*/ 4 w 33"/>
                  <a:gd name="T15" fmla="*/ 17 h 62"/>
                  <a:gd name="T16" fmla="*/ 8 w 33"/>
                  <a:gd name="T17" fmla="*/ 13 h 62"/>
                  <a:gd name="T18" fmla="*/ 14 w 33"/>
                  <a:gd name="T19" fmla="*/ 6 h 62"/>
                  <a:gd name="T20" fmla="*/ 20 w 33"/>
                  <a:gd name="T21" fmla="*/ 0 h 62"/>
                  <a:gd name="T22" fmla="*/ 26 w 33"/>
                  <a:gd name="T23" fmla="*/ 6 h 62"/>
                  <a:gd name="T24" fmla="*/ 33 w 33"/>
                  <a:gd name="T25" fmla="*/ 1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3" name="Freeform 70"/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10661282" y="4647560"/>
                <a:ext cx="12669" cy="58751"/>
              </a:xfrm>
              <a:custGeom>
                <a:avLst/>
                <a:gdLst>
                  <a:gd name="T0" fmla="*/ 0 w 26"/>
                  <a:gd name="T1" fmla="*/ 18 h 18"/>
                  <a:gd name="T2" fmla="*/ 0 w 26"/>
                  <a:gd name="T3" fmla="*/ 0 h 18"/>
                  <a:gd name="T4" fmla="*/ 26 w 26"/>
                  <a:gd name="T5" fmla="*/ 0 h 18"/>
                  <a:gd name="T6" fmla="*/ 6 w 26"/>
                  <a:gd name="T7" fmla="*/ 12 h 18"/>
                  <a:gd name="T8" fmla="*/ 6 w 26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4" name="Freeform 71"/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10813306" y="4557051"/>
                <a:ext cx="103460" cy="130204"/>
              </a:xfrm>
              <a:custGeom>
                <a:avLst/>
                <a:gdLst>
                  <a:gd name="T0" fmla="*/ 180 w 180"/>
                  <a:gd name="T1" fmla="*/ 222 h 240"/>
                  <a:gd name="T2" fmla="*/ 175 w 180"/>
                  <a:gd name="T3" fmla="*/ 223 h 240"/>
                  <a:gd name="T4" fmla="*/ 171 w 180"/>
                  <a:gd name="T5" fmla="*/ 223 h 240"/>
                  <a:gd name="T6" fmla="*/ 167 w 180"/>
                  <a:gd name="T7" fmla="*/ 225 h 240"/>
                  <a:gd name="T8" fmla="*/ 164 w 180"/>
                  <a:gd name="T9" fmla="*/ 227 h 240"/>
                  <a:gd name="T10" fmla="*/ 158 w 180"/>
                  <a:gd name="T11" fmla="*/ 232 h 240"/>
                  <a:gd name="T12" fmla="*/ 153 w 180"/>
                  <a:gd name="T13" fmla="*/ 240 h 240"/>
                  <a:gd name="T14" fmla="*/ 140 w 180"/>
                  <a:gd name="T15" fmla="*/ 232 h 240"/>
                  <a:gd name="T16" fmla="*/ 131 w 180"/>
                  <a:gd name="T17" fmla="*/ 223 h 240"/>
                  <a:gd name="T18" fmla="*/ 123 w 180"/>
                  <a:gd name="T19" fmla="*/ 214 h 240"/>
                  <a:gd name="T20" fmla="*/ 118 w 180"/>
                  <a:gd name="T21" fmla="*/ 206 h 240"/>
                  <a:gd name="T22" fmla="*/ 112 w 180"/>
                  <a:gd name="T23" fmla="*/ 195 h 240"/>
                  <a:gd name="T24" fmla="*/ 106 w 180"/>
                  <a:gd name="T25" fmla="*/ 185 h 240"/>
                  <a:gd name="T26" fmla="*/ 98 w 180"/>
                  <a:gd name="T27" fmla="*/ 174 h 240"/>
                  <a:gd name="T28" fmla="*/ 87 w 180"/>
                  <a:gd name="T29" fmla="*/ 161 h 240"/>
                  <a:gd name="T30" fmla="*/ 82 w 180"/>
                  <a:gd name="T31" fmla="*/ 153 h 240"/>
                  <a:gd name="T32" fmla="*/ 75 w 180"/>
                  <a:gd name="T33" fmla="*/ 146 h 240"/>
                  <a:gd name="T34" fmla="*/ 70 w 180"/>
                  <a:gd name="T35" fmla="*/ 139 h 240"/>
                  <a:gd name="T36" fmla="*/ 62 w 180"/>
                  <a:gd name="T37" fmla="*/ 133 h 240"/>
                  <a:gd name="T38" fmla="*/ 48 w 180"/>
                  <a:gd name="T39" fmla="*/ 121 h 240"/>
                  <a:gd name="T40" fmla="*/ 33 w 180"/>
                  <a:gd name="T41" fmla="*/ 110 h 240"/>
                  <a:gd name="T42" fmla="*/ 27 w 180"/>
                  <a:gd name="T43" fmla="*/ 104 h 240"/>
                  <a:gd name="T44" fmla="*/ 21 w 180"/>
                  <a:gd name="T45" fmla="*/ 98 h 240"/>
                  <a:gd name="T46" fmla="*/ 15 w 180"/>
                  <a:gd name="T47" fmla="*/ 92 h 240"/>
                  <a:gd name="T48" fmla="*/ 10 w 180"/>
                  <a:gd name="T49" fmla="*/ 84 h 240"/>
                  <a:gd name="T50" fmla="*/ 6 w 180"/>
                  <a:gd name="T51" fmla="*/ 77 h 240"/>
                  <a:gd name="T52" fmla="*/ 4 w 180"/>
                  <a:gd name="T53" fmla="*/ 68 h 240"/>
                  <a:gd name="T54" fmla="*/ 1 w 180"/>
                  <a:gd name="T55" fmla="*/ 60 h 240"/>
                  <a:gd name="T56" fmla="*/ 0 w 180"/>
                  <a:gd name="T57" fmla="*/ 50 h 240"/>
                  <a:gd name="T58" fmla="*/ 0 w 180"/>
                  <a:gd name="T59" fmla="*/ 35 h 240"/>
                  <a:gd name="T60" fmla="*/ 0 w 180"/>
                  <a:gd name="T61" fmla="*/ 25 h 240"/>
                  <a:gd name="T62" fmla="*/ 0 w 180"/>
                  <a:gd name="T63" fmla="*/ 15 h 240"/>
                  <a:gd name="T64" fmla="*/ 0 w 180"/>
                  <a:gd name="T65" fmla="*/ 0 h 240"/>
                  <a:gd name="T66" fmla="*/ 10 w 180"/>
                  <a:gd name="T67" fmla="*/ 8 h 240"/>
                  <a:gd name="T68" fmla="*/ 19 w 180"/>
                  <a:gd name="T69" fmla="*/ 17 h 240"/>
                  <a:gd name="T70" fmla="*/ 27 w 180"/>
                  <a:gd name="T71" fmla="*/ 27 h 240"/>
                  <a:gd name="T72" fmla="*/ 34 w 180"/>
                  <a:gd name="T73" fmla="*/ 38 h 240"/>
                  <a:gd name="T74" fmla="*/ 41 w 180"/>
                  <a:gd name="T75" fmla="*/ 48 h 240"/>
                  <a:gd name="T76" fmla="*/ 46 w 180"/>
                  <a:gd name="T77" fmla="*/ 58 h 240"/>
                  <a:gd name="T78" fmla="*/ 51 w 180"/>
                  <a:gd name="T79" fmla="*/ 66 h 240"/>
                  <a:gd name="T80" fmla="*/ 54 w 180"/>
                  <a:gd name="T81" fmla="*/ 74 h 240"/>
                  <a:gd name="T82" fmla="*/ 60 w 180"/>
                  <a:gd name="T83" fmla="*/ 86 h 240"/>
                  <a:gd name="T84" fmla="*/ 66 w 180"/>
                  <a:gd name="T85" fmla="*/ 98 h 240"/>
                  <a:gd name="T86" fmla="*/ 74 w 180"/>
                  <a:gd name="T87" fmla="*/ 107 h 240"/>
                  <a:gd name="T88" fmla="*/ 82 w 180"/>
                  <a:gd name="T89" fmla="*/ 116 h 240"/>
                  <a:gd name="T90" fmla="*/ 100 w 180"/>
                  <a:gd name="T91" fmla="*/ 133 h 240"/>
                  <a:gd name="T92" fmla="*/ 119 w 180"/>
                  <a:gd name="T93" fmla="*/ 149 h 240"/>
                  <a:gd name="T94" fmla="*/ 139 w 180"/>
                  <a:gd name="T95" fmla="*/ 164 h 240"/>
                  <a:gd name="T96" fmla="*/ 155 w 180"/>
                  <a:gd name="T97" fmla="*/ 180 h 240"/>
                  <a:gd name="T98" fmla="*/ 163 w 180"/>
                  <a:gd name="T99" fmla="*/ 189 h 240"/>
                  <a:gd name="T100" fmla="*/ 169 w 180"/>
                  <a:gd name="T101" fmla="*/ 199 h 240"/>
                  <a:gd name="T102" fmla="*/ 175 w 180"/>
                  <a:gd name="T103" fmla="*/ 210 h 240"/>
                  <a:gd name="T104" fmla="*/ 180 w 180"/>
                  <a:gd name="T105" fmla="*/ 22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5" name="Freeform 72"/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10813306" y="4530056"/>
                <a:ext cx="19004" cy="57162"/>
              </a:xfrm>
              <a:custGeom>
                <a:avLst/>
                <a:gdLst>
                  <a:gd name="T0" fmla="*/ 0 w 27"/>
                  <a:gd name="T1" fmla="*/ 0 h 30"/>
                  <a:gd name="T2" fmla="*/ 1 w 27"/>
                  <a:gd name="T3" fmla="*/ 5 h 30"/>
                  <a:gd name="T4" fmla="*/ 3 w 27"/>
                  <a:gd name="T5" fmla="*/ 11 h 30"/>
                  <a:gd name="T6" fmla="*/ 4 w 27"/>
                  <a:gd name="T7" fmla="*/ 14 h 30"/>
                  <a:gd name="T8" fmla="*/ 4 w 27"/>
                  <a:gd name="T9" fmla="*/ 19 h 30"/>
                  <a:gd name="T10" fmla="*/ 3 w 27"/>
                  <a:gd name="T11" fmla="*/ 24 h 30"/>
                  <a:gd name="T12" fmla="*/ 0 w 27"/>
                  <a:gd name="T13" fmla="*/ 30 h 30"/>
                  <a:gd name="T14" fmla="*/ 17 w 27"/>
                  <a:gd name="T15" fmla="*/ 27 h 30"/>
                  <a:gd name="T16" fmla="*/ 27 w 27"/>
                  <a:gd name="T17" fmla="*/ 24 h 30"/>
                  <a:gd name="T18" fmla="*/ 23 w 27"/>
                  <a:gd name="T19" fmla="*/ 20 h 30"/>
                  <a:gd name="T20" fmla="*/ 17 w 27"/>
                  <a:gd name="T21" fmla="*/ 12 h 30"/>
                  <a:gd name="T22" fmla="*/ 11 w 27"/>
                  <a:gd name="T23" fmla="*/ 8 h 30"/>
                  <a:gd name="T24" fmla="*/ 7 w 27"/>
                  <a:gd name="T25" fmla="*/ 4 h 30"/>
                  <a:gd name="T26" fmla="*/ 4 w 27"/>
                  <a:gd name="T27" fmla="*/ 1 h 30"/>
                  <a:gd name="T28" fmla="*/ 0 w 27"/>
                  <a:gd name="T2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6" name="Freeform 78"/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10893540" y="4609449"/>
                <a:ext cx="19004" cy="57162"/>
              </a:xfrm>
              <a:custGeom>
                <a:avLst/>
                <a:gdLst>
                  <a:gd name="T0" fmla="*/ 0 w 33"/>
                  <a:gd name="T1" fmla="*/ 0 h 24"/>
                  <a:gd name="T2" fmla="*/ 5 w 33"/>
                  <a:gd name="T3" fmla="*/ 5 h 24"/>
                  <a:gd name="T4" fmla="*/ 10 w 33"/>
                  <a:gd name="T5" fmla="*/ 10 h 24"/>
                  <a:gd name="T6" fmla="*/ 11 w 33"/>
                  <a:gd name="T7" fmla="*/ 13 h 24"/>
                  <a:gd name="T8" fmla="*/ 12 w 33"/>
                  <a:gd name="T9" fmla="*/ 16 h 24"/>
                  <a:gd name="T10" fmla="*/ 13 w 33"/>
                  <a:gd name="T11" fmla="*/ 20 h 24"/>
                  <a:gd name="T12" fmla="*/ 13 w 33"/>
                  <a:gd name="T13" fmla="*/ 24 h 24"/>
                  <a:gd name="T14" fmla="*/ 33 w 33"/>
                  <a:gd name="T15" fmla="*/ 0 h 24"/>
                  <a:gd name="T16" fmla="*/ 24 w 33"/>
                  <a:gd name="T17" fmla="*/ 0 h 24"/>
                  <a:gd name="T18" fmla="*/ 16 w 33"/>
                  <a:gd name="T19" fmla="*/ 0 h 24"/>
                  <a:gd name="T20" fmla="*/ 9 w 33"/>
                  <a:gd name="T21" fmla="*/ 0 h 24"/>
                  <a:gd name="T22" fmla="*/ 0 w 33"/>
                  <a:gd name="T2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7" name="Freeform 79"/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10923100" y="4618981"/>
                <a:ext cx="23226" cy="58751"/>
              </a:xfrm>
              <a:custGeom>
                <a:avLst/>
                <a:gdLst>
                  <a:gd name="T0" fmla="*/ 26 w 33"/>
                  <a:gd name="T1" fmla="*/ 25 h 25"/>
                  <a:gd name="T2" fmla="*/ 29 w 33"/>
                  <a:gd name="T3" fmla="*/ 22 h 25"/>
                  <a:gd name="T4" fmla="*/ 33 w 33"/>
                  <a:gd name="T5" fmla="*/ 18 h 25"/>
                  <a:gd name="T6" fmla="*/ 33 w 33"/>
                  <a:gd name="T7" fmla="*/ 0 h 25"/>
                  <a:gd name="T8" fmla="*/ 25 w 33"/>
                  <a:gd name="T9" fmla="*/ 0 h 25"/>
                  <a:gd name="T10" fmla="*/ 16 w 33"/>
                  <a:gd name="T11" fmla="*/ 0 h 25"/>
                  <a:gd name="T12" fmla="*/ 6 w 33"/>
                  <a:gd name="T13" fmla="*/ 0 h 25"/>
                  <a:gd name="T14" fmla="*/ 0 w 33"/>
                  <a:gd name="T15" fmla="*/ 0 h 25"/>
                  <a:gd name="T16" fmla="*/ 26 w 33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grpFill/>
              <a:ln w="9525" cmpd="sng">
                <a:solidFill>
                  <a:schemeClr val="tx2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342824"/>
                <a:endParaRPr lang="en-US" sz="13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8" name="Group 73"/>
              <p:cNvGrpSpPr>
                <a:grpSpLocks/>
              </p:cNvGrpSpPr>
              <p:nvPr>
                <p:custDataLst>
                  <p:tags r:id="rId380"/>
                </p:custDataLst>
              </p:nvPr>
            </p:nvGrpSpPr>
            <p:grpSpPr bwMode="auto">
              <a:xfrm>
                <a:off x="10359145" y="4997705"/>
                <a:ext cx="610203" cy="404906"/>
                <a:chOff x="5372" y="3323"/>
                <a:chExt cx="341" cy="253"/>
              </a:xfrm>
              <a:grpFill/>
            </p:grpSpPr>
            <p:sp>
              <p:nvSpPr>
                <p:cNvPr id="969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31 h 33"/>
                    <a:gd name="T2" fmla="*/ 4 w 53"/>
                    <a:gd name="T3" fmla="*/ 26 h 33"/>
                    <a:gd name="T4" fmla="*/ 8 w 53"/>
                    <a:gd name="T5" fmla="*/ 21 h 33"/>
                    <a:gd name="T6" fmla="*/ 15 w 53"/>
                    <a:gd name="T7" fmla="*/ 16 h 33"/>
                    <a:gd name="T8" fmla="*/ 21 w 53"/>
                    <a:gd name="T9" fmla="*/ 11 h 33"/>
                    <a:gd name="T10" fmla="*/ 29 w 53"/>
                    <a:gd name="T11" fmla="*/ 7 h 33"/>
                    <a:gd name="T12" fmla="*/ 38 w 53"/>
                    <a:gd name="T13" fmla="*/ 3 h 33"/>
                    <a:gd name="T14" fmla="*/ 45 w 53"/>
                    <a:gd name="T15" fmla="*/ 1 h 33"/>
                    <a:gd name="T16" fmla="*/ 53 w 53"/>
                    <a:gd name="T17" fmla="*/ 0 h 33"/>
                    <a:gd name="T18" fmla="*/ 53 w 53"/>
                    <a:gd name="T19" fmla="*/ 18 h 33"/>
                    <a:gd name="T20" fmla="*/ 38 w 53"/>
                    <a:gd name="T21" fmla="*/ 24 h 33"/>
                    <a:gd name="T22" fmla="*/ 27 w 53"/>
                    <a:gd name="T23" fmla="*/ 30 h 33"/>
                    <a:gd name="T24" fmla="*/ 21 w 53"/>
                    <a:gd name="T25" fmla="*/ 32 h 33"/>
                    <a:gd name="T26" fmla="*/ 16 w 53"/>
                    <a:gd name="T27" fmla="*/ 33 h 33"/>
                    <a:gd name="T28" fmla="*/ 9 w 53"/>
                    <a:gd name="T29" fmla="*/ 33 h 33"/>
                    <a:gd name="T30" fmla="*/ 0 w 53"/>
                    <a:gd name="T31" fmla="*/ 3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0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24 w 631"/>
                    <a:gd name="T1" fmla="*/ 296 h 358"/>
                    <a:gd name="T2" fmla="*/ 50 w 631"/>
                    <a:gd name="T3" fmla="*/ 290 h 358"/>
                    <a:gd name="T4" fmla="*/ 65 w 631"/>
                    <a:gd name="T5" fmla="*/ 277 h 358"/>
                    <a:gd name="T6" fmla="*/ 79 w 631"/>
                    <a:gd name="T7" fmla="*/ 253 h 358"/>
                    <a:gd name="T8" fmla="*/ 100 w 631"/>
                    <a:gd name="T9" fmla="*/ 256 h 358"/>
                    <a:gd name="T10" fmla="*/ 126 w 631"/>
                    <a:gd name="T11" fmla="*/ 253 h 358"/>
                    <a:gd name="T12" fmla="*/ 141 w 631"/>
                    <a:gd name="T13" fmla="*/ 247 h 358"/>
                    <a:gd name="T14" fmla="*/ 162 w 631"/>
                    <a:gd name="T15" fmla="*/ 229 h 358"/>
                    <a:gd name="T16" fmla="*/ 180 w 631"/>
                    <a:gd name="T17" fmla="*/ 208 h 358"/>
                    <a:gd name="T18" fmla="*/ 211 w 631"/>
                    <a:gd name="T19" fmla="*/ 192 h 358"/>
                    <a:gd name="T20" fmla="*/ 260 w 631"/>
                    <a:gd name="T21" fmla="*/ 175 h 358"/>
                    <a:gd name="T22" fmla="*/ 329 w 631"/>
                    <a:gd name="T23" fmla="*/ 152 h 358"/>
                    <a:gd name="T24" fmla="*/ 361 w 631"/>
                    <a:gd name="T25" fmla="*/ 137 h 358"/>
                    <a:gd name="T26" fmla="*/ 392 w 631"/>
                    <a:gd name="T27" fmla="*/ 130 h 358"/>
                    <a:gd name="T28" fmla="*/ 406 w 631"/>
                    <a:gd name="T29" fmla="*/ 127 h 358"/>
                    <a:gd name="T30" fmla="*/ 440 w 631"/>
                    <a:gd name="T31" fmla="*/ 107 h 358"/>
                    <a:gd name="T32" fmla="*/ 469 w 631"/>
                    <a:gd name="T33" fmla="*/ 80 h 358"/>
                    <a:gd name="T34" fmla="*/ 478 w 631"/>
                    <a:gd name="T35" fmla="*/ 63 h 358"/>
                    <a:gd name="T36" fmla="*/ 504 w 631"/>
                    <a:gd name="T37" fmla="*/ 58 h 358"/>
                    <a:gd name="T38" fmla="*/ 537 w 631"/>
                    <a:gd name="T39" fmla="*/ 36 h 358"/>
                    <a:gd name="T40" fmla="*/ 568 w 631"/>
                    <a:gd name="T41" fmla="*/ 11 h 358"/>
                    <a:gd name="T42" fmla="*/ 591 w 631"/>
                    <a:gd name="T43" fmla="*/ 0 h 358"/>
                    <a:gd name="T44" fmla="*/ 602 w 631"/>
                    <a:gd name="T45" fmla="*/ 22 h 358"/>
                    <a:gd name="T46" fmla="*/ 617 w 631"/>
                    <a:gd name="T47" fmla="*/ 30 h 358"/>
                    <a:gd name="T48" fmla="*/ 625 w 631"/>
                    <a:gd name="T49" fmla="*/ 46 h 358"/>
                    <a:gd name="T50" fmla="*/ 601 w 631"/>
                    <a:gd name="T51" fmla="*/ 88 h 358"/>
                    <a:gd name="T52" fmla="*/ 568 w 631"/>
                    <a:gd name="T53" fmla="*/ 125 h 358"/>
                    <a:gd name="T54" fmla="*/ 529 w 631"/>
                    <a:gd name="T55" fmla="*/ 154 h 358"/>
                    <a:gd name="T56" fmla="*/ 487 w 631"/>
                    <a:gd name="T57" fmla="*/ 173 h 358"/>
                    <a:gd name="T58" fmla="*/ 445 w 631"/>
                    <a:gd name="T59" fmla="*/ 180 h 358"/>
                    <a:gd name="T60" fmla="*/ 438 w 631"/>
                    <a:gd name="T61" fmla="*/ 197 h 358"/>
                    <a:gd name="T62" fmla="*/ 433 w 631"/>
                    <a:gd name="T63" fmla="*/ 200 h 358"/>
                    <a:gd name="T64" fmla="*/ 395 w 631"/>
                    <a:gd name="T65" fmla="*/ 199 h 358"/>
                    <a:gd name="T66" fmla="*/ 367 w 631"/>
                    <a:gd name="T67" fmla="*/ 210 h 358"/>
                    <a:gd name="T68" fmla="*/ 347 w 631"/>
                    <a:gd name="T69" fmla="*/ 212 h 358"/>
                    <a:gd name="T70" fmla="*/ 338 w 631"/>
                    <a:gd name="T71" fmla="*/ 204 h 358"/>
                    <a:gd name="T72" fmla="*/ 313 w 631"/>
                    <a:gd name="T73" fmla="*/ 241 h 358"/>
                    <a:gd name="T74" fmla="*/ 272 w 631"/>
                    <a:gd name="T75" fmla="*/ 280 h 358"/>
                    <a:gd name="T76" fmla="*/ 220 w 631"/>
                    <a:gd name="T77" fmla="*/ 315 h 358"/>
                    <a:gd name="T78" fmla="*/ 164 w 631"/>
                    <a:gd name="T79" fmla="*/ 343 h 358"/>
                    <a:gd name="T80" fmla="*/ 110 w 631"/>
                    <a:gd name="T81" fmla="*/ 357 h 358"/>
                    <a:gd name="T82" fmla="*/ 71 w 631"/>
                    <a:gd name="T83" fmla="*/ 356 h 358"/>
                    <a:gd name="T84" fmla="*/ 56 w 631"/>
                    <a:gd name="T85" fmla="*/ 348 h 358"/>
                    <a:gd name="T86" fmla="*/ 33 w 631"/>
                    <a:gd name="T87" fmla="*/ 340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71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60 w 359"/>
                    <a:gd name="T1" fmla="*/ 288 h 431"/>
                    <a:gd name="T2" fmla="*/ 95 w 359"/>
                    <a:gd name="T3" fmla="*/ 269 h 431"/>
                    <a:gd name="T4" fmla="*/ 165 w 359"/>
                    <a:gd name="T5" fmla="*/ 209 h 431"/>
                    <a:gd name="T6" fmla="*/ 172 w 359"/>
                    <a:gd name="T7" fmla="*/ 168 h 431"/>
                    <a:gd name="T8" fmla="*/ 180 w 359"/>
                    <a:gd name="T9" fmla="*/ 149 h 431"/>
                    <a:gd name="T10" fmla="*/ 193 w 359"/>
                    <a:gd name="T11" fmla="*/ 137 h 431"/>
                    <a:gd name="T12" fmla="*/ 190 w 359"/>
                    <a:gd name="T13" fmla="*/ 126 h 431"/>
                    <a:gd name="T14" fmla="*/ 179 w 359"/>
                    <a:gd name="T15" fmla="*/ 94 h 431"/>
                    <a:gd name="T16" fmla="*/ 173 w 359"/>
                    <a:gd name="T17" fmla="*/ 34 h 431"/>
                    <a:gd name="T18" fmla="*/ 182 w 359"/>
                    <a:gd name="T19" fmla="*/ 0 h 431"/>
                    <a:gd name="T20" fmla="*/ 194 w 359"/>
                    <a:gd name="T21" fmla="*/ 11 h 431"/>
                    <a:gd name="T22" fmla="*/ 207 w 359"/>
                    <a:gd name="T23" fmla="*/ 29 h 431"/>
                    <a:gd name="T24" fmla="*/ 231 w 359"/>
                    <a:gd name="T25" fmla="*/ 56 h 431"/>
                    <a:gd name="T26" fmla="*/ 238 w 359"/>
                    <a:gd name="T27" fmla="*/ 73 h 431"/>
                    <a:gd name="T28" fmla="*/ 237 w 359"/>
                    <a:gd name="T29" fmla="*/ 88 h 431"/>
                    <a:gd name="T30" fmla="*/ 226 w 359"/>
                    <a:gd name="T31" fmla="*/ 102 h 431"/>
                    <a:gd name="T32" fmla="*/ 205 w 359"/>
                    <a:gd name="T33" fmla="*/ 120 h 431"/>
                    <a:gd name="T34" fmla="*/ 199 w 359"/>
                    <a:gd name="T35" fmla="*/ 131 h 431"/>
                    <a:gd name="T36" fmla="*/ 199 w 359"/>
                    <a:gd name="T37" fmla="*/ 149 h 431"/>
                    <a:gd name="T38" fmla="*/ 205 w 359"/>
                    <a:gd name="T39" fmla="*/ 159 h 431"/>
                    <a:gd name="T40" fmla="*/ 226 w 359"/>
                    <a:gd name="T41" fmla="*/ 160 h 431"/>
                    <a:gd name="T42" fmla="*/ 233 w 359"/>
                    <a:gd name="T43" fmla="*/ 153 h 431"/>
                    <a:gd name="T44" fmla="*/ 232 w 359"/>
                    <a:gd name="T45" fmla="*/ 135 h 431"/>
                    <a:gd name="T46" fmla="*/ 259 w 359"/>
                    <a:gd name="T47" fmla="*/ 193 h 431"/>
                    <a:gd name="T48" fmla="*/ 271 w 359"/>
                    <a:gd name="T49" fmla="*/ 208 h 431"/>
                    <a:gd name="T50" fmla="*/ 291 w 359"/>
                    <a:gd name="T51" fmla="*/ 219 h 431"/>
                    <a:gd name="T52" fmla="*/ 300 w 359"/>
                    <a:gd name="T53" fmla="*/ 217 h 431"/>
                    <a:gd name="T54" fmla="*/ 312 w 359"/>
                    <a:gd name="T55" fmla="*/ 206 h 431"/>
                    <a:gd name="T56" fmla="*/ 341 w 359"/>
                    <a:gd name="T57" fmla="*/ 194 h 431"/>
                    <a:gd name="T58" fmla="*/ 355 w 359"/>
                    <a:gd name="T59" fmla="*/ 206 h 431"/>
                    <a:gd name="T60" fmla="*/ 342 w 359"/>
                    <a:gd name="T61" fmla="*/ 240 h 431"/>
                    <a:gd name="T62" fmla="*/ 321 w 359"/>
                    <a:gd name="T63" fmla="*/ 261 h 431"/>
                    <a:gd name="T64" fmla="*/ 295 w 359"/>
                    <a:gd name="T65" fmla="*/ 275 h 431"/>
                    <a:gd name="T66" fmla="*/ 247 w 359"/>
                    <a:gd name="T67" fmla="*/ 288 h 431"/>
                    <a:gd name="T68" fmla="*/ 208 w 359"/>
                    <a:gd name="T69" fmla="*/ 299 h 431"/>
                    <a:gd name="T70" fmla="*/ 193 w 359"/>
                    <a:gd name="T71" fmla="*/ 308 h 431"/>
                    <a:gd name="T72" fmla="*/ 179 w 359"/>
                    <a:gd name="T73" fmla="*/ 339 h 431"/>
                    <a:gd name="T74" fmla="*/ 163 w 359"/>
                    <a:gd name="T75" fmla="*/ 356 h 431"/>
                    <a:gd name="T76" fmla="*/ 109 w 359"/>
                    <a:gd name="T77" fmla="*/ 394 h 431"/>
                    <a:gd name="T78" fmla="*/ 48 w 359"/>
                    <a:gd name="T79" fmla="*/ 424 h 431"/>
                    <a:gd name="T80" fmla="*/ 19 w 359"/>
                    <a:gd name="T81" fmla="*/ 431 h 431"/>
                    <a:gd name="T82" fmla="*/ 7 w 359"/>
                    <a:gd name="T83" fmla="*/ 426 h 431"/>
                    <a:gd name="T84" fmla="*/ 1 w 359"/>
                    <a:gd name="T85" fmla="*/ 415 h 431"/>
                    <a:gd name="T86" fmla="*/ 1 w 359"/>
                    <a:gd name="T87" fmla="*/ 402 h 431"/>
                    <a:gd name="T88" fmla="*/ 9 w 359"/>
                    <a:gd name="T89" fmla="*/ 391 h 431"/>
                    <a:gd name="T90" fmla="*/ 56 w 359"/>
                    <a:gd name="T91" fmla="*/ 374 h 431"/>
                    <a:gd name="T92" fmla="*/ 73 w 359"/>
                    <a:gd name="T93" fmla="*/ 351 h 431"/>
                    <a:gd name="T94" fmla="*/ 71 w 359"/>
                    <a:gd name="T95" fmla="*/ 335 h 431"/>
                    <a:gd name="T96" fmla="*/ 64 w 359"/>
                    <a:gd name="T97" fmla="*/ 326 h 431"/>
                    <a:gd name="T98" fmla="*/ 51 w 359"/>
                    <a:gd name="T99" fmla="*/ 320 h 431"/>
                    <a:gd name="T100" fmla="*/ 19 w 359"/>
                    <a:gd name="T101" fmla="*/ 320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grpFill/>
                <a:ln w="9525" cap="flat" cmpd="sng"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342824"/>
                  <a:endParaRPr lang="en-US" sz="13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sp>
          <p:nvSpPr>
            <p:cNvPr id="1135" name="Oval 707"/>
            <p:cNvSpPr/>
            <p:nvPr/>
          </p:nvSpPr>
          <p:spPr>
            <a:xfrm>
              <a:off x="424622" y="5237917"/>
              <a:ext cx="8591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6" name="Rectangle 708"/>
            <p:cNvSpPr/>
            <p:nvPr/>
          </p:nvSpPr>
          <p:spPr>
            <a:xfrm>
              <a:off x="507628" y="5196094"/>
              <a:ext cx="163292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Customer Technology Center</a:t>
              </a:r>
              <a:endParaRPr lang="en-GB" sz="1000" dirty="0"/>
            </a:p>
          </p:txBody>
        </p:sp>
        <p:sp>
          <p:nvSpPr>
            <p:cNvPr id="1137" name="Oval 704"/>
            <p:cNvSpPr/>
            <p:nvPr/>
          </p:nvSpPr>
          <p:spPr>
            <a:xfrm>
              <a:off x="425154" y="5478246"/>
              <a:ext cx="8591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57680" tIns="28841" rIns="57680" bIns="28841" rtlCol="0" anchor="ctr"/>
            <a:lstStyle/>
            <a:p>
              <a:pPr algn="ctr" defTabSz="685541">
                <a:defRPr/>
              </a:pPr>
              <a:endParaRPr lang="en-US" sz="1600" kern="0" dirty="0">
                <a:latin typeface="Calibri"/>
              </a:endParaRPr>
            </a:p>
          </p:txBody>
        </p:sp>
        <p:sp>
          <p:nvSpPr>
            <p:cNvPr id="1138" name="Rectangle 705"/>
            <p:cNvSpPr/>
            <p:nvPr/>
          </p:nvSpPr>
          <p:spPr>
            <a:xfrm>
              <a:off x="503069" y="5418212"/>
              <a:ext cx="1328357" cy="212134"/>
            </a:xfrm>
            <a:prstGeom prst="rect">
              <a:avLst/>
            </a:prstGeom>
          </p:spPr>
          <p:txBody>
            <a:bodyPr wrap="none" lIns="57680" tIns="28841" rIns="57680" bIns="28841">
              <a:spAutoFit/>
            </a:bodyPr>
            <a:lstStyle/>
            <a:p>
              <a:pPr defTabSz="342824">
                <a:defRPr/>
              </a:pPr>
              <a:r>
                <a:rPr lang="en-GB" sz="1000" smtClean="0"/>
                <a:t>Major Technical Center</a:t>
              </a:r>
              <a:endParaRPr lang="en-GB" sz="1000" dirty="0"/>
            </a:p>
          </p:txBody>
        </p:sp>
        <p:grpSp>
          <p:nvGrpSpPr>
            <p:cNvPr id="1139" name="Group 39"/>
            <p:cNvGrpSpPr/>
            <p:nvPr/>
          </p:nvGrpSpPr>
          <p:grpSpPr>
            <a:xfrm>
              <a:off x="7269260" y="2955107"/>
              <a:ext cx="156341" cy="119260"/>
              <a:chOff x="9242992" y="2917361"/>
              <a:chExt cx="190730" cy="142319"/>
            </a:xfrm>
          </p:grpSpPr>
          <p:sp>
            <p:nvSpPr>
              <p:cNvPr id="1140" name="Oval 864"/>
              <p:cNvSpPr/>
              <p:nvPr/>
            </p:nvSpPr>
            <p:spPr>
              <a:xfrm>
                <a:off x="9251438" y="2917361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41" name="Group 38"/>
              <p:cNvGrpSpPr/>
              <p:nvPr/>
            </p:nvGrpSpPr>
            <p:grpSpPr>
              <a:xfrm>
                <a:off x="9242992" y="2944476"/>
                <a:ext cx="190730" cy="115204"/>
                <a:chOff x="9242992" y="2944476"/>
                <a:chExt cx="190730" cy="115204"/>
              </a:xfrm>
            </p:grpSpPr>
            <p:sp>
              <p:nvSpPr>
                <p:cNvPr id="1142" name="Oval 863"/>
                <p:cNvSpPr/>
                <p:nvPr/>
              </p:nvSpPr>
              <p:spPr>
                <a:xfrm>
                  <a:off x="9309502" y="2944476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3" name="Oval 865"/>
                <p:cNvSpPr/>
                <p:nvPr/>
              </p:nvSpPr>
              <p:spPr>
                <a:xfrm>
                  <a:off x="9242992" y="2964187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4" name="Oval 866"/>
                <p:cNvSpPr/>
                <p:nvPr/>
              </p:nvSpPr>
              <p:spPr>
                <a:xfrm>
                  <a:off x="9285273" y="2952564"/>
                  <a:ext cx="124220" cy="95493"/>
                </a:xfrm>
                <a:prstGeom prst="ellipse">
                  <a:avLst/>
                </a:prstGeom>
                <a:solidFill>
                  <a:schemeClr val="accent5"/>
                </a:solidFill>
                <a:ln w="9525" cap="flat" cmpd="sng" algn="ctr">
                  <a:noFill/>
                  <a:prstDash val="solid"/>
                </a:ln>
                <a:effectLst>
                  <a:outerShdw blurRad="63500" dist="25400" dir="5400000" rotWithShape="0">
                    <a:srgbClr val="000000">
                      <a:alpha val="43137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l">
                    <a:rot lat="0" lon="0" rev="8700000"/>
                  </a:lightRig>
                </a:scene3d>
                <a:sp3d>
                  <a:bevelT w="0" h="0"/>
                  <a:contourClr>
                    <a:srgbClr val="FFCD4F">
                      <a:shade val="80000"/>
                    </a:srgbClr>
                  </a:contourClr>
                </a:sp3d>
              </p:spPr>
              <p:txBody>
                <a:bodyPr rtlCol="0" anchor="ctr"/>
                <a:lstStyle/>
                <a:p>
                  <a:pPr algn="ctr" defTabSz="685541">
                    <a:defRPr/>
                  </a:pPr>
                  <a:endParaRPr lang="en-US" sz="1300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145" name="Group 36"/>
            <p:cNvGrpSpPr/>
            <p:nvPr/>
          </p:nvGrpSpPr>
          <p:grpSpPr>
            <a:xfrm>
              <a:off x="6954443" y="2574377"/>
              <a:ext cx="564460" cy="516175"/>
              <a:chOff x="8858942" y="2462987"/>
              <a:chExt cx="688620" cy="615984"/>
            </a:xfrm>
          </p:grpSpPr>
          <p:sp>
            <p:nvSpPr>
              <p:cNvPr id="1146" name="Oval 826"/>
              <p:cNvSpPr/>
              <p:nvPr/>
            </p:nvSpPr>
            <p:spPr>
              <a:xfrm>
                <a:off x="9423342" y="2789759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7" name="Oval 856"/>
              <p:cNvSpPr/>
              <p:nvPr/>
            </p:nvSpPr>
            <p:spPr>
              <a:xfrm>
                <a:off x="9097844" y="2462987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8" name="Oval 858"/>
              <p:cNvSpPr/>
              <p:nvPr/>
            </p:nvSpPr>
            <p:spPr>
              <a:xfrm>
                <a:off x="8991731" y="25676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49" name="Oval 859"/>
              <p:cNvSpPr/>
              <p:nvPr/>
            </p:nvSpPr>
            <p:spPr>
              <a:xfrm>
                <a:off x="8858942" y="289076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0" name="Oval 860"/>
              <p:cNvSpPr/>
              <p:nvPr/>
            </p:nvSpPr>
            <p:spPr>
              <a:xfrm>
                <a:off x="8949322" y="2937315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1" name="Oval 862"/>
              <p:cNvSpPr/>
              <p:nvPr/>
            </p:nvSpPr>
            <p:spPr>
              <a:xfrm>
                <a:off x="9240171" y="289773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2" name="Oval 867"/>
              <p:cNvSpPr/>
              <p:nvPr/>
            </p:nvSpPr>
            <p:spPr>
              <a:xfrm>
                <a:off x="9192109" y="2572894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3" name="Oval 697"/>
              <p:cNvSpPr/>
              <p:nvPr/>
            </p:nvSpPr>
            <p:spPr>
              <a:xfrm>
                <a:off x="9264984" y="2983478"/>
                <a:ext cx="124220" cy="95493"/>
              </a:xfrm>
              <a:prstGeom prst="ellipse">
                <a:avLst/>
              </a:prstGeom>
              <a:gradFill rotWithShape="1">
                <a:gsLst>
                  <a:gs pos="0">
                    <a:srgbClr val="FFCD4F">
                      <a:tint val="92000"/>
                      <a:satMod val="170000"/>
                    </a:srgbClr>
                  </a:gs>
                  <a:gs pos="15000">
                    <a:srgbClr val="FFCD4F">
                      <a:tint val="92000"/>
                      <a:shade val="99000"/>
                      <a:satMod val="170000"/>
                    </a:srgbClr>
                  </a:gs>
                  <a:gs pos="33000">
                    <a:srgbClr val="FFCD4F">
                      <a:tint val="96000"/>
                      <a:shade val="80000"/>
                      <a:satMod val="170000"/>
                    </a:srgbClr>
                  </a:gs>
                  <a:gs pos="100000">
                    <a:srgbClr val="FFCD4F">
                      <a:shade val="62000"/>
                      <a:satMod val="170000"/>
                      <a:lumMod val="38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4" name="Oval 870"/>
              <p:cNvSpPr/>
              <p:nvPr/>
            </p:nvSpPr>
            <p:spPr>
              <a:xfrm>
                <a:off x="9081313" y="2915520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55" name="Oval 871"/>
              <p:cNvSpPr/>
              <p:nvPr/>
            </p:nvSpPr>
            <p:spPr>
              <a:xfrm>
                <a:off x="9141520" y="2735772"/>
                <a:ext cx="124220" cy="95493"/>
              </a:xfrm>
              <a:prstGeom prst="ellipse">
                <a:avLst/>
              </a:prstGeom>
              <a:solidFill>
                <a:schemeClr val="accent5"/>
              </a:solidFill>
              <a:ln w="9525" cap="flat" cmpd="sng" algn="ctr">
                <a:noFill/>
                <a:prstDash val="solid"/>
              </a:ln>
              <a:effectLst>
                <a:outerShdw blurRad="63500" dist="25400" dir="5400000" rotWithShape="0">
                  <a:srgbClr val="000000">
                    <a:alpha val="43137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rightRoom" dir="tl">
                  <a:rot lat="0" lon="0" rev="8700000"/>
                </a:lightRig>
              </a:scene3d>
              <a:sp3d>
                <a:bevelT w="0" h="0"/>
                <a:contourClr>
                  <a:srgbClr val="FFCD4F">
                    <a:shade val="80000"/>
                  </a:srgbClr>
                </a:contourClr>
              </a:sp3d>
            </p:spPr>
            <p:txBody>
              <a:bodyPr rtlCol="0" anchor="ctr"/>
              <a:lstStyle/>
              <a:p>
                <a:pPr algn="ctr" defTabSz="685541">
                  <a:defRPr/>
                </a:pPr>
                <a:endParaRPr lang="en-US" sz="13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1156" name="Oval 778"/>
            <p:cNvSpPr/>
            <p:nvPr/>
          </p:nvSpPr>
          <p:spPr>
            <a:xfrm>
              <a:off x="6928055" y="36464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7" name="Oval 822"/>
            <p:cNvSpPr/>
            <p:nvPr/>
          </p:nvSpPr>
          <p:spPr>
            <a:xfrm>
              <a:off x="6949356" y="372826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8" name="Oval 827"/>
            <p:cNvSpPr/>
            <p:nvPr/>
          </p:nvSpPr>
          <p:spPr>
            <a:xfrm>
              <a:off x="7416035" y="28214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9" name="Oval 828"/>
            <p:cNvSpPr/>
            <p:nvPr/>
          </p:nvSpPr>
          <p:spPr>
            <a:xfrm>
              <a:off x="7461227" y="2849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0" name="Oval 829"/>
            <p:cNvSpPr/>
            <p:nvPr/>
          </p:nvSpPr>
          <p:spPr>
            <a:xfrm>
              <a:off x="6890676" y="342490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1" name="Oval 857"/>
            <p:cNvSpPr/>
            <p:nvPr/>
          </p:nvSpPr>
          <p:spPr>
            <a:xfrm>
              <a:off x="7192108" y="2631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2" name="Oval 861"/>
            <p:cNvSpPr/>
            <p:nvPr/>
          </p:nvSpPr>
          <p:spPr>
            <a:xfrm>
              <a:off x="7165126" y="315678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3" name="Oval 868"/>
            <p:cNvSpPr/>
            <p:nvPr/>
          </p:nvSpPr>
          <p:spPr>
            <a:xfrm>
              <a:off x="7252107" y="2932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4" name="Oval 869"/>
            <p:cNvSpPr/>
            <p:nvPr/>
          </p:nvSpPr>
          <p:spPr>
            <a:xfrm>
              <a:off x="7056278" y="29489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5" name="Oval 709"/>
            <p:cNvSpPr/>
            <p:nvPr/>
          </p:nvSpPr>
          <p:spPr>
            <a:xfrm>
              <a:off x="7210825" y="2990238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6" name="Oval 872"/>
            <p:cNvSpPr/>
            <p:nvPr/>
          </p:nvSpPr>
          <p:spPr>
            <a:xfrm>
              <a:off x="7158102" y="281092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7" name="Oval 823"/>
            <p:cNvSpPr/>
            <p:nvPr/>
          </p:nvSpPr>
          <p:spPr>
            <a:xfrm>
              <a:off x="5355177" y="23691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8" name="Oval 765"/>
            <p:cNvSpPr/>
            <p:nvPr/>
          </p:nvSpPr>
          <p:spPr>
            <a:xfrm>
              <a:off x="4537295" y="25328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69" name="Oval 766"/>
            <p:cNvSpPr/>
            <p:nvPr/>
          </p:nvSpPr>
          <p:spPr>
            <a:xfrm>
              <a:off x="4530518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0" name="Oval 743"/>
            <p:cNvSpPr/>
            <p:nvPr/>
          </p:nvSpPr>
          <p:spPr>
            <a:xfrm>
              <a:off x="4490700" y="253322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1" name="Oval 759"/>
            <p:cNvSpPr/>
            <p:nvPr/>
          </p:nvSpPr>
          <p:spPr>
            <a:xfrm>
              <a:off x="4400709" y="244536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2" name="Oval 760"/>
            <p:cNvSpPr/>
            <p:nvPr/>
          </p:nvSpPr>
          <p:spPr>
            <a:xfrm>
              <a:off x="4344318" y="24834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3" name="Oval 767"/>
            <p:cNvSpPr/>
            <p:nvPr/>
          </p:nvSpPr>
          <p:spPr>
            <a:xfrm>
              <a:off x="4550996" y="25328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4" name="Oval 825"/>
            <p:cNvSpPr/>
            <p:nvPr/>
          </p:nvSpPr>
          <p:spPr>
            <a:xfrm>
              <a:off x="4603954" y="256217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5" name="Oval 844"/>
            <p:cNvSpPr/>
            <p:nvPr/>
          </p:nvSpPr>
          <p:spPr>
            <a:xfrm>
              <a:off x="4588207" y="24108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6" name="Oval 845"/>
            <p:cNvSpPr/>
            <p:nvPr/>
          </p:nvSpPr>
          <p:spPr>
            <a:xfrm>
              <a:off x="4547703" y="23744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7" name="Oval 847"/>
            <p:cNvSpPr/>
            <p:nvPr/>
          </p:nvSpPr>
          <p:spPr>
            <a:xfrm>
              <a:off x="4597005" y="24880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8" name="Oval 848"/>
            <p:cNvSpPr/>
            <p:nvPr/>
          </p:nvSpPr>
          <p:spPr>
            <a:xfrm>
              <a:off x="4534272" y="24437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79" name="Oval 742"/>
            <p:cNvSpPr/>
            <p:nvPr/>
          </p:nvSpPr>
          <p:spPr>
            <a:xfrm>
              <a:off x="4451184" y="254493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0" name="Oval 761"/>
            <p:cNvSpPr/>
            <p:nvPr/>
          </p:nvSpPr>
          <p:spPr>
            <a:xfrm>
              <a:off x="4339845" y="244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1" name="Oval 762"/>
            <p:cNvSpPr/>
            <p:nvPr/>
          </p:nvSpPr>
          <p:spPr>
            <a:xfrm>
              <a:off x="4400709" y="2486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2" name="Oval 763"/>
            <p:cNvSpPr/>
            <p:nvPr/>
          </p:nvSpPr>
          <p:spPr>
            <a:xfrm>
              <a:off x="4365951" y="24965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3" name="Oval 696"/>
            <p:cNvSpPr/>
            <p:nvPr/>
          </p:nvSpPr>
          <p:spPr>
            <a:xfrm>
              <a:off x="4427186" y="244920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4" name="Oval 695"/>
            <p:cNvSpPr/>
            <p:nvPr/>
          </p:nvSpPr>
          <p:spPr>
            <a:xfrm>
              <a:off x="4319367" y="250493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5" name="Oval 768"/>
            <p:cNvSpPr/>
            <p:nvPr/>
          </p:nvSpPr>
          <p:spPr>
            <a:xfrm>
              <a:off x="4492833" y="25874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6" name="Oval 777"/>
            <p:cNvSpPr/>
            <p:nvPr/>
          </p:nvSpPr>
          <p:spPr>
            <a:xfrm>
              <a:off x="4358164" y="262733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7" name="Oval 699"/>
            <p:cNvSpPr/>
            <p:nvPr/>
          </p:nvSpPr>
          <p:spPr>
            <a:xfrm>
              <a:off x="4571188" y="245444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8" name="Oval 841"/>
            <p:cNvSpPr/>
            <p:nvPr/>
          </p:nvSpPr>
          <p:spPr>
            <a:xfrm>
              <a:off x="3989621" y="28947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89" name="Oval 842"/>
            <p:cNvSpPr/>
            <p:nvPr/>
          </p:nvSpPr>
          <p:spPr>
            <a:xfrm>
              <a:off x="3989742" y="29316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0" name="Oval 843"/>
            <p:cNvSpPr/>
            <p:nvPr/>
          </p:nvSpPr>
          <p:spPr>
            <a:xfrm>
              <a:off x="3936584" y="29415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1" name="Freeform 43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08300" y="2708468"/>
              <a:ext cx="17308" cy="4790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192" name="Oval 830"/>
            <p:cNvSpPr/>
            <p:nvPr/>
          </p:nvSpPr>
          <p:spPr>
            <a:xfrm>
              <a:off x="4074323" y="269241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3" name="Oval 831"/>
            <p:cNvSpPr/>
            <p:nvPr/>
          </p:nvSpPr>
          <p:spPr>
            <a:xfrm>
              <a:off x="4113579" y="27448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4" name="Oval 832"/>
            <p:cNvSpPr/>
            <p:nvPr/>
          </p:nvSpPr>
          <p:spPr>
            <a:xfrm>
              <a:off x="4158410" y="2699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5" name="Oval 837"/>
            <p:cNvSpPr/>
            <p:nvPr/>
          </p:nvSpPr>
          <p:spPr>
            <a:xfrm>
              <a:off x="4087445" y="24334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6" name="Oval 744"/>
            <p:cNvSpPr/>
            <p:nvPr/>
          </p:nvSpPr>
          <p:spPr>
            <a:xfrm>
              <a:off x="4124952" y="256915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7" name="Oval 745"/>
            <p:cNvSpPr/>
            <p:nvPr/>
          </p:nvSpPr>
          <p:spPr>
            <a:xfrm>
              <a:off x="4141102" y="25253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8" name="Oval 746"/>
            <p:cNvSpPr/>
            <p:nvPr/>
          </p:nvSpPr>
          <p:spPr>
            <a:xfrm>
              <a:off x="4042960" y="258494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99" name="Oval 747"/>
            <p:cNvSpPr/>
            <p:nvPr/>
          </p:nvSpPr>
          <p:spPr>
            <a:xfrm>
              <a:off x="4031774" y="251677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0" name="Oval 693"/>
            <p:cNvSpPr/>
            <p:nvPr/>
          </p:nvSpPr>
          <p:spPr>
            <a:xfrm>
              <a:off x="4089885" y="255253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1" name="Oval 839"/>
            <p:cNvSpPr/>
            <p:nvPr/>
          </p:nvSpPr>
          <p:spPr>
            <a:xfrm>
              <a:off x="4045180" y="241840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2" name="Oval 840"/>
            <p:cNvSpPr/>
            <p:nvPr/>
          </p:nvSpPr>
          <p:spPr>
            <a:xfrm>
              <a:off x="4154675" y="240983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3" name="Oval 849"/>
            <p:cNvSpPr/>
            <p:nvPr/>
          </p:nvSpPr>
          <p:spPr>
            <a:xfrm>
              <a:off x="3932402" y="27164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4" name="Oval 850"/>
            <p:cNvSpPr/>
            <p:nvPr/>
          </p:nvSpPr>
          <p:spPr>
            <a:xfrm>
              <a:off x="3960095" y="27558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5" name="Oval 851"/>
            <p:cNvSpPr/>
            <p:nvPr/>
          </p:nvSpPr>
          <p:spPr>
            <a:xfrm>
              <a:off x="3943357" y="273774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6" name="Oval 852"/>
            <p:cNvSpPr/>
            <p:nvPr/>
          </p:nvSpPr>
          <p:spPr>
            <a:xfrm>
              <a:off x="3912646" y="274674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7" name="Oval 700"/>
            <p:cNvSpPr/>
            <p:nvPr/>
          </p:nvSpPr>
          <p:spPr>
            <a:xfrm>
              <a:off x="6218852" y="3397527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8" name="Oval 770"/>
            <p:cNvSpPr/>
            <p:nvPr/>
          </p:nvSpPr>
          <p:spPr>
            <a:xfrm>
              <a:off x="6302500" y="3476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09" name="Oval 771"/>
            <p:cNvSpPr/>
            <p:nvPr/>
          </p:nvSpPr>
          <p:spPr>
            <a:xfrm>
              <a:off x="6147890" y="30343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0" name="Oval 772"/>
            <p:cNvSpPr/>
            <p:nvPr/>
          </p:nvSpPr>
          <p:spPr>
            <a:xfrm>
              <a:off x="6150485" y="29783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1" name="Oval 775"/>
            <p:cNvSpPr/>
            <p:nvPr/>
          </p:nvSpPr>
          <p:spPr>
            <a:xfrm>
              <a:off x="6113274" y="328317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2" name="Oval 776"/>
            <p:cNvSpPr/>
            <p:nvPr/>
          </p:nvSpPr>
          <p:spPr>
            <a:xfrm>
              <a:off x="6207059" y="350671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3" name="Oval 824"/>
            <p:cNvSpPr/>
            <p:nvPr/>
          </p:nvSpPr>
          <p:spPr>
            <a:xfrm>
              <a:off x="5315093" y="238570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4" name="Oval 834"/>
            <p:cNvSpPr/>
            <p:nvPr/>
          </p:nvSpPr>
          <p:spPr>
            <a:xfrm>
              <a:off x="4809166" y="27867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5" name="Oval 835"/>
            <p:cNvSpPr/>
            <p:nvPr/>
          </p:nvSpPr>
          <p:spPr>
            <a:xfrm>
              <a:off x="4894673" y="272393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6" name="Oval 836"/>
            <p:cNvSpPr/>
            <p:nvPr/>
          </p:nvSpPr>
          <p:spPr>
            <a:xfrm>
              <a:off x="4840221" y="279540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7" name="Oval 853"/>
            <p:cNvSpPr/>
            <p:nvPr/>
          </p:nvSpPr>
          <p:spPr>
            <a:xfrm>
              <a:off x="4703301" y="258995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8" name="Oval 854"/>
            <p:cNvSpPr/>
            <p:nvPr/>
          </p:nvSpPr>
          <p:spPr>
            <a:xfrm>
              <a:off x="4788992" y="258481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19" name="Oval 855"/>
            <p:cNvSpPr/>
            <p:nvPr/>
          </p:nvSpPr>
          <p:spPr>
            <a:xfrm>
              <a:off x="4695788" y="26243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0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441185" y="2756371"/>
              <a:ext cx="53652" cy="4790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bg2">
                <a:lumMod val="75000"/>
                <a:lumOff val="25000"/>
              </a:schemeClr>
            </a:solidFill>
            <a:ln w="9525" cmpd="sng">
              <a:solidFill>
                <a:srgbClr val="3177FF"/>
              </a:solidFill>
              <a:prstDash val="solid"/>
              <a:round/>
              <a:headEnd/>
              <a:tailEnd/>
            </a:ln>
          </p:spPr>
          <p:txBody>
            <a:bodyPr lIns="91409" tIns="45705" rIns="91409" bIns="45705"/>
            <a:lstStyle/>
            <a:p>
              <a:pPr defTabSz="342824"/>
              <a:endParaRPr lang="en-US" sz="1300" dirty="0">
                <a:solidFill>
                  <a:srgbClr val="FFFFFF"/>
                </a:solidFill>
              </a:endParaRPr>
            </a:p>
          </p:txBody>
        </p:sp>
        <p:sp>
          <p:nvSpPr>
            <p:cNvPr id="1221" name="Oval 688"/>
            <p:cNvSpPr/>
            <p:nvPr/>
          </p:nvSpPr>
          <p:spPr>
            <a:xfrm>
              <a:off x="2176385" y="2667526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2" name="Oval 735"/>
            <p:cNvSpPr/>
            <p:nvPr/>
          </p:nvSpPr>
          <p:spPr>
            <a:xfrm>
              <a:off x="2075973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3" name="Oval 737"/>
            <p:cNvSpPr/>
            <p:nvPr/>
          </p:nvSpPr>
          <p:spPr>
            <a:xfrm>
              <a:off x="2215080" y="277466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4" name="Oval 738"/>
            <p:cNvSpPr/>
            <p:nvPr/>
          </p:nvSpPr>
          <p:spPr>
            <a:xfrm>
              <a:off x="2215080" y="281922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5" name="Oval 739"/>
            <p:cNvSpPr/>
            <p:nvPr/>
          </p:nvSpPr>
          <p:spPr>
            <a:xfrm>
              <a:off x="2145527" y="279249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6" name="Oval 764"/>
            <p:cNvSpPr/>
            <p:nvPr/>
          </p:nvSpPr>
          <p:spPr>
            <a:xfrm>
              <a:off x="1951419" y="34818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7" name="Oval 779"/>
            <p:cNvSpPr/>
            <p:nvPr/>
          </p:nvSpPr>
          <p:spPr>
            <a:xfrm>
              <a:off x="1500710" y="30676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8" name="Oval 780"/>
            <p:cNvSpPr/>
            <p:nvPr/>
          </p:nvSpPr>
          <p:spPr>
            <a:xfrm>
              <a:off x="1472993" y="30854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29" name="Oval 781"/>
            <p:cNvSpPr/>
            <p:nvPr/>
          </p:nvSpPr>
          <p:spPr>
            <a:xfrm>
              <a:off x="1520288" y="3220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0" name="Oval 782"/>
            <p:cNvSpPr/>
            <p:nvPr/>
          </p:nvSpPr>
          <p:spPr>
            <a:xfrm>
              <a:off x="1571199" y="324593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1" name="Oval 786"/>
            <p:cNvSpPr/>
            <p:nvPr/>
          </p:nvSpPr>
          <p:spPr>
            <a:xfrm>
              <a:off x="1490234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2" name="Oval 787"/>
            <p:cNvSpPr/>
            <p:nvPr/>
          </p:nvSpPr>
          <p:spPr>
            <a:xfrm>
              <a:off x="1449798" y="30183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3" name="Oval 788"/>
            <p:cNvSpPr/>
            <p:nvPr/>
          </p:nvSpPr>
          <p:spPr>
            <a:xfrm>
              <a:off x="1418466" y="304080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4" name="Oval 789"/>
            <p:cNvSpPr/>
            <p:nvPr/>
          </p:nvSpPr>
          <p:spPr>
            <a:xfrm>
              <a:off x="1458239" y="30596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5" name="Oval 790"/>
            <p:cNvSpPr/>
            <p:nvPr/>
          </p:nvSpPr>
          <p:spPr>
            <a:xfrm>
              <a:off x="1496206" y="302159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6" name="Oval 791"/>
            <p:cNvSpPr/>
            <p:nvPr/>
          </p:nvSpPr>
          <p:spPr>
            <a:xfrm>
              <a:off x="1487991" y="304724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7" name="Oval 792"/>
            <p:cNvSpPr/>
            <p:nvPr/>
          </p:nvSpPr>
          <p:spPr>
            <a:xfrm>
              <a:off x="1496432" y="308079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8" name="Oval 793"/>
            <p:cNvSpPr/>
            <p:nvPr/>
          </p:nvSpPr>
          <p:spPr>
            <a:xfrm>
              <a:off x="1407328" y="302786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39" name="Oval 794"/>
            <p:cNvSpPr/>
            <p:nvPr/>
          </p:nvSpPr>
          <p:spPr>
            <a:xfrm>
              <a:off x="1582043" y="316038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0" name="Oval 795"/>
            <p:cNvSpPr/>
            <p:nvPr/>
          </p:nvSpPr>
          <p:spPr>
            <a:xfrm>
              <a:off x="1410376" y="320211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1" name="Oval 796"/>
            <p:cNvSpPr/>
            <p:nvPr/>
          </p:nvSpPr>
          <p:spPr>
            <a:xfrm>
              <a:off x="1573077" y="311383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2" name="Oval 797"/>
            <p:cNvSpPr/>
            <p:nvPr/>
          </p:nvSpPr>
          <p:spPr>
            <a:xfrm>
              <a:off x="1453712" y="310679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3" name="Oval 798"/>
            <p:cNvSpPr/>
            <p:nvPr/>
          </p:nvSpPr>
          <p:spPr>
            <a:xfrm>
              <a:off x="1592535" y="303264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4" name="Oval 800"/>
            <p:cNvSpPr/>
            <p:nvPr/>
          </p:nvSpPr>
          <p:spPr>
            <a:xfrm>
              <a:off x="1375962" y="3116122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5" name="Oval 801"/>
            <p:cNvSpPr/>
            <p:nvPr/>
          </p:nvSpPr>
          <p:spPr>
            <a:xfrm>
              <a:off x="1596323" y="31788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6" name="Oval 802"/>
            <p:cNvSpPr/>
            <p:nvPr/>
          </p:nvSpPr>
          <p:spPr>
            <a:xfrm>
              <a:off x="1632319" y="306678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7" name="Oval 803"/>
            <p:cNvSpPr/>
            <p:nvPr/>
          </p:nvSpPr>
          <p:spPr>
            <a:xfrm>
              <a:off x="1627062" y="32440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8" name="Oval 692"/>
            <p:cNvSpPr/>
            <p:nvPr/>
          </p:nvSpPr>
          <p:spPr>
            <a:xfrm>
              <a:off x="1549505" y="3055640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49" name="Oval 806"/>
            <p:cNvSpPr/>
            <p:nvPr/>
          </p:nvSpPr>
          <p:spPr>
            <a:xfrm>
              <a:off x="1559457" y="327105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0" name="Oval 807"/>
            <p:cNvSpPr/>
            <p:nvPr/>
          </p:nvSpPr>
          <p:spPr>
            <a:xfrm>
              <a:off x="1250449" y="297562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1" name="Oval 814"/>
            <p:cNvSpPr/>
            <p:nvPr/>
          </p:nvSpPr>
          <p:spPr>
            <a:xfrm>
              <a:off x="3023907" y="4258453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2" name="Oval 815"/>
            <p:cNvSpPr/>
            <p:nvPr/>
          </p:nvSpPr>
          <p:spPr>
            <a:xfrm>
              <a:off x="3018022" y="4347655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3" name="Oval 816"/>
            <p:cNvSpPr/>
            <p:nvPr/>
          </p:nvSpPr>
          <p:spPr>
            <a:xfrm>
              <a:off x="3070571" y="436428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4" name="Oval 818"/>
            <p:cNvSpPr/>
            <p:nvPr/>
          </p:nvSpPr>
          <p:spPr>
            <a:xfrm>
              <a:off x="2964422" y="4283124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5" name="Oval 819"/>
            <p:cNvSpPr/>
            <p:nvPr/>
          </p:nvSpPr>
          <p:spPr>
            <a:xfrm>
              <a:off x="2899839" y="433779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6" name="Oval 820"/>
            <p:cNvSpPr/>
            <p:nvPr/>
          </p:nvSpPr>
          <p:spPr>
            <a:xfrm>
              <a:off x="2943136" y="43750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7" name="Oval 689"/>
            <p:cNvSpPr/>
            <p:nvPr/>
          </p:nvSpPr>
          <p:spPr>
            <a:xfrm>
              <a:off x="2202643" y="273242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8" name="Oval 690"/>
            <p:cNvSpPr/>
            <p:nvPr/>
          </p:nvSpPr>
          <p:spPr>
            <a:xfrm>
              <a:off x="2055240" y="2730135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59" name="Oval 727"/>
            <p:cNvSpPr/>
            <p:nvPr/>
          </p:nvSpPr>
          <p:spPr>
            <a:xfrm>
              <a:off x="2010448" y="26001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0" name="Oval 728"/>
            <p:cNvSpPr/>
            <p:nvPr/>
          </p:nvSpPr>
          <p:spPr>
            <a:xfrm>
              <a:off x="2032520" y="2643871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1" name="Oval 729"/>
            <p:cNvSpPr/>
            <p:nvPr/>
          </p:nvSpPr>
          <p:spPr>
            <a:xfrm>
              <a:off x="2948329" y="445895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2" name="Oval 691"/>
            <p:cNvSpPr/>
            <p:nvPr/>
          </p:nvSpPr>
          <p:spPr>
            <a:xfrm>
              <a:off x="3026054" y="4425541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3" name="Oval 730"/>
            <p:cNvSpPr/>
            <p:nvPr/>
          </p:nvSpPr>
          <p:spPr>
            <a:xfrm>
              <a:off x="1497816" y="313731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4" name="Oval 731"/>
            <p:cNvSpPr/>
            <p:nvPr/>
          </p:nvSpPr>
          <p:spPr>
            <a:xfrm>
              <a:off x="5362085" y="229273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5" name="Oval 732"/>
            <p:cNvSpPr/>
            <p:nvPr/>
          </p:nvSpPr>
          <p:spPr>
            <a:xfrm>
              <a:off x="4396962" y="28676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6" name="Oval 733"/>
            <p:cNvSpPr/>
            <p:nvPr/>
          </p:nvSpPr>
          <p:spPr>
            <a:xfrm>
              <a:off x="4893970" y="447723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7" name="Oval 734"/>
            <p:cNvSpPr/>
            <p:nvPr/>
          </p:nvSpPr>
          <p:spPr>
            <a:xfrm>
              <a:off x="4087962" y="236774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8" name="Oval 736"/>
            <p:cNvSpPr/>
            <p:nvPr/>
          </p:nvSpPr>
          <p:spPr>
            <a:xfrm>
              <a:off x="4046001" y="244722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69" name="Oval 758"/>
            <p:cNvSpPr/>
            <p:nvPr/>
          </p:nvSpPr>
          <p:spPr>
            <a:xfrm>
              <a:off x="4026215" y="235868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0" name="Oval 694"/>
            <p:cNvSpPr/>
            <p:nvPr/>
          </p:nvSpPr>
          <p:spPr>
            <a:xfrm>
              <a:off x="4123795" y="2407103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1" name="Oval 873"/>
            <p:cNvSpPr/>
            <p:nvPr/>
          </p:nvSpPr>
          <p:spPr>
            <a:xfrm>
              <a:off x="7143489" y="271444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2" name="Oval 698"/>
            <p:cNvSpPr/>
            <p:nvPr/>
          </p:nvSpPr>
          <p:spPr>
            <a:xfrm>
              <a:off x="7079452" y="2702082"/>
              <a:ext cx="101823" cy="80020"/>
            </a:xfrm>
            <a:prstGeom prst="ellipse">
              <a:avLst/>
            </a:prstGeom>
            <a:gradFill rotWithShape="1">
              <a:gsLst>
                <a:gs pos="0">
                  <a:srgbClr val="FFCD4F">
                    <a:tint val="92000"/>
                    <a:satMod val="170000"/>
                  </a:srgbClr>
                </a:gs>
                <a:gs pos="15000">
                  <a:srgbClr val="FFCD4F">
                    <a:tint val="92000"/>
                    <a:shade val="99000"/>
                    <a:satMod val="170000"/>
                  </a:srgbClr>
                </a:gs>
                <a:gs pos="33000">
                  <a:srgbClr val="FFCD4F">
                    <a:tint val="96000"/>
                    <a:shade val="80000"/>
                    <a:satMod val="170000"/>
                  </a:srgbClr>
                </a:gs>
                <a:gs pos="100000">
                  <a:srgbClr val="FFCD4F">
                    <a:shade val="62000"/>
                    <a:satMod val="170000"/>
                    <a:lumMod val="38000"/>
                  </a:srgbClr>
                </a:gs>
              </a:gsLst>
              <a:path path="circle">
                <a:fillToRect l="50000" t="50000" r="50000" b="50000"/>
              </a:path>
            </a:gra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3" name="Oval 874"/>
            <p:cNvSpPr/>
            <p:nvPr/>
          </p:nvSpPr>
          <p:spPr>
            <a:xfrm>
              <a:off x="6298323" y="3504648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4" name="Oval 875"/>
            <p:cNvSpPr/>
            <p:nvPr/>
          </p:nvSpPr>
          <p:spPr>
            <a:xfrm>
              <a:off x="7008977" y="3909979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5" name="Oval 876"/>
            <p:cNvSpPr/>
            <p:nvPr/>
          </p:nvSpPr>
          <p:spPr>
            <a:xfrm>
              <a:off x="7575352" y="2845810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6" name="Oval 877"/>
            <p:cNvSpPr/>
            <p:nvPr/>
          </p:nvSpPr>
          <p:spPr>
            <a:xfrm>
              <a:off x="6989395" y="3727777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277" name="Oval 879"/>
            <p:cNvSpPr/>
            <p:nvPr/>
          </p:nvSpPr>
          <p:spPr>
            <a:xfrm>
              <a:off x="7448247" y="2810486"/>
              <a:ext cx="101823" cy="80020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>
              <a:outerShdw blurRad="63500" dist="25400" dir="5400000" rotWithShape="0">
                <a:srgbClr val="000000">
                  <a:alpha val="43137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rgbClr val="FFCD4F">
                  <a:shade val="80000"/>
                </a:srgbClr>
              </a:contourClr>
            </a:sp3d>
          </p:spPr>
          <p:txBody>
            <a:bodyPr lIns="91409" tIns="45705" rIns="91409" bIns="45705" rtlCol="0" anchor="ctr"/>
            <a:lstStyle/>
            <a:p>
              <a:pPr algn="ctr" defTabSz="685541">
                <a:defRPr/>
              </a:pPr>
              <a:endParaRPr lang="en-US" sz="1300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8951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lphi Deutschland </a:t>
            </a:r>
            <a:r>
              <a:rPr lang="de-DE" dirty="0" smtClean="0"/>
              <a:t>GmbH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ustomer Technology Center Wuppertal</a:t>
            </a:r>
          </a:p>
          <a:p>
            <a:pPr lvl="1"/>
            <a:r>
              <a:rPr lang="de-DE" sz="1800" dirty="0" smtClean="0"/>
              <a:t>Ca. 700 Mitarbeiter</a:t>
            </a:r>
            <a:endParaRPr lang="de-DE" sz="1800" dirty="0"/>
          </a:p>
        </p:txBody>
      </p:sp>
      <p:pic>
        <p:nvPicPr>
          <p:cNvPr id="4" name="Picture 4" descr="P:\CAE\WHiPCAD\SW Development\01_Projekte\67_PTM\Documents\planning\Projektpräsentation\ctcWuppert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272" y="2325444"/>
            <a:ext cx="4423456" cy="31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115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ivisionen</a:t>
            </a:r>
            <a:endParaRPr lang="en-US"/>
          </a:p>
        </p:txBody>
      </p:sp>
      <p:pic>
        <p:nvPicPr>
          <p:cNvPr id="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564904"/>
            <a:ext cx="2831380" cy="1546474"/>
          </a:xfrm>
          <a:prstGeom prst="rect">
            <a:avLst/>
          </a:prstGeom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518" y="2629677"/>
            <a:ext cx="2843086" cy="1488915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724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3358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isionen</a:t>
            </a:r>
          </a:p>
        </p:txBody>
      </p:sp>
      <p:pic>
        <p:nvPicPr>
          <p:cNvPr id="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62" y="2564904"/>
            <a:ext cx="2831380" cy="1546474"/>
          </a:xfrm>
          <a:prstGeom prst="rect">
            <a:avLst/>
          </a:prstGeom>
        </p:spPr>
      </p:pic>
      <p:pic>
        <p:nvPicPr>
          <p:cNvPr id="5" name="Picture 6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518" y="2629677"/>
            <a:ext cx="2843086" cy="1488915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724" y="2629676"/>
            <a:ext cx="2764112" cy="1488281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fel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2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76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mtClean="0"/>
              <a:t>Electrical/Electronic Architecture (E/EA)</a:t>
            </a:r>
            <a:endParaRPr lang="de-DE" dirty="0" smtClean="0"/>
          </a:p>
          <a:p>
            <a:pPr lvl="1"/>
            <a:r>
              <a:rPr lang="de-DE" dirty="0" smtClean="0"/>
              <a:t>Engineering IT</a:t>
            </a:r>
          </a:p>
          <a:p>
            <a:pPr lvl="1"/>
            <a:endParaRPr lang="de-DE" dirty="0"/>
          </a:p>
        </p:txBody>
      </p:sp>
      <p:pic>
        <p:nvPicPr>
          <p:cNvPr id="4" name="Picture 25" descr="c47dd1b9-32cc-4829-9ee7-5f88e7431779C5ZZ-14289-EFI64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231" y="1988840"/>
            <a:ext cx="5259648" cy="394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87938" y="3077419"/>
            <a:ext cx="2356234" cy="1768112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1931353" y="2114854"/>
            <a:ext cx="5269404" cy="3330370"/>
            <a:chOff x="2255732" y="2708920"/>
            <a:chExt cx="5269404" cy="3330370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4442302" y="2708920"/>
              <a:ext cx="914400" cy="903103"/>
              <a:chOff x="4442302" y="2708920"/>
              <a:chExt cx="914400" cy="903103"/>
            </a:xfrm>
          </p:grpSpPr>
          <p:pic>
            <p:nvPicPr>
              <p:cNvPr id="1028" name="Picture 4" descr="P:\QITS\Projekte\56_Velocity Customer Data Processor\Documents\Icons\Veloster_Logo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6793" y="2708920"/>
                <a:ext cx="705418" cy="7054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feld 10"/>
              <p:cNvSpPr txBox="1"/>
              <p:nvPr/>
            </p:nvSpPr>
            <p:spPr>
              <a:xfrm>
                <a:off x="4442302" y="324898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err="1" smtClean="0"/>
                  <a:t>Veloster</a:t>
                </a:r>
                <a:endParaRPr lang="de-DE" sz="1400" dirty="0" smtClean="0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6306315" y="3294060"/>
              <a:ext cx="1218821" cy="858023"/>
              <a:chOff x="6306315" y="3294060"/>
              <a:chExt cx="1218821" cy="858023"/>
            </a:xfrm>
          </p:grpSpPr>
          <p:pic>
            <p:nvPicPr>
              <p:cNvPr id="1031" name="Picture 7" descr="P:\QITS\Projekte\75_VXF Explorer\Documents\Icons\VXF Explorer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1239" y="3294060"/>
                <a:ext cx="628973" cy="628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Textfeld 17"/>
              <p:cNvSpPr txBox="1"/>
              <p:nvPr/>
            </p:nvSpPr>
            <p:spPr>
              <a:xfrm>
                <a:off x="6306315" y="3789040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VXF Explorer</a:t>
                </a:r>
                <a:endParaRPr lang="de-DE" sz="1400" dirty="0" smtClean="0"/>
              </a:p>
            </p:txBody>
          </p:sp>
        </p:grpSp>
        <p:grpSp>
          <p:nvGrpSpPr>
            <p:cNvPr id="15" name="Gruppieren 14"/>
            <p:cNvGrpSpPr/>
            <p:nvPr/>
          </p:nvGrpSpPr>
          <p:grpSpPr>
            <a:xfrm>
              <a:off x="6306315" y="4916819"/>
              <a:ext cx="1218821" cy="1077466"/>
              <a:chOff x="6306315" y="4916819"/>
              <a:chExt cx="1218821" cy="1077466"/>
            </a:xfrm>
          </p:grpSpPr>
          <p:pic>
            <p:nvPicPr>
              <p:cNvPr id="1030" name="Picture 6" descr="C:\Users\qzpwn3\Documents\Projekte\DevManager\DevManager\Resources\devManager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2966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0" name="Textfeld 19"/>
              <p:cNvSpPr txBox="1"/>
              <p:nvPr/>
            </p:nvSpPr>
            <p:spPr>
              <a:xfrm>
                <a:off x="6306315" y="5631242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Delphi Project Monitoring</a:t>
                </a:r>
                <a:endParaRPr lang="de-DE" sz="1400" dirty="0" smtClean="0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255732" y="4916819"/>
              <a:ext cx="1218821" cy="1122471"/>
              <a:chOff x="2255732" y="4916819"/>
              <a:chExt cx="1218821" cy="1122471"/>
            </a:xfrm>
          </p:grpSpPr>
          <p:pic>
            <p:nvPicPr>
              <p:cNvPr id="1033" name="Picture 9" descr="C:\Users\qzpwn3\Documents\Projekte\SQL Manager\Source\DELightDB\Resources\sqlmanager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2383" y="4916819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feld 20"/>
              <p:cNvSpPr txBox="1"/>
              <p:nvPr/>
            </p:nvSpPr>
            <p:spPr>
              <a:xfrm>
                <a:off x="2255732" y="5676247"/>
                <a:ext cx="1218821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SQL Manager</a:t>
                </a:r>
                <a:endParaRPr lang="de-DE" sz="1400" dirty="0" smtClean="0"/>
              </a:p>
            </p:txBody>
          </p:sp>
        </p:grpSp>
        <p:grpSp>
          <p:nvGrpSpPr>
            <p:cNvPr id="16" name="Gruppieren 15"/>
            <p:cNvGrpSpPr/>
            <p:nvPr/>
          </p:nvGrpSpPr>
          <p:grpSpPr>
            <a:xfrm>
              <a:off x="2407943" y="3155786"/>
              <a:ext cx="914400" cy="1086307"/>
              <a:chOff x="2577480" y="3155786"/>
              <a:chExt cx="914400" cy="1086307"/>
            </a:xfrm>
          </p:grpSpPr>
          <p:pic>
            <p:nvPicPr>
              <p:cNvPr id="1026" name="Picture 2" descr="P:\QITS\Projekte\84_EWO Tracking\Documents\Icons\trackerico\try3\EWOTrackerIco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86360" y="3155786"/>
                <a:ext cx="905520" cy="9055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feld 24"/>
              <p:cNvSpPr txBox="1"/>
              <p:nvPr/>
            </p:nvSpPr>
            <p:spPr>
              <a:xfrm>
                <a:off x="2577480" y="3879050"/>
                <a:ext cx="914400" cy="363043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b">
                <a:noAutofit/>
              </a:bodyPr>
              <a:lstStyle/>
              <a:p>
                <a:pPr algn="ctr"/>
                <a:r>
                  <a:rPr lang="de-DE" sz="1200" dirty="0" smtClean="0"/>
                  <a:t>EWO Tracking</a:t>
                </a:r>
              </a:p>
            </p:txBody>
          </p:sp>
        </p:grpSp>
      </p:grp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3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1549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umfeld CTC </a:t>
            </a:r>
            <a:r>
              <a:rPr lang="de-DE" dirty="0" smtClean="0"/>
              <a:t>Wupperta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Leitungssatzentwicklung</a:t>
            </a:r>
          </a:p>
          <a:p>
            <a:r>
              <a:rPr lang="de-DE"/>
              <a:t>Sub Assemblies kommen </a:t>
            </a:r>
            <a:r>
              <a:rPr lang="de-DE"/>
              <a:t>zum </a:t>
            </a:r>
            <a:r>
              <a:rPr lang="de-DE" smtClean="0"/>
              <a:t>Einsatz</a:t>
            </a:r>
          </a:p>
          <a:p>
            <a:r>
              <a:rPr lang="de-DE" smtClean="0"/>
              <a:t>Beispiel: USB-Leitungen</a:t>
            </a:r>
            <a:endParaRPr lang="de-DE" dirty="0"/>
          </a:p>
          <a:p>
            <a:endParaRPr lang="de-DE" dirty="0"/>
          </a:p>
          <a:p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29" name="Rechteck 28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Anforderungen</a:t>
            </a:r>
            <a:endParaRPr lang="de-DE" sz="1050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3 / 13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098" name="Picture 2" descr="https://upload.wikimedia.org/wikipedia/commons/e/e6/USB_TypeA_Plu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2348880"/>
            <a:ext cx="3205007" cy="307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864617" y="5431593"/>
            <a:ext cx="8027863" cy="266328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 sz="800" smtClean="0"/>
              <a:t>Quelle: https</a:t>
            </a:r>
            <a:r>
              <a:rPr lang="en-US" sz="800"/>
              <a:t>://upload.wikimedia.org/wikipedia/commons/e/e6/USB_TypeA_Plug.JPG</a:t>
            </a:r>
            <a:endParaRPr lang="en-US" sz="800" dirty="0" smtClean="0"/>
          </a:p>
        </p:txBody>
      </p:sp>
    </p:spTree>
    <p:extLst>
      <p:ext uri="{BB962C8B-B14F-4D97-AF65-F5344CB8AC3E}">
        <p14:creationId xmlns:p14="http://schemas.microsoft.com/office/powerpoint/2010/main" val="2617655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st-Analyse </a:t>
            </a:r>
            <a:r>
              <a:rPr lang="de-DE" dirty="0" smtClean="0"/>
              <a:t>– Manueller Prozess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Auftraggeber</a:t>
            </a:r>
            <a:r>
              <a:rPr lang="en-US" smtClean="0"/>
              <a:t>: Abteilung für Angebotserstellung</a:t>
            </a:r>
          </a:p>
          <a:p>
            <a:r>
              <a:rPr lang="en-US" smtClean="0"/>
              <a:t>Kosten </a:t>
            </a:r>
            <a:r>
              <a:rPr lang="en-US" smtClean="0"/>
              <a:t>für die Produktion eines Leitungssatzes</a:t>
            </a:r>
          </a:p>
          <a:p>
            <a:r>
              <a:rPr lang="en-US" smtClean="0"/>
              <a:t>Sub </a:t>
            </a:r>
            <a:r>
              <a:rPr lang="en-US" smtClean="0"/>
              <a:t>Assemblies müssen für Kalkulation definiert sein</a:t>
            </a:r>
          </a:p>
        </p:txBody>
      </p:sp>
      <p:sp>
        <p:nvSpPr>
          <p:cNvPr id="36" name="Rechteck 35"/>
          <p:cNvSpPr/>
          <p:nvPr/>
        </p:nvSpPr>
        <p:spPr>
          <a:xfrm>
            <a:off x="1826695" y="6447870"/>
            <a:ext cx="1126607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Umfeld</a:t>
            </a:r>
          </a:p>
        </p:txBody>
      </p:sp>
      <p:sp>
        <p:nvSpPr>
          <p:cNvPr id="37" name="Rechteck 36"/>
          <p:cNvSpPr/>
          <p:nvPr/>
        </p:nvSpPr>
        <p:spPr>
          <a:xfrm>
            <a:off x="72290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Faz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178624" y="6447870"/>
            <a:ext cx="1125125" cy="26337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nforderungen</a:t>
            </a:r>
          </a:p>
        </p:txBody>
      </p:sp>
      <p:sp>
        <p:nvSpPr>
          <p:cNvPr id="42" name="Rechteck 41"/>
          <p:cNvSpPr/>
          <p:nvPr/>
        </p:nvSpPr>
        <p:spPr>
          <a:xfrm>
            <a:off x="452877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Konzep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5878924" y="6447870"/>
            <a:ext cx="1125125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Umsetz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8368370" y="6447870"/>
            <a:ext cx="704129" cy="263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200" dirty="0" smtClean="0">
                <a:solidFill>
                  <a:schemeClr val="bg1"/>
                </a:solidFill>
              </a:rPr>
              <a:t>04 / 13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5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heme/theme1.xml><?xml version="1.0" encoding="utf-8"?>
<a:theme xmlns:a="http://schemas.openxmlformats.org/drawingml/2006/main" name="Design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sz="18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3</Words>
  <Application>Microsoft Office PowerPoint</Application>
  <PresentationFormat>Bildschirmpräsentation (4:3)</PresentationFormat>
  <Paragraphs>425</Paragraphs>
  <Slides>27</Slides>
  <Notes>2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7</vt:i4>
      </vt:variant>
    </vt:vector>
  </HeadingPairs>
  <TitlesOfParts>
    <vt:vector size="30" baseType="lpstr">
      <vt:lpstr>Design1</vt:lpstr>
      <vt:lpstr>Worksheet</vt:lpstr>
      <vt:lpstr>Microsoft Excel-Arbeitsblatt</vt:lpstr>
      <vt:lpstr>Sub Assembly Analyser</vt:lpstr>
      <vt:lpstr>Agenda</vt:lpstr>
      <vt:lpstr>Delphi Automotive</vt:lpstr>
      <vt:lpstr>Delphi Deutschland GmbH</vt:lpstr>
      <vt:lpstr>Divisionen</vt:lpstr>
      <vt:lpstr>Divisionen</vt:lpstr>
      <vt:lpstr>Projektumfeld CTC Wuppertal</vt:lpstr>
      <vt:lpstr>Projektumfeld CTC Wuppertal</vt:lpstr>
      <vt:lpstr>Ist-Analyse – Manueller Prozess</vt:lpstr>
      <vt:lpstr>Ist-Analyse – Manueller Prozess</vt:lpstr>
      <vt:lpstr>Ist-Analyse – Manueller Prozess</vt:lpstr>
      <vt:lpstr>Soll-Zustand</vt:lpstr>
      <vt:lpstr>Soll-Zustand</vt:lpstr>
      <vt:lpstr>Soll-Zustand</vt:lpstr>
      <vt:lpstr>Vorgehensmodell</vt:lpstr>
      <vt:lpstr>Klassendiagramm</vt:lpstr>
      <vt:lpstr>Klassendiagramm</vt:lpstr>
      <vt:lpstr>Klassendiagramm</vt:lpstr>
      <vt:lpstr>Benutzeroberfläche</vt:lpstr>
      <vt:lpstr>Benutzeroberfläche</vt:lpstr>
      <vt:lpstr>Benutzeroberfläche</vt:lpstr>
      <vt:lpstr>Fazit Betrachtung der Wirtschaftlichkeit</vt:lpstr>
      <vt:lpstr>Fazit Betrachtung der Wirtschaftlichkeit</vt:lpstr>
      <vt:lpstr>Fazit Ergebnisse</vt:lpstr>
      <vt:lpstr>Fazit Soll-/Ist-Vergleich</vt:lpstr>
      <vt:lpstr>Fazit Ausblick</vt:lpstr>
      <vt:lpstr>PowerPoint-Präsentation</vt:lpstr>
    </vt:vector>
  </TitlesOfParts>
  <Company>Delph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 Assembly Analyser</dc:title>
  <dc:creator>Hahn, Thomas</dc:creator>
  <cp:lastModifiedBy>Hahn, Thomas</cp:lastModifiedBy>
  <cp:revision>215</cp:revision>
  <dcterms:created xsi:type="dcterms:W3CDTF">2016-11-25T06:55:38Z</dcterms:created>
  <dcterms:modified xsi:type="dcterms:W3CDTF">2016-12-13T13:03:08Z</dcterms:modified>
</cp:coreProperties>
</file>